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09" r:id="rId5"/>
  </p:sldMasterIdLst>
  <p:notesMasterIdLst>
    <p:notesMasterId r:id="rId19"/>
  </p:notesMasterIdLst>
  <p:handoutMasterIdLst>
    <p:handoutMasterId r:id="rId20"/>
  </p:handoutMasterIdLst>
  <p:sldIdLst>
    <p:sldId id="664" r:id="rId6"/>
    <p:sldId id="579" r:id="rId7"/>
    <p:sldId id="651" r:id="rId8"/>
    <p:sldId id="662" r:id="rId9"/>
    <p:sldId id="652" r:id="rId10"/>
    <p:sldId id="663" r:id="rId11"/>
    <p:sldId id="654" r:id="rId12"/>
    <p:sldId id="657" r:id="rId13"/>
    <p:sldId id="653" r:id="rId14"/>
    <p:sldId id="660" r:id="rId15"/>
    <p:sldId id="661" r:id="rId16"/>
    <p:sldId id="659" r:id="rId17"/>
    <p:sldId id="258" r:id="rId18"/>
  </p:sldIdLst>
  <p:sldSz cx="12192000" cy="6858000"/>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elseite" id="{9AFD9A65-2C14-4BD7-9469-F5EC1E936BD4}">
          <p14:sldIdLst>
            <p14:sldId id="664"/>
            <p14:sldId id="579"/>
            <p14:sldId id="651"/>
            <p14:sldId id="662"/>
            <p14:sldId id="652"/>
            <p14:sldId id="663"/>
            <p14:sldId id="654"/>
            <p14:sldId id="657"/>
            <p14:sldId id="653"/>
            <p14:sldId id="660"/>
            <p14:sldId id="661"/>
            <p14:sldId id="659"/>
            <p14:sldId id="25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elc.tmt22" initials="v" lastIdx="1" clrIdx="0">
    <p:extLst>
      <p:ext uri="{19B8F6BF-5375-455C-9EA6-DF929625EA0E}">
        <p15:presenceInfo xmlns:p15="http://schemas.microsoft.com/office/powerpoint/2012/main" userId="S-1-5-21-3381381580-3968739288-3351514432-499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B0E2"/>
    <a:srgbClr val="A6D0EE"/>
    <a:srgbClr val="F0A1A1"/>
    <a:srgbClr val="222626"/>
    <a:srgbClr val="FFFF7A"/>
    <a:srgbClr val="92FC92"/>
    <a:srgbClr val="BC9800"/>
    <a:srgbClr val="5D686E"/>
    <a:srgbClr val="141E8C"/>
    <a:srgbClr val="5D69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552"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dan Landry" userId="3189a9fb-e89b-4b01-b295-b304ff3fadbb" providerId="ADAL" clId="{372E322C-CB27-4651-8364-DB5B5268344C}"/>
    <pc:docChg chg="undo custSel delSld modSld modSection">
      <pc:chgData name="Aidan Landry" userId="3189a9fb-e89b-4b01-b295-b304ff3fadbb" providerId="ADAL" clId="{372E322C-CB27-4651-8364-DB5B5268344C}" dt="2024-10-09T00:42:22.963" v="734"/>
      <pc:docMkLst>
        <pc:docMk/>
      </pc:docMkLst>
      <pc:sldChg chg="del">
        <pc:chgData name="Aidan Landry" userId="3189a9fb-e89b-4b01-b295-b304ff3fadbb" providerId="ADAL" clId="{372E322C-CB27-4651-8364-DB5B5268344C}" dt="2024-10-09T00:12:32.069" v="713" actId="47"/>
        <pc:sldMkLst>
          <pc:docMk/>
          <pc:sldMk cId="3672594058" sldId="614"/>
        </pc:sldMkLst>
      </pc:sldChg>
      <pc:sldChg chg="modSp mod">
        <pc:chgData name="Aidan Landry" userId="3189a9fb-e89b-4b01-b295-b304ff3fadbb" providerId="ADAL" clId="{372E322C-CB27-4651-8364-DB5B5268344C}" dt="2024-10-05T14:16:08.401" v="10" actId="20577"/>
        <pc:sldMkLst>
          <pc:docMk/>
          <pc:sldMk cId="211836646" sldId="650"/>
        </pc:sldMkLst>
        <pc:spChg chg="mod">
          <ac:chgData name="Aidan Landry" userId="3189a9fb-e89b-4b01-b295-b304ff3fadbb" providerId="ADAL" clId="{372E322C-CB27-4651-8364-DB5B5268344C}" dt="2024-10-05T14:16:08.401" v="10" actId="20577"/>
          <ac:spMkLst>
            <pc:docMk/>
            <pc:sldMk cId="211836646" sldId="650"/>
            <ac:spMk id="4" creationId="{02B30669-3C5B-FADB-B285-37421890FCA9}"/>
          </ac:spMkLst>
        </pc:spChg>
      </pc:sldChg>
      <pc:sldChg chg="addSp modSp mod">
        <pc:chgData name="Aidan Landry" userId="3189a9fb-e89b-4b01-b295-b304ff3fadbb" providerId="ADAL" clId="{372E322C-CB27-4651-8364-DB5B5268344C}" dt="2024-10-05T14:52:56.245" v="651" actId="20577"/>
        <pc:sldMkLst>
          <pc:docMk/>
          <pc:sldMk cId="1533146030" sldId="651"/>
        </pc:sldMkLst>
        <pc:spChg chg="add mod">
          <ac:chgData name="Aidan Landry" userId="3189a9fb-e89b-4b01-b295-b304ff3fadbb" providerId="ADAL" clId="{372E322C-CB27-4651-8364-DB5B5268344C}" dt="2024-10-05T14:52:56.245" v="651" actId="20577"/>
          <ac:spMkLst>
            <pc:docMk/>
            <pc:sldMk cId="1533146030" sldId="651"/>
            <ac:spMk id="3" creationId="{B0FAD62E-2CD3-2E12-244C-3E8F06F44816}"/>
          </ac:spMkLst>
        </pc:spChg>
        <pc:picChg chg="mod">
          <ac:chgData name="Aidan Landry" userId="3189a9fb-e89b-4b01-b295-b304ff3fadbb" providerId="ADAL" clId="{372E322C-CB27-4651-8364-DB5B5268344C}" dt="2024-10-05T14:39:07.126" v="577" actId="1076"/>
          <ac:picMkLst>
            <pc:docMk/>
            <pc:sldMk cId="1533146030" sldId="651"/>
            <ac:picMk id="2" creationId="{D3EFF9B6-4275-4DF4-8FB6-1545493D3E43}"/>
          </ac:picMkLst>
        </pc:picChg>
      </pc:sldChg>
      <pc:sldChg chg="modSp mod">
        <pc:chgData name="Aidan Landry" userId="3189a9fb-e89b-4b01-b295-b304ff3fadbb" providerId="ADAL" clId="{372E322C-CB27-4651-8364-DB5B5268344C}" dt="2024-10-05T14:51:53.570" v="579" actId="313"/>
        <pc:sldMkLst>
          <pc:docMk/>
          <pc:sldMk cId="1787319496" sldId="652"/>
        </pc:sldMkLst>
        <pc:spChg chg="mod">
          <ac:chgData name="Aidan Landry" userId="3189a9fb-e89b-4b01-b295-b304ff3fadbb" providerId="ADAL" clId="{372E322C-CB27-4651-8364-DB5B5268344C}" dt="2024-10-05T14:51:49.732" v="578" actId="313"/>
          <ac:spMkLst>
            <pc:docMk/>
            <pc:sldMk cId="1787319496" sldId="652"/>
            <ac:spMk id="4" creationId="{33A612CA-2592-4795-DB7E-CE4E0F65DCB0}"/>
          </ac:spMkLst>
        </pc:spChg>
        <pc:spChg chg="mod">
          <ac:chgData name="Aidan Landry" userId="3189a9fb-e89b-4b01-b295-b304ff3fadbb" providerId="ADAL" clId="{372E322C-CB27-4651-8364-DB5B5268344C}" dt="2024-10-05T14:51:53.570" v="579" actId="313"/>
          <ac:spMkLst>
            <pc:docMk/>
            <pc:sldMk cId="1787319496" sldId="652"/>
            <ac:spMk id="20" creationId="{DB9649A0-FB0D-1010-54D2-70A0A7833456}"/>
          </ac:spMkLst>
        </pc:spChg>
      </pc:sldChg>
      <pc:sldChg chg="modSp mod">
        <pc:chgData name="Aidan Landry" userId="3189a9fb-e89b-4b01-b295-b304ff3fadbb" providerId="ADAL" clId="{372E322C-CB27-4651-8364-DB5B5268344C}" dt="2024-10-05T14:53:36.154" v="680" actId="20577"/>
        <pc:sldMkLst>
          <pc:docMk/>
          <pc:sldMk cId="3874982595" sldId="653"/>
        </pc:sldMkLst>
        <pc:spChg chg="mod">
          <ac:chgData name="Aidan Landry" userId="3189a9fb-e89b-4b01-b295-b304ff3fadbb" providerId="ADAL" clId="{372E322C-CB27-4651-8364-DB5B5268344C}" dt="2024-10-05T14:53:36.154" v="680" actId="20577"/>
          <ac:spMkLst>
            <pc:docMk/>
            <pc:sldMk cId="3874982595" sldId="653"/>
            <ac:spMk id="43" creationId="{3896FE4D-A7AE-099B-363F-0C85F0A9502A}"/>
          </ac:spMkLst>
        </pc:spChg>
      </pc:sldChg>
      <pc:sldChg chg="addSp delSp modSp mod">
        <pc:chgData name="Aidan Landry" userId="3189a9fb-e89b-4b01-b295-b304ff3fadbb" providerId="ADAL" clId="{372E322C-CB27-4651-8364-DB5B5268344C}" dt="2024-10-05T14:54:00.073" v="712" actId="20577"/>
        <pc:sldMkLst>
          <pc:docMk/>
          <pc:sldMk cId="3402755058" sldId="662"/>
        </pc:sldMkLst>
        <pc:spChg chg="mod">
          <ac:chgData name="Aidan Landry" userId="3189a9fb-e89b-4b01-b295-b304ff3fadbb" providerId="ADAL" clId="{372E322C-CB27-4651-8364-DB5B5268344C}" dt="2024-10-05T14:16:21.265" v="11" actId="20577"/>
          <ac:spMkLst>
            <pc:docMk/>
            <pc:sldMk cId="3402755058" sldId="662"/>
            <ac:spMk id="2" creationId="{734C21C5-BBA6-E1E4-DFA4-175BC9E0A0A9}"/>
          </ac:spMkLst>
        </pc:spChg>
        <pc:spChg chg="del">
          <ac:chgData name="Aidan Landry" userId="3189a9fb-e89b-4b01-b295-b304ff3fadbb" providerId="ADAL" clId="{372E322C-CB27-4651-8364-DB5B5268344C}" dt="2024-10-05T14:31:56.605" v="129" actId="478"/>
          <ac:spMkLst>
            <pc:docMk/>
            <pc:sldMk cId="3402755058" sldId="662"/>
            <ac:spMk id="3" creationId="{E9186DC2-CD59-7A1C-7384-29DFFA9874DB}"/>
          </ac:spMkLst>
        </pc:spChg>
        <pc:spChg chg="del">
          <ac:chgData name="Aidan Landry" userId="3189a9fb-e89b-4b01-b295-b304ff3fadbb" providerId="ADAL" clId="{372E322C-CB27-4651-8364-DB5B5268344C}" dt="2024-10-05T14:31:52.831" v="128" actId="478"/>
          <ac:spMkLst>
            <pc:docMk/>
            <pc:sldMk cId="3402755058" sldId="662"/>
            <ac:spMk id="4" creationId="{5AA90FE4-06DA-E132-CE4C-3FCA299E9A3C}"/>
          </ac:spMkLst>
        </pc:spChg>
        <pc:spChg chg="add del mod">
          <ac:chgData name="Aidan Landry" userId="3189a9fb-e89b-4b01-b295-b304ff3fadbb" providerId="ADAL" clId="{372E322C-CB27-4651-8364-DB5B5268344C}" dt="2024-10-05T14:18:01.535" v="18"/>
          <ac:spMkLst>
            <pc:docMk/>
            <pc:sldMk cId="3402755058" sldId="662"/>
            <ac:spMk id="7" creationId="{EF73B019-B644-B56B-9C25-DE46357187B6}"/>
          </ac:spMkLst>
        </pc:spChg>
        <pc:spChg chg="add del mod">
          <ac:chgData name="Aidan Landry" userId="3189a9fb-e89b-4b01-b295-b304ff3fadbb" providerId="ADAL" clId="{372E322C-CB27-4651-8364-DB5B5268344C}" dt="2024-10-05T14:18:01.535" v="18"/>
          <ac:spMkLst>
            <pc:docMk/>
            <pc:sldMk cId="3402755058" sldId="662"/>
            <ac:spMk id="8" creationId="{8753E67C-EE7D-1854-8C51-F134CA7D2745}"/>
          </ac:spMkLst>
        </pc:spChg>
        <pc:spChg chg="del mod">
          <ac:chgData name="Aidan Landry" userId="3189a9fb-e89b-4b01-b295-b304ff3fadbb" providerId="ADAL" clId="{372E322C-CB27-4651-8364-DB5B5268344C}" dt="2024-10-05T14:20:18.221" v="39" actId="478"/>
          <ac:spMkLst>
            <pc:docMk/>
            <pc:sldMk cId="3402755058" sldId="662"/>
            <ac:spMk id="9" creationId="{90C6EEE8-A67E-176E-8E46-303A0C62B3AE}"/>
          </ac:spMkLst>
        </pc:spChg>
        <pc:spChg chg="add del mod">
          <ac:chgData name="Aidan Landry" userId="3189a9fb-e89b-4b01-b295-b304ff3fadbb" providerId="ADAL" clId="{372E322C-CB27-4651-8364-DB5B5268344C}" dt="2024-10-05T14:20:17.098" v="38" actId="478"/>
          <ac:spMkLst>
            <pc:docMk/>
            <pc:sldMk cId="3402755058" sldId="662"/>
            <ac:spMk id="12" creationId="{AE86B33F-B42B-8F69-74D3-E832121EA12A}"/>
          </ac:spMkLst>
        </pc:spChg>
        <pc:spChg chg="add del mod">
          <ac:chgData name="Aidan Landry" userId="3189a9fb-e89b-4b01-b295-b304ff3fadbb" providerId="ADAL" clId="{372E322C-CB27-4651-8364-DB5B5268344C}" dt="2024-10-05T14:20:16.261" v="37" actId="478"/>
          <ac:spMkLst>
            <pc:docMk/>
            <pc:sldMk cId="3402755058" sldId="662"/>
            <ac:spMk id="13" creationId="{6F89C497-702F-5799-1150-EE51A0F13D14}"/>
          </ac:spMkLst>
        </pc:spChg>
        <pc:spChg chg="add del mod">
          <ac:chgData name="Aidan Landry" userId="3189a9fb-e89b-4b01-b295-b304ff3fadbb" providerId="ADAL" clId="{372E322C-CB27-4651-8364-DB5B5268344C}" dt="2024-10-05T14:20:15.532" v="36" actId="478"/>
          <ac:spMkLst>
            <pc:docMk/>
            <pc:sldMk cId="3402755058" sldId="662"/>
            <ac:spMk id="14" creationId="{8D7018D2-91BB-9549-78E7-EA86111E7E56}"/>
          </ac:spMkLst>
        </pc:spChg>
        <pc:spChg chg="add del mod">
          <ac:chgData name="Aidan Landry" userId="3189a9fb-e89b-4b01-b295-b304ff3fadbb" providerId="ADAL" clId="{372E322C-CB27-4651-8364-DB5B5268344C}" dt="2024-10-05T14:20:14.438" v="35" actId="478"/>
          <ac:spMkLst>
            <pc:docMk/>
            <pc:sldMk cId="3402755058" sldId="662"/>
            <ac:spMk id="15" creationId="{6A878023-841B-4EF7-F7FE-0CD9A3EF0E99}"/>
          </ac:spMkLst>
        </pc:spChg>
        <pc:spChg chg="mod">
          <ac:chgData name="Aidan Landry" userId="3189a9fb-e89b-4b01-b295-b304ff3fadbb" providerId="ADAL" clId="{372E322C-CB27-4651-8364-DB5B5268344C}" dt="2024-10-05T14:25:23.421" v="41"/>
          <ac:spMkLst>
            <pc:docMk/>
            <pc:sldMk cId="3402755058" sldId="662"/>
            <ac:spMk id="23" creationId="{D89E8110-7A69-1EDE-71B6-E3ED85CD6FC5}"/>
          </ac:spMkLst>
        </pc:spChg>
        <pc:spChg chg="mod">
          <ac:chgData name="Aidan Landry" userId="3189a9fb-e89b-4b01-b295-b304ff3fadbb" providerId="ADAL" clId="{372E322C-CB27-4651-8364-DB5B5268344C}" dt="2024-10-05T14:36:29.939" v="561" actId="1076"/>
          <ac:spMkLst>
            <pc:docMk/>
            <pc:sldMk cId="3402755058" sldId="662"/>
            <ac:spMk id="24" creationId="{4FBAF95C-3990-C96C-66DC-0742305E1DA3}"/>
          </ac:spMkLst>
        </pc:spChg>
        <pc:spChg chg="add del mod">
          <ac:chgData name="Aidan Landry" userId="3189a9fb-e89b-4b01-b295-b304ff3fadbb" providerId="ADAL" clId="{372E322C-CB27-4651-8364-DB5B5268344C}" dt="2024-10-05T14:28:44.703" v="51" actId="478"/>
          <ac:spMkLst>
            <pc:docMk/>
            <pc:sldMk cId="3402755058" sldId="662"/>
            <ac:spMk id="25" creationId="{1102213C-2BF6-B78D-6875-362A4C97C021}"/>
          </ac:spMkLst>
        </pc:spChg>
        <pc:spChg chg="add del mod">
          <ac:chgData name="Aidan Landry" userId="3189a9fb-e89b-4b01-b295-b304ff3fadbb" providerId="ADAL" clId="{372E322C-CB27-4651-8364-DB5B5268344C}" dt="2024-10-05T14:28:53.817" v="55" actId="478"/>
          <ac:spMkLst>
            <pc:docMk/>
            <pc:sldMk cId="3402755058" sldId="662"/>
            <ac:spMk id="26" creationId="{57A12218-6ED4-AFE9-37F9-2EE0E33A3BB2}"/>
          </ac:spMkLst>
        </pc:spChg>
        <pc:spChg chg="mod">
          <ac:chgData name="Aidan Landry" userId="3189a9fb-e89b-4b01-b295-b304ff3fadbb" providerId="ADAL" clId="{372E322C-CB27-4651-8364-DB5B5268344C}" dt="2024-10-05T14:25:23.421" v="41"/>
          <ac:spMkLst>
            <pc:docMk/>
            <pc:sldMk cId="3402755058" sldId="662"/>
            <ac:spMk id="27" creationId="{13493DFD-3FDE-FEB1-1A93-CF736E6A5988}"/>
          </ac:spMkLst>
        </pc:spChg>
        <pc:spChg chg="mod">
          <ac:chgData name="Aidan Landry" userId="3189a9fb-e89b-4b01-b295-b304ff3fadbb" providerId="ADAL" clId="{372E322C-CB27-4651-8364-DB5B5268344C}" dt="2024-10-05T14:25:23.421" v="41"/>
          <ac:spMkLst>
            <pc:docMk/>
            <pc:sldMk cId="3402755058" sldId="662"/>
            <ac:spMk id="28" creationId="{AC1EF245-58CB-C59E-29D3-C1EDEDCCD0D0}"/>
          </ac:spMkLst>
        </pc:spChg>
        <pc:spChg chg="mod">
          <ac:chgData name="Aidan Landry" userId="3189a9fb-e89b-4b01-b295-b304ff3fadbb" providerId="ADAL" clId="{372E322C-CB27-4651-8364-DB5B5268344C}" dt="2024-10-05T14:34:40.241" v="432" actId="14100"/>
          <ac:spMkLst>
            <pc:docMk/>
            <pc:sldMk cId="3402755058" sldId="662"/>
            <ac:spMk id="32" creationId="{44E161BB-D3E9-273A-7B4D-002A9F378295}"/>
          </ac:spMkLst>
        </pc:spChg>
        <pc:spChg chg="mod">
          <ac:chgData name="Aidan Landry" userId="3189a9fb-e89b-4b01-b295-b304ff3fadbb" providerId="ADAL" clId="{372E322C-CB27-4651-8364-DB5B5268344C}" dt="2024-10-05T14:35:15.212" v="547" actId="20577"/>
          <ac:spMkLst>
            <pc:docMk/>
            <pc:sldMk cId="3402755058" sldId="662"/>
            <ac:spMk id="33" creationId="{D9C0EB4D-431D-DA37-51BA-58548EBD8344}"/>
          </ac:spMkLst>
        </pc:spChg>
        <pc:spChg chg="mod">
          <ac:chgData name="Aidan Landry" userId="3189a9fb-e89b-4b01-b295-b304ff3fadbb" providerId="ADAL" clId="{372E322C-CB27-4651-8364-DB5B5268344C}" dt="2024-10-05T14:31:47.588" v="127" actId="207"/>
          <ac:spMkLst>
            <pc:docMk/>
            <pc:sldMk cId="3402755058" sldId="662"/>
            <ac:spMk id="35" creationId="{D6876B36-F0E2-D15B-C64D-0E7E9E794D9F}"/>
          </ac:spMkLst>
        </pc:spChg>
        <pc:spChg chg="mod">
          <ac:chgData name="Aidan Landry" userId="3189a9fb-e89b-4b01-b295-b304ff3fadbb" providerId="ADAL" clId="{372E322C-CB27-4651-8364-DB5B5268344C}" dt="2024-10-05T14:31:36.242" v="126" actId="20577"/>
          <ac:spMkLst>
            <pc:docMk/>
            <pc:sldMk cId="3402755058" sldId="662"/>
            <ac:spMk id="36" creationId="{4FCF52CB-FEAE-C2D3-9AE8-12855B355B17}"/>
          </ac:spMkLst>
        </pc:spChg>
        <pc:spChg chg="mod">
          <ac:chgData name="Aidan Landry" userId="3189a9fb-e89b-4b01-b295-b304ff3fadbb" providerId="ADAL" clId="{372E322C-CB27-4651-8364-DB5B5268344C}" dt="2024-10-05T14:33:31.444" v="272" actId="207"/>
          <ac:spMkLst>
            <pc:docMk/>
            <pc:sldMk cId="3402755058" sldId="662"/>
            <ac:spMk id="38" creationId="{14BBB90A-A806-50D4-A0E5-2952B9895CF3}"/>
          </ac:spMkLst>
        </pc:spChg>
        <pc:spChg chg="mod">
          <ac:chgData name="Aidan Landry" userId="3189a9fb-e89b-4b01-b295-b304ff3fadbb" providerId="ADAL" clId="{372E322C-CB27-4651-8364-DB5B5268344C}" dt="2024-10-05T14:54:00.073" v="712" actId="20577"/>
          <ac:spMkLst>
            <pc:docMk/>
            <pc:sldMk cId="3402755058" sldId="662"/>
            <ac:spMk id="39" creationId="{157A5026-833C-B9F6-7162-988B2E4C4CF3}"/>
          </ac:spMkLst>
        </pc:spChg>
        <pc:spChg chg="mod">
          <ac:chgData name="Aidan Landry" userId="3189a9fb-e89b-4b01-b295-b304ff3fadbb" providerId="ADAL" clId="{372E322C-CB27-4651-8364-DB5B5268344C}" dt="2024-10-05T14:33:39.970" v="282" actId="20577"/>
          <ac:spMkLst>
            <pc:docMk/>
            <pc:sldMk cId="3402755058" sldId="662"/>
            <ac:spMk id="41" creationId="{1331FBDA-3F39-A0B0-C58E-6B45CE1D0D9F}"/>
          </ac:spMkLst>
        </pc:spChg>
        <pc:spChg chg="mod">
          <ac:chgData name="Aidan Landry" userId="3189a9fb-e89b-4b01-b295-b304ff3fadbb" providerId="ADAL" clId="{372E322C-CB27-4651-8364-DB5B5268344C}" dt="2024-10-05T14:33:57.962" v="343" actId="20577"/>
          <ac:spMkLst>
            <pc:docMk/>
            <pc:sldMk cId="3402755058" sldId="662"/>
            <ac:spMk id="42" creationId="{456D3FC9-FB1D-E320-F941-5F34C0978EE9}"/>
          </ac:spMkLst>
        </pc:spChg>
        <pc:spChg chg="mod">
          <ac:chgData name="Aidan Landry" userId="3189a9fb-e89b-4b01-b295-b304ff3fadbb" providerId="ADAL" clId="{372E322C-CB27-4651-8364-DB5B5268344C}" dt="2024-10-05T14:34:04.153" v="349" actId="20577"/>
          <ac:spMkLst>
            <pc:docMk/>
            <pc:sldMk cId="3402755058" sldId="662"/>
            <ac:spMk id="47" creationId="{679D201F-28C5-6960-9C57-22ECA8D619C6}"/>
          </ac:spMkLst>
        </pc:spChg>
        <pc:spChg chg="mod">
          <ac:chgData name="Aidan Landry" userId="3189a9fb-e89b-4b01-b295-b304ff3fadbb" providerId="ADAL" clId="{372E322C-CB27-4651-8364-DB5B5268344C}" dt="2024-10-05T14:34:25.668" v="412" actId="20577"/>
          <ac:spMkLst>
            <pc:docMk/>
            <pc:sldMk cId="3402755058" sldId="662"/>
            <ac:spMk id="48" creationId="{DB6F16A6-6A3D-4047-F0F9-431A9B3D1069}"/>
          </ac:spMkLst>
        </pc:spChg>
        <pc:spChg chg="mod topLvl">
          <ac:chgData name="Aidan Landry" userId="3189a9fb-e89b-4b01-b295-b304ff3fadbb" providerId="ADAL" clId="{372E322C-CB27-4651-8364-DB5B5268344C}" dt="2024-10-05T14:32:31.596" v="170" actId="1076"/>
          <ac:spMkLst>
            <pc:docMk/>
            <pc:sldMk cId="3402755058" sldId="662"/>
            <ac:spMk id="50" creationId="{ADFF8067-32C4-317A-3CFF-29D5FA08428B}"/>
          </ac:spMkLst>
        </pc:spChg>
        <pc:spChg chg="del mod topLvl">
          <ac:chgData name="Aidan Landry" userId="3189a9fb-e89b-4b01-b295-b304ff3fadbb" providerId="ADAL" clId="{372E322C-CB27-4651-8364-DB5B5268344C}" dt="2024-10-05T14:32:25.154" v="169" actId="478"/>
          <ac:spMkLst>
            <pc:docMk/>
            <pc:sldMk cId="3402755058" sldId="662"/>
            <ac:spMk id="51" creationId="{A925AE41-FDBC-60CB-329D-1833F2461F4A}"/>
          </ac:spMkLst>
        </pc:spChg>
        <pc:spChg chg="add mod">
          <ac:chgData name="Aidan Landry" userId="3189a9fb-e89b-4b01-b295-b304ff3fadbb" providerId="ADAL" clId="{372E322C-CB27-4651-8364-DB5B5268344C}" dt="2024-10-05T14:53:10.890" v="679" actId="20577"/>
          <ac:spMkLst>
            <pc:docMk/>
            <pc:sldMk cId="3402755058" sldId="662"/>
            <ac:spMk id="66" creationId="{E0B822B0-B1CE-6A20-F8A5-049C02FB9828}"/>
          </ac:spMkLst>
        </pc:spChg>
        <pc:grpChg chg="add mod">
          <ac:chgData name="Aidan Landry" userId="3189a9fb-e89b-4b01-b295-b304ff3fadbb" providerId="ADAL" clId="{372E322C-CB27-4651-8364-DB5B5268344C}" dt="2024-10-05T14:36:36.119" v="563" actId="1076"/>
          <ac:grpSpMkLst>
            <pc:docMk/>
            <pc:sldMk cId="3402755058" sldId="662"/>
            <ac:grpSpMk id="22" creationId="{3F1D75C8-EEB0-8EC5-4428-818159A64019}"/>
          </ac:grpSpMkLst>
        </pc:grpChg>
        <pc:grpChg chg="add mod">
          <ac:chgData name="Aidan Landry" userId="3189a9fb-e89b-4b01-b295-b304ff3fadbb" providerId="ADAL" clId="{372E322C-CB27-4651-8364-DB5B5268344C}" dt="2024-10-05T14:27:47.846" v="47" actId="1076"/>
          <ac:grpSpMkLst>
            <pc:docMk/>
            <pc:sldMk cId="3402755058" sldId="662"/>
            <ac:grpSpMk id="31" creationId="{C6171A42-1355-8E85-FF7C-092E472D8392}"/>
          </ac:grpSpMkLst>
        </pc:grpChg>
        <pc:grpChg chg="add mod">
          <ac:chgData name="Aidan Landry" userId="3189a9fb-e89b-4b01-b295-b304ff3fadbb" providerId="ADAL" clId="{372E322C-CB27-4651-8364-DB5B5268344C}" dt="2024-10-05T14:31:36.242" v="126" actId="20577"/>
          <ac:grpSpMkLst>
            <pc:docMk/>
            <pc:sldMk cId="3402755058" sldId="662"/>
            <ac:grpSpMk id="34" creationId="{38288C4B-2407-C096-2EBA-54A91AB7BED2}"/>
          </ac:grpSpMkLst>
        </pc:grpChg>
        <pc:grpChg chg="add mod">
          <ac:chgData name="Aidan Landry" userId="3189a9fb-e89b-4b01-b295-b304ff3fadbb" providerId="ADAL" clId="{372E322C-CB27-4651-8364-DB5B5268344C}" dt="2024-10-05T14:27:47.846" v="47" actId="1076"/>
          <ac:grpSpMkLst>
            <pc:docMk/>
            <pc:sldMk cId="3402755058" sldId="662"/>
            <ac:grpSpMk id="37" creationId="{C3640EF1-9BCB-4C65-C42C-D106B86B8980}"/>
          </ac:grpSpMkLst>
        </pc:grpChg>
        <pc:grpChg chg="add mod">
          <ac:chgData name="Aidan Landry" userId="3189a9fb-e89b-4b01-b295-b304ff3fadbb" providerId="ADAL" clId="{372E322C-CB27-4651-8364-DB5B5268344C}" dt="2024-10-05T14:27:47.846" v="47" actId="1076"/>
          <ac:grpSpMkLst>
            <pc:docMk/>
            <pc:sldMk cId="3402755058" sldId="662"/>
            <ac:grpSpMk id="40" creationId="{2F1D0927-148C-C504-133F-EDF9AF200DF4}"/>
          </ac:grpSpMkLst>
        </pc:grpChg>
        <pc:grpChg chg="add mod">
          <ac:chgData name="Aidan Landry" userId="3189a9fb-e89b-4b01-b295-b304ff3fadbb" providerId="ADAL" clId="{372E322C-CB27-4651-8364-DB5B5268344C}" dt="2024-10-05T14:27:47.846" v="47" actId="1076"/>
          <ac:grpSpMkLst>
            <pc:docMk/>
            <pc:sldMk cId="3402755058" sldId="662"/>
            <ac:grpSpMk id="46" creationId="{08D91908-A7B9-6AB3-7B0B-1A2861796815}"/>
          </ac:grpSpMkLst>
        </pc:grpChg>
        <pc:grpChg chg="add del mod">
          <ac:chgData name="Aidan Landry" userId="3189a9fb-e89b-4b01-b295-b304ff3fadbb" providerId="ADAL" clId="{372E322C-CB27-4651-8364-DB5B5268344C}" dt="2024-10-05T14:32:25.154" v="169" actId="478"/>
          <ac:grpSpMkLst>
            <pc:docMk/>
            <pc:sldMk cId="3402755058" sldId="662"/>
            <ac:grpSpMk id="49" creationId="{D881B891-2EB7-C058-E864-17165FF2DB2A}"/>
          </ac:grpSpMkLst>
        </pc:grpChg>
        <pc:picChg chg="add mod">
          <ac:chgData name="Aidan Landry" userId="3189a9fb-e89b-4b01-b295-b304ff3fadbb" providerId="ADAL" clId="{372E322C-CB27-4651-8364-DB5B5268344C}" dt="2024-10-05T14:25:16.573" v="40"/>
          <ac:picMkLst>
            <pc:docMk/>
            <pc:sldMk cId="3402755058" sldId="662"/>
            <ac:picMk id="16" creationId="{9B1F9EC0-C714-50D7-4C38-9EBEE28C90BC}"/>
          </ac:picMkLst>
        </pc:picChg>
        <pc:picChg chg="add mod">
          <ac:chgData name="Aidan Landry" userId="3189a9fb-e89b-4b01-b295-b304ff3fadbb" providerId="ADAL" clId="{372E322C-CB27-4651-8364-DB5B5268344C}" dt="2024-10-05T14:25:16.573" v="40"/>
          <ac:picMkLst>
            <pc:docMk/>
            <pc:sldMk cId="3402755058" sldId="662"/>
            <ac:picMk id="17" creationId="{8EAB3865-83F1-C06C-DB72-EA2AFA569331}"/>
          </ac:picMkLst>
        </pc:picChg>
        <pc:picChg chg="add mod">
          <ac:chgData name="Aidan Landry" userId="3189a9fb-e89b-4b01-b295-b304ff3fadbb" providerId="ADAL" clId="{372E322C-CB27-4651-8364-DB5B5268344C}" dt="2024-10-05T14:25:16.573" v="40"/>
          <ac:picMkLst>
            <pc:docMk/>
            <pc:sldMk cId="3402755058" sldId="662"/>
            <ac:picMk id="18" creationId="{2815E300-271A-E957-3B0F-DDD851FE5C16}"/>
          </ac:picMkLst>
        </pc:picChg>
        <pc:picChg chg="add mod">
          <ac:chgData name="Aidan Landry" userId="3189a9fb-e89b-4b01-b295-b304ff3fadbb" providerId="ADAL" clId="{372E322C-CB27-4651-8364-DB5B5268344C}" dt="2024-10-05T14:25:16.573" v="40"/>
          <ac:picMkLst>
            <pc:docMk/>
            <pc:sldMk cId="3402755058" sldId="662"/>
            <ac:picMk id="19" creationId="{5EEC833F-DB21-44C2-4A64-49A15D922F95}"/>
          </ac:picMkLst>
        </pc:picChg>
        <pc:picChg chg="add mod">
          <ac:chgData name="Aidan Landry" userId="3189a9fb-e89b-4b01-b295-b304ff3fadbb" providerId="ADAL" clId="{372E322C-CB27-4651-8364-DB5B5268344C}" dt="2024-10-05T14:25:16.573" v="40"/>
          <ac:picMkLst>
            <pc:docMk/>
            <pc:sldMk cId="3402755058" sldId="662"/>
            <ac:picMk id="20" creationId="{A1EC981E-AD6A-DE1C-1C27-1706DE711D00}"/>
          </ac:picMkLst>
        </pc:picChg>
        <pc:picChg chg="add mod">
          <ac:chgData name="Aidan Landry" userId="3189a9fb-e89b-4b01-b295-b304ff3fadbb" providerId="ADAL" clId="{372E322C-CB27-4651-8364-DB5B5268344C}" dt="2024-10-05T14:25:16.573" v="40"/>
          <ac:picMkLst>
            <pc:docMk/>
            <pc:sldMk cId="3402755058" sldId="662"/>
            <ac:picMk id="21" creationId="{6B2D6DA9-5EC6-59F3-29C1-6639D81C7825}"/>
          </ac:picMkLst>
        </pc:picChg>
        <pc:picChg chg="add del mod">
          <ac:chgData name="Aidan Landry" userId="3189a9fb-e89b-4b01-b295-b304ff3fadbb" providerId="ADAL" clId="{372E322C-CB27-4651-8364-DB5B5268344C}" dt="2024-10-05T14:35:41.091" v="550" actId="478"/>
          <ac:picMkLst>
            <pc:docMk/>
            <pc:sldMk cId="3402755058" sldId="662"/>
            <ac:picMk id="30" creationId="{924A4FB4-4E93-FE2D-B5DF-E64B81D8F568}"/>
          </ac:picMkLst>
        </pc:picChg>
        <pc:picChg chg="add del mod">
          <ac:chgData name="Aidan Landry" userId="3189a9fb-e89b-4b01-b295-b304ff3fadbb" providerId="ADAL" clId="{372E322C-CB27-4651-8364-DB5B5268344C}" dt="2024-10-05T14:28:50.930" v="53" actId="478"/>
          <ac:picMkLst>
            <pc:docMk/>
            <pc:sldMk cId="3402755058" sldId="662"/>
            <ac:picMk id="43" creationId="{715ECC4E-90B3-BDA1-0B56-CFFA21B089B9}"/>
          </ac:picMkLst>
        </pc:picChg>
        <pc:picChg chg="add del mod">
          <ac:chgData name="Aidan Landry" userId="3189a9fb-e89b-4b01-b295-b304ff3fadbb" providerId="ADAL" clId="{372E322C-CB27-4651-8364-DB5B5268344C}" dt="2024-10-05T14:28:59.098" v="56" actId="478"/>
          <ac:picMkLst>
            <pc:docMk/>
            <pc:sldMk cId="3402755058" sldId="662"/>
            <ac:picMk id="44" creationId="{A7928331-2803-554B-B91D-1047E66710FC}"/>
          </ac:picMkLst>
        </pc:picChg>
        <pc:picChg chg="add del mod">
          <ac:chgData name="Aidan Landry" userId="3189a9fb-e89b-4b01-b295-b304ff3fadbb" providerId="ADAL" clId="{372E322C-CB27-4651-8364-DB5B5268344C}" dt="2024-10-05T14:29:02.136" v="57" actId="478"/>
          <ac:picMkLst>
            <pc:docMk/>
            <pc:sldMk cId="3402755058" sldId="662"/>
            <ac:picMk id="45" creationId="{B89EDE62-4746-2B13-BE2E-769A7454FFEF}"/>
          </ac:picMkLst>
        </pc:picChg>
        <pc:picChg chg="add mod">
          <ac:chgData name="Aidan Landry" userId="3189a9fb-e89b-4b01-b295-b304ff3fadbb" providerId="ADAL" clId="{372E322C-CB27-4651-8364-DB5B5268344C}" dt="2024-10-05T14:36:42.008" v="564" actId="14100"/>
          <ac:picMkLst>
            <pc:docMk/>
            <pc:sldMk cId="3402755058" sldId="662"/>
            <ac:picMk id="53" creationId="{8560EA17-B424-D4C8-2641-D7FD83587107}"/>
          </ac:picMkLst>
        </pc:picChg>
        <pc:picChg chg="add mod">
          <ac:chgData name="Aidan Landry" userId="3189a9fb-e89b-4b01-b295-b304ff3fadbb" providerId="ADAL" clId="{372E322C-CB27-4651-8364-DB5B5268344C}" dt="2024-10-05T14:38:40.891" v="576" actId="1076"/>
          <ac:picMkLst>
            <pc:docMk/>
            <pc:sldMk cId="3402755058" sldId="662"/>
            <ac:picMk id="55" creationId="{14203C8C-D236-4518-BE51-4EB8657FCA29}"/>
          </ac:picMkLst>
        </pc:picChg>
        <pc:picChg chg="add del mod">
          <ac:chgData name="Aidan Landry" userId="3189a9fb-e89b-4b01-b295-b304ff3fadbb" providerId="ADAL" clId="{372E322C-CB27-4651-8364-DB5B5268344C}" dt="2024-10-05T14:35:58.263" v="554" actId="478"/>
          <ac:picMkLst>
            <pc:docMk/>
            <pc:sldMk cId="3402755058" sldId="662"/>
            <ac:picMk id="57" creationId="{DB5F1603-4B44-84BF-69F0-0FF7B8111C79}"/>
          </ac:picMkLst>
        </pc:picChg>
        <pc:picChg chg="add mod">
          <ac:chgData name="Aidan Landry" userId="3189a9fb-e89b-4b01-b295-b304ff3fadbb" providerId="ADAL" clId="{372E322C-CB27-4651-8364-DB5B5268344C}" dt="2024-10-05T14:37:01.967" v="566" actId="1076"/>
          <ac:picMkLst>
            <pc:docMk/>
            <pc:sldMk cId="3402755058" sldId="662"/>
            <ac:picMk id="59" creationId="{A372C509-3E70-17AC-B66A-59F32CB15A89}"/>
          </ac:picMkLst>
        </pc:picChg>
        <pc:picChg chg="add mod">
          <ac:chgData name="Aidan Landry" userId="3189a9fb-e89b-4b01-b295-b304ff3fadbb" providerId="ADAL" clId="{372E322C-CB27-4651-8364-DB5B5268344C}" dt="2024-10-05T14:37:17.844" v="568" actId="1076"/>
          <ac:picMkLst>
            <pc:docMk/>
            <pc:sldMk cId="3402755058" sldId="662"/>
            <ac:picMk id="61" creationId="{395E112B-B209-7734-58C7-C139689932C9}"/>
          </ac:picMkLst>
        </pc:picChg>
        <pc:picChg chg="add mod">
          <ac:chgData name="Aidan Landry" userId="3189a9fb-e89b-4b01-b295-b304ff3fadbb" providerId="ADAL" clId="{372E322C-CB27-4651-8364-DB5B5268344C}" dt="2024-10-05T14:37:35.325" v="571" actId="207"/>
          <ac:picMkLst>
            <pc:docMk/>
            <pc:sldMk cId="3402755058" sldId="662"/>
            <ac:picMk id="63" creationId="{22987729-5473-6354-CBBB-BFF4ED82562A}"/>
          </ac:picMkLst>
        </pc:picChg>
        <pc:picChg chg="add mod">
          <ac:chgData name="Aidan Landry" userId="3189a9fb-e89b-4b01-b295-b304ff3fadbb" providerId="ADAL" clId="{372E322C-CB27-4651-8364-DB5B5268344C}" dt="2024-10-05T14:38:20.404" v="575" actId="1076"/>
          <ac:picMkLst>
            <pc:docMk/>
            <pc:sldMk cId="3402755058" sldId="662"/>
            <ac:picMk id="65" creationId="{1BF856F9-DE8D-7340-DF64-20A88DA7D5D9}"/>
          </ac:picMkLst>
        </pc:picChg>
        <pc:cxnChg chg="add del mod">
          <ac:chgData name="Aidan Landry" userId="3189a9fb-e89b-4b01-b295-b304ff3fadbb" providerId="ADAL" clId="{372E322C-CB27-4651-8364-DB5B5268344C}" dt="2024-10-05T14:18:36.357" v="20" actId="478"/>
          <ac:cxnSpMkLst>
            <pc:docMk/>
            <pc:sldMk cId="3402755058" sldId="662"/>
            <ac:cxnSpMk id="11" creationId="{B3093784-C27E-69F9-35F9-C93968D82D8F}"/>
          </ac:cxnSpMkLst>
        </pc:cxnChg>
      </pc:sldChg>
      <pc:sldChg chg="modSp mod">
        <pc:chgData name="Aidan Landry" userId="3189a9fb-e89b-4b01-b295-b304ff3fadbb" providerId="ADAL" clId="{372E322C-CB27-4651-8364-DB5B5268344C}" dt="2024-10-09T00:42:22.963" v="734"/>
        <pc:sldMkLst>
          <pc:docMk/>
          <pc:sldMk cId="2459506782" sldId="664"/>
        </pc:sldMkLst>
        <pc:spChg chg="mod">
          <ac:chgData name="Aidan Landry" userId="3189a9fb-e89b-4b01-b295-b304ff3fadbb" providerId="ADAL" clId="{372E322C-CB27-4651-8364-DB5B5268344C}" dt="2024-10-09T00:42:22.963" v="734"/>
          <ac:spMkLst>
            <pc:docMk/>
            <pc:sldMk cId="2459506782" sldId="664"/>
            <ac:spMk id="9" creationId="{D50D9609-BBD9-4FEE-3B92-0A63B6380EDC}"/>
          </ac:spMkLst>
        </pc:spChg>
      </pc:sldChg>
    </pc:docChg>
  </pc:docChgLst>
  <pc:docChgLst>
    <pc:chgData name="Gavin Grimm" userId="6c4cb79d-2b23-417c-a733-7dcc36d0b4a1" providerId="ADAL" clId="{917B421D-9BF6-D74B-99A4-9CF77F6E77D7}"/>
    <pc:docChg chg="modSld">
      <pc:chgData name="Gavin Grimm" userId="6c4cb79d-2b23-417c-a733-7dcc36d0b4a1" providerId="ADAL" clId="{917B421D-9BF6-D74B-99A4-9CF77F6E77D7}" dt="2024-10-09T12:22:27.679" v="51" actId="20577"/>
      <pc:docMkLst>
        <pc:docMk/>
      </pc:docMkLst>
      <pc:sldChg chg="modNotesTx">
        <pc:chgData name="Gavin Grimm" userId="6c4cb79d-2b23-417c-a733-7dcc36d0b4a1" providerId="ADAL" clId="{917B421D-9BF6-D74B-99A4-9CF77F6E77D7}" dt="2024-10-09T12:22:27.679" v="51" actId="20577"/>
        <pc:sldMkLst>
          <pc:docMk/>
          <pc:sldMk cId="994611207" sldId="654"/>
        </pc:sldMkLst>
      </pc:sldChg>
    </pc:docChg>
  </pc:docChgLst>
  <pc:docChgLst>
    <pc:chgData name="Leo Xing" userId="S::l7xing@uwaterloo.ca::092ea61f-c2f3-4c9c-8a83-cb04ba707769" providerId="AD" clId="Web-{40871CB0-EDBF-F9B9-B213-4D5BA00CBD8A}"/>
    <pc:docChg chg="modSld">
      <pc:chgData name="Leo Xing" userId="S::l7xing@uwaterloo.ca::092ea61f-c2f3-4c9c-8a83-cb04ba707769" providerId="AD" clId="Web-{40871CB0-EDBF-F9B9-B213-4D5BA00CBD8A}" dt="2024-10-08T18:32:24.069" v="12" actId="20577"/>
      <pc:docMkLst>
        <pc:docMk/>
      </pc:docMkLst>
      <pc:sldChg chg="modSp">
        <pc:chgData name="Leo Xing" userId="S::l7xing@uwaterloo.ca::092ea61f-c2f3-4c9c-8a83-cb04ba707769" providerId="AD" clId="Web-{40871CB0-EDBF-F9B9-B213-4D5BA00CBD8A}" dt="2024-10-08T18:32:24.069" v="12" actId="20577"/>
        <pc:sldMkLst>
          <pc:docMk/>
          <pc:sldMk cId="1787319496" sldId="652"/>
        </pc:sldMkLst>
        <pc:spChg chg="mod">
          <ac:chgData name="Leo Xing" userId="S::l7xing@uwaterloo.ca::092ea61f-c2f3-4c9c-8a83-cb04ba707769" providerId="AD" clId="Web-{40871CB0-EDBF-F9B9-B213-4D5BA00CBD8A}" dt="2024-10-08T18:32:24.069" v="12" actId="20577"/>
          <ac:spMkLst>
            <pc:docMk/>
            <pc:sldMk cId="1787319496" sldId="652"/>
            <ac:spMk id="4" creationId="{33A612CA-2592-4795-DB7E-CE4E0F65DCB0}"/>
          </ac:spMkLst>
        </pc:spChg>
      </pc:sldChg>
      <pc:sldChg chg="modSp">
        <pc:chgData name="Leo Xing" userId="S::l7xing@uwaterloo.ca::092ea61f-c2f3-4c9c-8a83-cb04ba707769" providerId="AD" clId="Web-{40871CB0-EDBF-F9B9-B213-4D5BA00CBD8A}" dt="2024-10-08T18:32:08.991" v="1" actId="20577"/>
        <pc:sldMkLst>
          <pc:docMk/>
          <pc:sldMk cId="3071594886" sldId="663"/>
        </pc:sldMkLst>
        <pc:spChg chg="mod">
          <ac:chgData name="Leo Xing" userId="S::l7xing@uwaterloo.ca::092ea61f-c2f3-4c9c-8a83-cb04ba707769" providerId="AD" clId="Web-{40871CB0-EDBF-F9B9-B213-4D5BA00CBD8A}" dt="2024-10-08T18:32:08.991" v="1" actId="20577"/>
          <ac:spMkLst>
            <pc:docMk/>
            <pc:sldMk cId="3071594886" sldId="663"/>
            <ac:spMk id="14" creationId="{3DC2E2A5-C070-8F6E-2784-278EC364CE2D}"/>
          </ac:spMkLst>
        </pc:spChg>
      </pc:sldChg>
    </pc:docChg>
  </pc:docChgLst>
  <pc:docChgLst>
    <pc:chgData name="Marvin Mario Bullinger" userId="3bbe2cfe-6e8b-4ac1-8799-4ce6c696cdc9" providerId="ADAL" clId="{83EC6C93-A35B-42FE-9BA5-ACD64F737211}"/>
    <pc:docChg chg="undo custSel addSld delSld modSld modMainMaster modSection">
      <pc:chgData name="Marvin Mario Bullinger" userId="3bbe2cfe-6e8b-4ac1-8799-4ce6c696cdc9" providerId="ADAL" clId="{83EC6C93-A35B-42FE-9BA5-ACD64F737211}" dt="2024-10-09T00:41:35.490" v="145" actId="47"/>
      <pc:docMkLst>
        <pc:docMk/>
      </pc:docMkLst>
      <pc:sldChg chg="modSp del mod modNotesTx">
        <pc:chgData name="Marvin Mario Bullinger" userId="3bbe2cfe-6e8b-4ac1-8799-4ce6c696cdc9" providerId="ADAL" clId="{83EC6C93-A35B-42FE-9BA5-ACD64F737211}" dt="2024-10-09T00:25:13.541" v="48" actId="47"/>
        <pc:sldMkLst>
          <pc:docMk/>
          <pc:sldMk cId="211836646" sldId="650"/>
        </pc:sldMkLst>
        <pc:spChg chg="mod">
          <ac:chgData name="Marvin Mario Bullinger" userId="3bbe2cfe-6e8b-4ac1-8799-4ce6c696cdc9" providerId="ADAL" clId="{83EC6C93-A35B-42FE-9BA5-ACD64F737211}" dt="2024-10-03T20:17:44.481" v="15" actId="255"/>
          <ac:spMkLst>
            <pc:docMk/>
            <pc:sldMk cId="211836646" sldId="650"/>
            <ac:spMk id="2" creationId="{8842ABB3-4462-FB59-3FE4-F70DFD35C7F6}"/>
          </ac:spMkLst>
        </pc:spChg>
      </pc:sldChg>
      <pc:sldChg chg="delSp mod">
        <pc:chgData name="Marvin Mario Bullinger" userId="3bbe2cfe-6e8b-4ac1-8799-4ce6c696cdc9" providerId="ADAL" clId="{83EC6C93-A35B-42FE-9BA5-ACD64F737211}" dt="2024-10-09T00:25:28.582" v="50" actId="478"/>
        <pc:sldMkLst>
          <pc:docMk/>
          <pc:sldMk cId="1533146030" sldId="651"/>
        </pc:sldMkLst>
        <pc:spChg chg="del">
          <ac:chgData name="Marvin Mario Bullinger" userId="3bbe2cfe-6e8b-4ac1-8799-4ce6c696cdc9" providerId="ADAL" clId="{83EC6C93-A35B-42FE-9BA5-ACD64F737211}" dt="2024-10-09T00:25:28.582" v="50" actId="478"/>
          <ac:spMkLst>
            <pc:docMk/>
            <pc:sldMk cId="1533146030" sldId="651"/>
            <ac:spMk id="26" creationId="{EC389C4C-2368-E86A-CAB7-B8B0A6A2E946}"/>
          </ac:spMkLst>
        </pc:spChg>
      </pc:sldChg>
      <pc:sldChg chg="delSp mod">
        <pc:chgData name="Marvin Mario Bullinger" userId="3bbe2cfe-6e8b-4ac1-8799-4ce6c696cdc9" providerId="ADAL" clId="{83EC6C93-A35B-42FE-9BA5-ACD64F737211}" dt="2024-10-09T00:25:36.231" v="51" actId="478"/>
        <pc:sldMkLst>
          <pc:docMk/>
          <pc:sldMk cId="1787319496" sldId="652"/>
        </pc:sldMkLst>
        <pc:spChg chg="del">
          <ac:chgData name="Marvin Mario Bullinger" userId="3bbe2cfe-6e8b-4ac1-8799-4ce6c696cdc9" providerId="ADAL" clId="{83EC6C93-A35B-42FE-9BA5-ACD64F737211}" dt="2024-10-09T00:25:36.231" v="51" actId="478"/>
          <ac:spMkLst>
            <pc:docMk/>
            <pc:sldMk cId="1787319496" sldId="652"/>
            <ac:spMk id="26" creationId="{EC389C4C-2368-E86A-CAB7-B8B0A6A2E946}"/>
          </ac:spMkLst>
        </pc:spChg>
      </pc:sldChg>
      <pc:sldChg chg="addSp delSp modSp mod">
        <pc:chgData name="Marvin Mario Bullinger" userId="3bbe2cfe-6e8b-4ac1-8799-4ce6c696cdc9" providerId="ADAL" clId="{83EC6C93-A35B-42FE-9BA5-ACD64F737211}" dt="2024-10-09T00:40:46.737" v="144" actId="478"/>
        <pc:sldMkLst>
          <pc:docMk/>
          <pc:sldMk cId="3874982595" sldId="653"/>
        </pc:sldMkLst>
        <pc:spChg chg="add del mod">
          <ac:chgData name="Marvin Mario Bullinger" userId="3bbe2cfe-6e8b-4ac1-8799-4ce6c696cdc9" providerId="ADAL" clId="{83EC6C93-A35B-42FE-9BA5-ACD64F737211}" dt="2024-10-09T00:36:40.484" v="99" actId="478"/>
          <ac:spMkLst>
            <pc:docMk/>
            <pc:sldMk cId="3874982595" sldId="653"/>
            <ac:spMk id="2" creationId="{08123542-6647-7876-E33C-7FEF56798877}"/>
          </ac:spMkLst>
        </pc:spChg>
        <pc:spChg chg="add del mod">
          <ac:chgData name="Marvin Mario Bullinger" userId="3bbe2cfe-6e8b-4ac1-8799-4ce6c696cdc9" providerId="ADAL" clId="{83EC6C93-A35B-42FE-9BA5-ACD64F737211}" dt="2024-10-09T00:40:46.737" v="144" actId="478"/>
          <ac:spMkLst>
            <pc:docMk/>
            <pc:sldMk cId="3874982595" sldId="653"/>
            <ac:spMk id="6" creationId="{EA21B47E-55E8-773F-CEC6-4EAB3B8FFC38}"/>
          </ac:spMkLst>
        </pc:spChg>
        <pc:spChg chg="del">
          <ac:chgData name="Marvin Mario Bullinger" userId="3bbe2cfe-6e8b-4ac1-8799-4ce6c696cdc9" providerId="ADAL" clId="{83EC6C93-A35B-42FE-9BA5-ACD64F737211}" dt="2024-10-09T00:25:56.815" v="55" actId="478"/>
          <ac:spMkLst>
            <pc:docMk/>
            <pc:sldMk cId="3874982595" sldId="653"/>
            <ac:spMk id="26" creationId="{EC389C4C-2368-E86A-CAB7-B8B0A6A2E946}"/>
          </ac:spMkLst>
        </pc:spChg>
        <pc:spChg chg="mod">
          <ac:chgData name="Marvin Mario Bullinger" userId="3bbe2cfe-6e8b-4ac1-8799-4ce6c696cdc9" providerId="ADAL" clId="{83EC6C93-A35B-42FE-9BA5-ACD64F737211}" dt="2024-10-09T00:33:42.942" v="71" actId="20577"/>
          <ac:spMkLst>
            <pc:docMk/>
            <pc:sldMk cId="3874982595" sldId="653"/>
            <ac:spMk id="43" creationId="{3896FE4D-A7AE-099B-363F-0C85F0A9502A}"/>
          </ac:spMkLst>
        </pc:spChg>
        <pc:spChg chg="del">
          <ac:chgData name="Marvin Mario Bullinger" userId="3bbe2cfe-6e8b-4ac1-8799-4ce6c696cdc9" providerId="ADAL" clId="{83EC6C93-A35B-42FE-9BA5-ACD64F737211}" dt="2024-10-03T20:19:00.640" v="16" actId="478"/>
          <ac:spMkLst>
            <pc:docMk/>
            <pc:sldMk cId="3874982595" sldId="653"/>
            <ac:spMk id="44" creationId="{9A0D7DE8-29FE-08C8-D01C-97334E84F4D3}"/>
          </ac:spMkLst>
        </pc:spChg>
        <pc:picChg chg="add mod modCrop">
          <ac:chgData name="Marvin Mario Bullinger" userId="3bbe2cfe-6e8b-4ac1-8799-4ce6c696cdc9" providerId="ADAL" clId="{83EC6C93-A35B-42FE-9BA5-ACD64F737211}" dt="2024-10-03T20:19:24.961" v="24" actId="1076"/>
          <ac:picMkLst>
            <pc:docMk/>
            <pc:sldMk cId="3874982595" sldId="653"/>
            <ac:picMk id="3" creationId="{494A2FD9-1611-92C7-D14D-04C8CF3B311B}"/>
          </ac:picMkLst>
        </pc:picChg>
        <pc:cxnChg chg="add del mod">
          <ac:chgData name="Marvin Mario Bullinger" userId="3bbe2cfe-6e8b-4ac1-8799-4ce6c696cdc9" providerId="ADAL" clId="{83EC6C93-A35B-42FE-9BA5-ACD64F737211}" dt="2024-10-09T00:40:45.131" v="143" actId="478"/>
          <ac:cxnSpMkLst>
            <pc:docMk/>
            <pc:sldMk cId="3874982595" sldId="653"/>
            <ac:cxnSpMk id="5" creationId="{C066E5CF-4D1D-B01E-8069-485B972BCA34}"/>
          </ac:cxnSpMkLst>
        </pc:cxnChg>
      </pc:sldChg>
      <pc:sldChg chg="delSp mod">
        <pc:chgData name="Marvin Mario Bullinger" userId="3bbe2cfe-6e8b-4ac1-8799-4ce6c696cdc9" providerId="ADAL" clId="{83EC6C93-A35B-42FE-9BA5-ACD64F737211}" dt="2024-10-09T00:25:44.608" v="53" actId="478"/>
        <pc:sldMkLst>
          <pc:docMk/>
          <pc:sldMk cId="994611207" sldId="654"/>
        </pc:sldMkLst>
        <pc:spChg chg="del">
          <ac:chgData name="Marvin Mario Bullinger" userId="3bbe2cfe-6e8b-4ac1-8799-4ce6c696cdc9" providerId="ADAL" clId="{83EC6C93-A35B-42FE-9BA5-ACD64F737211}" dt="2024-10-09T00:25:44.608" v="53" actId="478"/>
          <ac:spMkLst>
            <pc:docMk/>
            <pc:sldMk cId="994611207" sldId="654"/>
            <ac:spMk id="26" creationId="{EC389C4C-2368-E86A-CAB7-B8B0A6A2E946}"/>
          </ac:spMkLst>
        </pc:spChg>
      </pc:sldChg>
      <pc:sldChg chg="delSp mod">
        <pc:chgData name="Marvin Mario Bullinger" userId="3bbe2cfe-6e8b-4ac1-8799-4ce6c696cdc9" providerId="ADAL" clId="{83EC6C93-A35B-42FE-9BA5-ACD64F737211}" dt="2024-10-09T00:25:50.863" v="54" actId="478"/>
        <pc:sldMkLst>
          <pc:docMk/>
          <pc:sldMk cId="1274719457" sldId="657"/>
        </pc:sldMkLst>
        <pc:spChg chg="del">
          <ac:chgData name="Marvin Mario Bullinger" userId="3bbe2cfe-6e8b-4ac1-8799-4ce6c696cdc9" providerId="ADAL" clId="{83EC6C93-A35B-42FE-9BA5-ACD64F737211}" dt="2024-10-09T00:25:50.863" v="54" actId="478"/>
          <ac:spMkLst>
            <pc:docMk/>
            <pc:sldMk cId="1274719457" sldId="657"/>
            <ac:spMk id="26" creationId="{EC389C4C-2368-E86A-CAB7-B8B0A6A2E946}"/>
          </ac:spMkLst>
        </pc:spChg>
      </pc:sldChg>
      <pc:sldChg chg="delSp mod">
        <pc:chgData name="Marvin Mario Bullinger" userId="3bbe2cfe-6e8b-4ac1-8799-4ce6c696cdc9" providerId="ADAL" clId="{83EC6C93-A35B-42FE-9BA5-ACD64F737211}" dt="2024-10-09T00:26:07.365" v="58" actId="478"/>
        <pc:sldMkLst>
          <pc:docMk/>
          <pc:sldMk cId="1819382037" sldId="659"/>
        </pc:sldMkLst>
        <pc:spChg chg="del">
          <ac:chgData name="Marvin Mario Bullinger" userId="3bbe2cfe-6e8b-4ac1-8799-4ce6c696cdc9" providerId="ADAL" clId="{83EC6C93-A35B-42FE-9BA5-ACD64F737211}" dt="2024-10-09T00:26:07.365" v="58" actId="478"/>
          <ac:spMkLst>
            <pc:docMk/>
            <pc:sldMk cId="1819382037" sldId="659"/>
            <ac:spMk id="26" creationId="{EC389C4C-2368-E86A-CAB7-B8B0A6A2E946}"/>
          </ac:spMkLst>
        </pc:spChg>
      </pc:sldChg>
      <pc:sldChg chg="addSp delSp modSp mod">
        <pc:chgData name="Marvin Mario Bullinger" userId="3bbe2cfe-6e8b-4ac1-8799-4ce6c696cdc9" providerId="ADAL" clId="{83EC6C93-A35B-42FE-9BA5-ACD64F737211}" dt="2024-10-09T00:33:48.533" v="86" actId="20577"/>
        <pc:sldMkLst>
          <pc:docMk/>
          <pc:sldMk cId="2135841358" sldId="660"/>
        </pc:sldMkLst>
        <pc:spChg chg="del">
          <ac:chgData name="Marvin Mario Bullinger" userId="3bbe2cfe-6e8b-4ac1-8799-4ce6c696cdc9" providerId="ADAL" clId="{83EC6C93-A35B-42FE-9BA5-ACD64F737211}" dt="2024-10-09T00:25:59.835" v="56" actId="478"/>
          <ac:spMkLst>
            <pc:docMk/>
            <pc:sldMk cId="2135841358" sldId="660"/>
            <ac:spMk id="26" creationId="{EC389C4C-2368-E86A-CAB7-B8B0A6A2E946}"/>
          </ac:spMkLst>
        </pc:spChg>
        <pc:spChg chg="mod">
          <ac:chgData name="Marvin Mario Bullinger" userId="3bbe2cfe-6e8b-4ac1-8799-4ce6c696cdc9" providerId="ADAL" clId="{83EC6C93-A35B-42FE-9BA5-ACD64F737211}" dt="2024-10-09T00:33:48.533" v="86" actId="20577"/>
          <ac:spMkLst>
            <pc:docMk/>
            <pc:sldMk cId="2135841358" sldId="660"/>
            <ac:spMk id="43" creationId="{3896FE4D-A7AE-099B-363F-0C85F0A9502A}"/>
          </ac:spMkLst>
        </pc:spChg>
        <pc:spChg chg="del">
          <ac:chgData name="Marvin Mario Bullinger" userId="3bbe2cfe-6e8b-4ac1-8799-4ce6c696cdc9" providerId="ADAL" clId="{83EC6C93-A35B-42FE-9BA5-ACD64F737211}" dt="2024-10-03T20:19:56.080" v="25" actId="478"/>
          <ac:spMkLst>
            <pc:docMk/>
            <pc:sldMk cId="2135841358" sldId="660"/>
            <ac:spMk id="44" creationId="{9A0D7DE8-29FE-08C8-D01C-97334E84F4D3}"/>
          </ac:spMkLst>
        </pc:spChg>
        <pc:picChg chg="add mod">
          <ac:chgData name="Marvin Mario Bullinger" userId="3bbe2cfe-6e8b-4ac1-8799-4ce6c696cdc9" providerId="ADAL" clId="{83EC6C93-A35B-42FE-9BA5-ACD64F737211}" dt="2024-10-03T20:20:04.693" v="29" actId="1076"/>
          <ac:picMkLst>
            <pc:docMk/>
            <pc:sldMk cId="2135841358" sldId="660"/>
            <ac:picMk id="3" creationId="{A79DCCAE-E033-CA0F-B076-EC29CB2C452F}"/>
          </ac:picMkLst>
        </pc:picChg>
      </pc:sldChg>
      <pc:sldChg chg="addSp delSp modSp mod modNotesTx">
        <pc:chgData name="Marvin Mario Bullinger" userId="3bbe2cfe-6e8b-4ac1-8799-4ce6c696cdc9" providerId="ADAL" clId="{83EC6C93-A35B-42FE-9BA5-ACD64F737211}" dt="2024-10-09T00:36:24.028" v="96"/>
        <pc:sldMkLst>
          <pc:docMk/>
          <pc:sldMk cId="223390664" sldId="661"/>
        </pc:sldMkLst>
        <pc:spChg chg="mod">
          <ac:chgData name="Marvin Mario Bullinger" userId="3bbe2cfe-6e8b-4ac1-8799-4ce6c696cdc9" providerId="ADAL" clId="{83EC6C93-A35B-42FE-9BA5-ACD64F737211}" dt="2024-10-09T00:33:55.855" v="95" actId="20577"/>
          <ac:spMkLst>
            <pc:docMk/>
            <pc:sldMk cId="223390664" sldId="661"/>
            <ac:spMk id="3" creationId="{60003483-1355-F414-C249-CC5C3C705A89}"/>
          </ac:spMkLst>
        </pc:spChg>
        <pc:spChg chg="del">
          <ac:chgData name="Marvin Mario Bullinger" userId="3bbe2cfe-6e8b-4ac1-8799-4ce6c696cdc9" providerId="ADAL" clId="{83EC6C93-A35B-42FE-9BA5-ACD64F737211}" dt="2024-10-09T00:26:03.610" v="57" actId="478"/>
          <ac:spMkLst>
            <pc:docMk/>
            <pc:sldMk cId="223390664" sldId="661"/>
            <ac:spMk id="26" creationId="{EC389C4C-2368-E86A-CAB7-B8B0A6A2E946}"/>
          </ac:spMkLst>
        </pc:spChg>
        <pc:spChg chg="del">
          <ac:chgData name="Marvin Mario Bullinger" userId="3bbe2cfe-6e8b-4ac1-8799-4ce6c696cdc9" providerId="ADAL" clId="{83EC6C93-A35B-42FE-9BA5-ACD64F737211}" dt="2024-10-03T20:20:09.945" v="30" actId="478"/>
          <ac:spMkLst>
            <pc:docMk/>
            <pc:sldMk cId="223390664" sldId="661"/>
            <ac:spMk id="44" creationId="{9A0D7DE8-29FE-08C8-D01C-97334E84F4D3}"/>
          </ac:spMkLst>
        </pc:spChg>
        <pc:picChg chg="add mod">
          <ac:chgData name="Marvin Mario Bullinger" userId="3bbe2cfe-6e8b-4ac1-8799-4ce6c696cdc9" providerId="ADAL" clId="{83EC6C93-A35B-42FE-9BA5-ACD64F737211}" dt="2024-10-03T20:20:33.783" v="35" actId="1076"/>
          <ac:picMkLst>
            <pc:docMk/>
            <pc:sldMk cId="223390664" sldId="661"/>
            <ac:picMk id="4" creationId="{6BEBBF3D-3171-6671-5C7D-06E25D095255}"/>
          </ac:picMkLst>
        </pc:picChg>
      </pc:sldChg>
      <pc:sldChg chg="delSp mod">
        <pc:chgData name="Marvin Mario Bullinger" userId="3bbe2cfe-6e8b-4ac1-8799-4ce6c696cdc9" providerId="ADAL" clId="{83EC6C93-A35B-42FE-9BA5-ACD64F737211}" dt="2024-10-09T00:25:24.711" v="49" actId="478"/>
        <pc:sldMkLst>
          <pc:docMk/>
          <pc:sldMk cId="3402755058" sldId="662"/>
        </pc:sldMkLst>
        <pc:spChg chg="del">
          <ac:chgData name="Marvin Mario Bullinger" userId="3bbe2cfe-6e8b-4ac1-8799-4ce6c696cdc9" providerId="ADAL" clId="{83EC6C93-A35B-42FE-9BA5-ACD64F737211}" dt="2024-10-09T00:25:24.711" v="49" actId="478"/>
          <ac:spMkLst>
            <pc:docMk/>
            <pc:sldMk cId="3402755058" sldId="662"/>
            <ac:spMk id="5" creationId="{E22A0265-080B-A814-A3C0-ED7959305C9F}"/>
          </ac:spMkLst>
        </pc:spChg>
      </pc:sldChg>
      <pc:sldChg chg="delSp mod">
        <pc:chgData name="Marvin Mario Bullinger" userId="3bbe2cfe-6e8b-4ac1-8799-4ce6c696cdc9" providerId="ADAL" clId="{83EC6C93-A35B-42FE-9BA5-ACD64F737211}" dt="2024-10-09T00:25:39.923" v="52" actId="478"/>
        <pc:sldMkLst>
          <pc:docMk/>
          <pc:sldMk cId="3071594886" sldId="663"/>
        </pc:sldMkLst>
        <pc:spChg chg="del">
          <ac:chgData name="Marvin Mario Bullinger" userId="3bbe2cfe-6e8b-4ac1-8799-4ce6c696cdc9" providerId="ADAL" clId="{83EC6C93-A35B-42FE-9BA5-ACD64F737211}" dt="2024-10-09T00:25:39.923" v="52" actId="478"/>
          <ac:spMkLst>
            <pc:docMk/>
            <pc:sldMk cId="3071594886" sldId="663"/>
            <ac:spMk id="5" creationId="{94BEB511-4641-3C3E-4D60-09250C8050ED}"/>
          </ac:spMkLst>
        </pc:spChg>
      </pc:sldChg>
      <pc:sldChg chg="addSp delSp modSp new mod">
        <pc:chgData name="Marvin Mario Bullinger" userId="3bbe2cfe-6e8b-4ac1-8799-4ce6c696cdc9" providerId="ADAL" clId="{83EC6C93-A35B-42FE-9BA5-ACD64F737211}" dt="2024-10-09T00:25:10.404" v="47"/>
        <pc:sldMkLst>
          <pc:docMk/>
          <pc:sldMk cId="2459506782" sldId="664"/>
        </pc:sldMkLst>
        <pc:spChg chg="del">
          <ac:chgData name="Marvin Mario Bullinger" userId="3bbe2cfe-6e8b-4ac1-8799-4ce6c696cdc9" providerId="ADAL" clId="{83EC6C93-A35B-42FE-9BA5-ACD64F737211}" dt="2024-10-09T00:25:05.379" v="44" actId="478"/>
          <ac:spMkLst>
            <pc:docMk/>
            <pc:sldMk cId="2459506782" sldId="664"/>
            <ac:spMk id="2" creationId="{F0FCEE5A-9AD2-63DD-737D-4D57C3D31D32}"/>
          </ac:spMkLst>
        </pc:spChg>
        <pc:spChg chg="del">
          <ac:chgData name="Marvin Mario Bullinger" userId="3bbe2cfe-6e8b-4ac1-8799-4ce6c696cdc9" providerId="ADAL" clId="{83EC6C93-A35B-42FE-9BA5-ACD64F737211}" dt="2024-10-09T00:25:03.689" v="43" actId="478"/>
          <ac:spMkLst>
            <pc:docMk/>
            <pc:sldMk cId="2459506782" sldId="664"/>
            <ac:spMk id="3" creationId="{162B2771-F748-A7FF-CA86-B0F084D25E78}"/>
          </ac:spMkLst>
        </pc:spChg>
        <pc:spChg chg="del">
          <ac:chgData name="Marvin Mario Bullinger" userId="3bbe2cfe-6e8b-4ac1-8799-4ce6c696cdc9" providerId="ADAL" clId="{83EC6C93-A35B-42FE-9BA5-ACD64F737211}" dt="2024-10-09T00:25:08.283" v="45" actId="478"/>
          <ac:spMkLst>
            <pc:docMk/>
            <pc:sldMk cId="2459506782" sldId="664"/>
            <ac:spMk id="4" creationId="{9727D9D8-1F69-6B96-02DF-CA0252D8E7F3}"/>
          </ac:spMkLst>
        </pc:spChg>
        <pc:spChg chg="del">
          <ac:chgData name="Marvin Mario Bullinger" userId="3bbe2cfe-6e8b-4ac1-8799-4ce6c696cdc9" providerId="ADAL" clId="{83EC6C93-A35B-42FE-9BA5-ACD64F737211}" dt="2024-10-09T00:25:09.777" v="46" actId="478"/>
          <ac:spMkLst>
            <pc:docMk/>
            <pc:sldMk cId="2459506782" sldId="664"/>
            <ac:spMk id="5" creationId="{E131790B-F822-52A8-4D24-46DA83C63D56}"/>
          </ac:spMkLst>
        </pc:spChg>
        <pc:spChg chg="add mod">
          <ac:chgData name="Marvin Mario Bullinger" userId="3bbe2cfe-6e8b-4ac1-8799-4ce6c696cdc9" providerId="ADAL" clId="{83EC6C93-A35B-42FE-9BA5-ACD64F737211}" dt="2024-10-09T00:25:10.404" v="47"/>
          <ac:spMkLst>
            <pc:docMk/>
            <pc:sldMk cId="2459506782" sldId="664"/>
            <ac:spMk id="7" creationId="{49CB9965-CC55-9B67-0DC6-3DBDE790AB5E}"/>
          </ac:spMkLst>
        </pc:spChg>
        <pc:spChg chg="add mod">
          <ac:chgData name="Marvin Mario Bullinger" userId="3bbe2cfe-6e8b-4ac1-8799-4ce6c696cdc9" providerId="ADAL" clId="{83EC6C93-A35B-42FE-9BA5-ACD64F737211}" dt="2024-10-09T00:25:10.404" v="47"/>
          <ac:spMkLst>
            <pc:docMk/>
            <pc:sldMk cId="2459506782" sldId="664"/>
            <ac:spMk id="8" creationId="{3E447D12-B3BC-2D6C-1864-FA030F4343F2}"/>
          </ac:spMkLst>
        </pc:spChg>
        <pc:spChg chg="add mod">
          <ac:chgData name="Marvin Mario Bullinger" userId="3bbe2cfe-6e8b-4ac1-8799-4ce6c696cdc9" providerId="ADAL" clId="{83EC6C93-A35B-42FE-9BA5-ACD64F737211}" dt="2024-10-09T00:25:10.404" v="47"/>
          <ac:spMkLst>
            <pc:docMk/>
            <pc:sldMk cId="2459506782" sldId="664"/>
            <ac:spMk id="9" creationId="{D50D9609-BBD9-4FEE-3B92-0A63B6380EDC}"/>
          </ac:spMkLst>
        </pc:spChg>
        <pc:spChg chg="add mod">
          <ac:chgData name="Marvin Mario Bullinger" userId="3bbe2cfe-6e8b-4ac1-8799-4ce6c696cdc9" providerId="ADAL" clId="{83EC6C93-A35B-42FE-9BA5-ACD64F737211}" dt="2024-10-09T00:25:10.404" v="47"/>
          <ac:spMkLst>
            <pc:docMk/>
            <pc:sldMk cId="2459506782" sldId="664"/>
            <ac:spMk id="10" creationId="{1C39EF68-D449-C837-ADC6-A5946FC6FA8D}"/>
          </ac:spMkLst>
        </pc:spChg>
      </pc:sldChg>
      <pc:sldChg chg="addSp modSp new del mod modClrScheme chgLayout">
        <pc:chgData name="Marvin Mario Bullinger" userId="3bbe2cfe-6e8b-4ac1-8799-4ce6c696cdc9" providerId="ADAL" clId="{83EC6C93-A35B-42FE-9BA5-ACD64F737211}" dt="2024-10-09T00:41:35.490" v="145" actId="47"/>
        <pc:sldMkLst>
          <pc:docMk/>
          <pc:sldMk cId="2804152202" sldId="665"/>
        </pc:sldMkLst>
        <pc:spChg chg="add mod">
          <ac:chgData name="Marvin Mario Bullinger" userId="3bbe2cfe-6e8b-4ac1-8799-4ce6c696cdc9" providerId="ADAL" clId="{83EC6C93-A35B-42FE-9BA5-ACD64F737211}" dt="2024-10-09T00:37:59.479" v="127" actId="20577"/>
          <ac:spMkLst>
            <pc:docMk/>
            <pc:sldMk cId="2804152202" sldId="665"/>
            <ac:spMk id="2" creationId="{3A7DEA4B-4044-B7D4-9A69-D31274980BC5}"/>
          </ac:spMkLst>
        </pc:spChg>
        <pc:spChg chg="add mod">
          <ac:chgData name="Marvin Mario Bullinger" userId="3bbe2cfe-6e8b-4ac1-8799-4ce6c696cdc9" providerId="ADAL" clId="{83EC6C93-A35B-42FE-9BA5-ACD64F737211}" dt="2024-10-09T00:38:03.794" v="142" actId="20577"/>
          <ac:spMkLst>
            <pc:docMk/>
            <pc:sldMk cId="2804152202" sldId="665"/>
            <ac:spMk id="3" creationId="{B0BB8EA1-2D61-ECD6-602A-97CBFFA4EF22}"/>
          </ac:spMkLst>
        </pc:spChg>
        <pc:spChg chg="add mod">
          <ac:chgData name="Marvin Mario Bullinger" userId="3bbe2cfe-6e8b-4ac1-8799-4ce6c696cdc9" providerId="ADAL" clId="{83EC6C93-A35B-42FE-9BA5-ACD64F737211}" dt="2024-10-09T00:37:54.424" v="113" actId="700"/>
          <ac:spMkLst>
            <pc:docMk/>
            <pc:sldMk cId="2804152202" sldId="665"/>
            <ac:spMk id="4" creationId="{3A0311FC-4FC6-5408-6EBB-3489FB06868D}"/>
          </ac:spMkLst>
        </pc:spChg>
      </pc:sldChg>
      <pc:sldMasterChg chg="modSp mod modSldLayout">
        <pc:chgData name="Marvin Mario Bullinger" userId="3bbe2cfe-6e8b-4ac1-8799-4ce6c696cdc9" providerId="ADAL" clId="{83EC6C93-A35B-42FE-9BA5-ACD64F737211}" dt="2024-10-09T00:24:29.958" v="41" actId="478"/>
        <pc:sldMasterMkLst>
          <pc:docMk/>
          <pc:sldMasterMk cId="2846167297" sldId="2147483677"/>
        </pc:sldMasterMkLst>
        <pc:picChg chg="mod">
          <ac:chgData name="Marvin Mario Bullinger" userId="3bbe2cfe-6e8b-4ac1-8799-4ce6c696cdc9" providerId="ADAL" clId="{83EC6C93-A35B-42FE-9BA5-ACD64F737211}" dt="2024-10-03T20:17:05.496" v="9" actId="1035"/>
          <ac:picMkLst>
            <pc:docMk/>
            <pc:sldMasterMk cId="2846167297" sldId="2147483677"/>
            <ac:picMk id="9" creationId="{26474EC8-5C7D-4170-27AC-CE76A6950110}"/>
          </ac:picMkLst>
        </pc:picChg>
        <pc:sldLayoutChg chg="addSp delSp modSp mod">
          <pc:chgData name="Marvin Mario Bullinger" userId="3bbe2cfe-6e8b-4ac1-8799-4ce6c696cdc9" providerId="ADAL" clId="{83EC6C93-A35B-42FE-9BA5-ACD64F737211}" dt="2024-10-09T00:24:11.462" v="37" actId="20577"/>
          <pc:sldLayoutMkLst>
            <pc:docMk/>
            <pc:sldMasterMk cId="2846167297" sldId="2147483677"/>
            <pc:sldLayoutMk cId="2552064348" sldId="2147483679"/>
          </pc:sldLayoutMkLst>
          <pc:spChg chg="mod">
            <ac:chgData name="Marvin Mario Bullinger" userId="3bbe2cfe-6e8b-4ac1-8799-4ce6c696cdc9" providerId="ADAL" clId="{83EC6C93-A35B-42FE-9BA5-ACD64F737211}" dt="2024-10-09T00:24:11.462" v="37" actId="20577"/>
            <ac:spMkLst>
              <pc:docMk/>
              <pc:sldMasterMk cId="2846167297" sldId="2147483677"/>
              <pc:sldLayoutMk cId="2552064348" sldId="2147483679"/>
              <ac:spMk id="48" creationId="{2A4B3BE6-913A-4465-BEEB-46F60DD5DA84}"/>
            </ac:spMkLst>
          </pc:spChg>
          <pc:picChg chg="add mod">
            <ac:chgData name="Marvin Mario Bullinger" userId="3bbe2cfe-6e8b-4ac1-8799-4ce6c696cdc9" providerId="ADAL" clId="{83EC6C93-A35B-42FE-9BA5-ACD64F737211}" dt="2024-10-03T20:17:11.279" v="11"/>
            <ac:picMkLst>
              <pc:docMk/>
              <pc:sldMasterMk cId="2846167297" sldId="2147483677"/>
              <pc:sldLayoutMk cId="2552064348" sldId="2147483679"/>
              <ac:picMk id="3" creationId="{CBA4CF82-D6CA-42BD-C109-236CBF0A32B8}"/>
            </ac:picMkLst>
          </pc:picChg>
          <pc:picChg chg="del">
            <ac:chgData name="Marvin Mario Bullinger" userId="3bbe2cfe-6e8b-4ac1-8799-4ce6c696cdc9" providerId="ADAL" clId="{83EC6C93-A35B-42FE-9BA5-ACD64F737211}" dt="2024-10-03T20:17:11.021" v="10" actId="478"/>
            <ac:picMkLst>
              <pc:docMk/>
              <pc:sldMasterMk cId="2846167297" sldId="2147483677"/>
              <pc:sldLayoutMk cId="2552064348" sldId="2147483679"/>
              <ac:picMk id="6" creationId="{3900417F-85A5-1383-DFD8-56550C33F678}"/>
            </ac:picMkLst>
          </pc:picChg>
        </pc:sldLayoutChg>
        <pc:sldLayoutChg chg="addSp delSp modSp mod">
          <pc:chgData name="Marvin Mario Bullinger" userId="3bbe2cfe-6e8b-4ac1-8799-4ce6c696cdc9" providerId="ADAL" clId="{83EC6C93-A35B-42FE-9BA5-ACD64F737211}" dt="2024-10-09T00:24:29.958" v="41" actId="478"/>
          <pc:sldLayoutMkLst>
            <pc:docMk/>
            <pc:sldMasterMk cId="2846167297" sldId="2147483677"/>
            <pc:sldLayoutMk cId="3747579019" sldId="2147483680"/>
          </pc:sldLayoutMkLst>
          <pc:spChg chg="add del">
            <ac:chgData name="Marvin Mario Bullinger" userId="3bbe2cfe-6e8b-4ac1-8799-4ce6c696cdc9" providerId="ADAL" clId="{83EC6C93-A35B-42FE-9BA5-ACD64F737211}" dt="2024-10-09T00:24:27.773" v="40" actId="22"/>
            <ac:spMkLst>
              <pc:docMk/>
              <pc:sldMasterMk cId="2846167297" sldId="2147483677"/>
              <pc:sldLayoutMk cId="3747579019" sldId="2147483680"/>
              <ac:spMk id="6" creationId="{0C807FD4-3022-43A8-2302-4BDF388D82B9}"/>
            </ac:spMkLst>
          </pc:spChg>
          <pc:spChg chg="add del">
            <ac:chgData name="Marvin Mario Bullinger" userId="3bbe2cfe-6e8b-4ac1-8799-4ce6c696cdc9" providerId="ADAL" clId="{83EC6C93-A35B-42FE-9BA5-ACD64F737211}" dt="2024-10-09T00:24:29.958" v="41" actId="478"/>
            <ac:spMkLst>
              <pc:docMk/>
              <pc:sldMasterMk cId="2846167297" sldId="2147483677"/>
              <pc:sldLayoutMk cId="3747579019" sldId="2147483680"/>
              <ac:spMk id="56" creationId="{3454106C-2ACB-473E-BEB9-6CD72BA5D955}"/>
            </ac:spMkLst>
          </pc:spChg>
          <pc:picChg chg="add mod">
            <ac:chgData name="Marvin Mario Bullinger" userId="3bbe2cfe-6e8b-4ac1-8799-4ce6c696cdc9" providerId="ADAL" clId="{83EC6C93-A35B-42FE-9BA5-ACD64F737211}" dt="2024-10-03T20:17:14.569" v="13"/>
            <ac:picMkLst>
              <pc:docMk/>
              <pc:sldMasterMk cId="2846167297" sldId="2147483677"/>
              <pc:sldLayoutMk cId="3747579019" sldId="2147483680"/>
              <ac:picMk id="4" creationId="{991A978D-32DF-E272-AB92-63C3D247E88B}"/>
            </ac:picMkLst>
          </pc:picChg>
          <pc:picChg chg="del">
            <ac:chgData name="Marvin Mario Bullinger" userId="3bbe2cfe-6e8b-4ac1-8799-4ce6c696cdc9" providerId="ADAL" clId="{83EC6C93-A35B-42FE-9BA5-ACD64F737211}" dt="2024-10-03T20:17:14.270" v="12" actId="478"/>
            <ac:picMkLst>
              <pc:docMk/>
              <pc:sldMasterMk cId="2846167297" sldId="2147483677"/>
              <pc:sldLayoutMk cId="3747579019" sldId="2147483680"/>
              <ac:picMk id="7" creationId="{D3C52C57-1CFA-CAE6-4589-E3C116FA04C8}"/>
            </ac:picMkLst>
          </pc:picChg>
        </pc:sldLayoutChg>
      </pc:sldMasterChg>
    </pc:docChg>
  </pc:docChgLst>
  <pc:docChgLst>
    <pc:chgData name="Aidan Landry" userId="S::ar3landr@uwaterloo.ca::3189a9fb-e89b-4b01-b295-b304ff3fadbb" providerId="AD" clId="Web-{55BB2BCE-145E-F75E-6D91-0CFE124A5039}"/>
    <pc:docChg chg="modSld">
      <pc:chgData name="Aidan Landry" userId="S::ar3landr@uwaterloo.ca::3189a9fb-e89b-4b01-b295-b304ff3fadbb" providerId="AD" clId="Web-{55BB2BCE-145E-F75E-6D91-0CFE124A5039}" dt="2024-10-05T14:14:58.105" v="4" actId="1076"/>
      <pc:docMkLst>
        <pc:docMk/>
      </pc:docMkLst>
      <pc:sldChg chg="addSp delSp modSp">
        <pc:chgData name="Aidan Landry" userId="S::ar3landr@uwaterloo.ca::3189a9fb-e89b-4b01-b295-b304ff3fadbb" providerId="AD" clId="Web-{55BB2BCE-145E-F75E-6D91-0CFE124A5039}" dt="2024-10-05T14:14:58.105" v="4" actId="1076"/>
        <pc:sldMkLst>
          <pc:docMk/>
          <pc:sldMk cId="1533146030" sldId="651"/>
        </pc:sldMkLst>
        <pc:spChg chg="del">
          <ac:chgData name="Aidan Landry" userId="S::ar3landr@uwaterloo.ca::3189a9fb-e89b-4b01-b295-b304ff3fadbb" providerId="AD" clId="Web-{55BB2BCE-145E-F75E-6D91-0CFE124A5039}" dt="2024-10-05T14:13:56.808" v="0"/>
          <ac:spMkLst>
            <pc:docMk/>
            <pc:sldMk cId="1533146030" sldId="651"/>
            <ac:spMk id="43" creationId="{3896FE4D-A7AE-099B-363F-0C85F0A9502A}"/>
          </ac:spMkLst>
        </pc:spChg>
        <pc:spChg chg="mod">
          <ac:chgData name="Aidan Landry" userId="S::ar3landr@uwaterloo.ca::3189a9fb-e89b-4b01-b295-b304ff3fadbb" providerId="AD" clId="Web-{55BB2BCE-145E-F75E-6D91-0CFE124A5039}" dt="2024-10-05T14:14:03.902" v="1" actId="1076"/>
          <ac:spMkLst>
            <pc:docMk/>
            <pc:sldMk cId="1533146030" sldId="651"/>
            <ac:spMk id="44" creationId="{9A0D7DE8-29FE-08C8-D01C-97334E84F4D3}"/>
          </ac:spMkLst>
        </pc:spChg>
        <pc:picChg chg="add mod">
          <ac:chgData name="Aidan Landry" userId="S::ar3landr@uwaterloo.ca::3189a9fb-e89b-4b01-b295-b304ff3fadbb" providerId="AD" clId="Web-{55BB2BCE-145E-F75E-6D91-0CFE124A5039}" dt="2024-10-05T14:14:58.105" v="4" actId="1076"/>
          <ac:picMkLst>
            <pc:docMk/>
            <pc:sldMk cId="1533146030" sldId="651"/>
            <ac:picMk id="2" creationId="{D3EFF9B6-4275-4DF4-8FB6-1545493D3E43}"/>
          </ac:picMkLst>
        </pc:picChg>
      </pc:sldChg>
    </pc:docChg>
  </pc:docChgLst>
  <pc:docChgLst>
    <pc:chgData name="Bullinger, Marvin" userId="5b54ce5a-dc89-476f-af33-5abd75d5b1e8" providerId="ADAL" clId="{B18DB96A-0F1B-4B04-B169-68D0DF683527}"/>
    <pc:docChg chg="undo redo custSel addSld delSld modSld sldOrd modMainMaster modSection replTag">
      <pc:chgData name="Bullinger, Marvin" userId="5b54ce5a-dc89-476f-af33-5abd75d5b1e8" providerId="ADAL" clId="{B18DB96A-0F1B-4B04-B169-68D0DF683527}" dt="2024-08-14T11:19:27.668" v="28967" actId="20577"/>
      <pc:docMkLst>
        <pc:docMk/>
      </pc:docMkLst>
      <pc:sldChg chg="addSp delSp modSp mod">
        <pc:chgData name="Bullinger, Marvin" userId="5b54ce5a-dc89-476f-af33-5abd75d5b1e8" providerId="ADAL" clId="{B18DB96A-0F1B-4B04-B169-68D0DF683527}" dt="2024-08-08T15:01:01.298" v="9206" actId="478"/>
        <pc:sldMkLst>
          <pc:docMk/>
          <pc:sldMk cId="3596866202" sldId="258"/>
        </pc:sldMkLst>
        <pc:graphicFrameChg chg="add del mod modGraphic">
          <ac:chgData name="Bullinger, Marvin" userId="5b54ce5a-dc89-476f-af33-5abd75d5b1e8" providerId="ADAL" clId="{B18DB96A-0F1B-4B04-B169-68D0DF683527}" dt="2024-08-05T15:28:20.123" v="96" actId="478"/>
          <ac:graphicFrameMkLst>
            <pc:docMk/>
            <pc:sldMk cId="3596866202" sldId="258"/>
            <ac:graphicFrameMk id="2" creationId="{00D507BD-FAEC-E5EE-E04D-A981047218F8}"/>
          </ac:graphicFrameMkLst>
        </pc:graphicFrameChg>
        <pc:graphicFrameChg chg="add del mod">
          <ac:chgData name="Bullinger, Marvin" userId="5b54ce5a-dc89-476f-af33-5abd75d5b1e8" providerId="ADAL" clId="{B18DB96A-0F1B-4B04-B169-68D0DF683527}" dt="2024-08-08T15:01:01.298" v="9206" actId="478"/>
          <ac:graphicFrameMkLst>
            <pc:docMk/>
            <pc:sldMk cId="3596866202" sldId="258"/>
            <ac:graphicFrameMk id="2" creationId="{4E3979B8-8F1B-254B-37B2-7E42C7840814}"/>
          </ac:graphicFrameMkLst>
        </pc:graphicFrameChg>
      </pc:sldChg>
      <pc:sldChg chg="addSp delSp modSp del mod modClrScheme chgLayout">
        <pc:chgData name="Bullinger, Marvin" userId="5b54ce5a-dc89-476f-af33-5abd75d5b1e8" providerId="ADAL" clId="{B18DB96A-0F1B-4B04-B169-68D0DF683527}" dt="2024-08-08T22:01:59.788" v="10016" actId="47"/>
        <pc:sldMkLst>
          <pc:docMk/>
          <pc:sldMk cId="3664439336" sldId="262"/>
        </pc:sldMkLst>
        <pc:spChg chg="add del mod ord">
          <ac:chgData name="Bullinger, Marvin" userId="5b54ce5a-dc89-476f-af33-5abd75d5b1e8" providerId="ADAL" clId="{B18DB96A-0F1B-4B04-B169-68D0DF683527}" dt="2024-08-08T21:53:32.656" v="9551" actId="700"/>
          <ac:spMkLst>
            <pc:docMk/>
            <pc:sldMk cId="3664439336" sldId="262"/>
            <ac:spMk id="2" creationId="{E8A230A6-9519-341C-ABC5-66C157607300}"/>
          </ac:spMkLst>
        </pc:spChg>
        <pc:spChg chg="mod ord">
          <ac:chgData name="Bullinger, Marvin" userId="5b54ce5a-dc89-476f-af33-5abd75d5b1e8" providerId="ADAL" clId="{B18DB96A-0F1B-4B04-B169-68D0DF683527}" dt="2024-08-08T21:53:32.656" v="9551" actId="700"/>
          <ac:spMkLst>
            <pc:docMk/>
            <pc:sldMk cId="3664439336" sldId="262"/>
            <ac:spMk id="3" creationId="{3D5704D4-182D-2081-A931-337F4856B6A2}"/>
          </ac:spMkLst>
        </pc:spChg>
        <pc:spChg chg="mod ord">
          <ac:chgData name="Bullinger, Marvin" userId="5b54ce5a-dc89-476f-af33-5abd75d5b1e8" providerId="ADAL" clId="{B18DB96A-0F1B-4B04-B169-68D0DF683527}" dt="2024-08-08T21:53:32.656" v="9551" actId="700"/>
          <ac:spMkLst>
            <pc:docMk/>
            <pc:sldMk cId="3664439336" sldId="262"/>
            <ac:spMk id="4" creationId="{089CB83A-93F9-438E-BB6E-BC4ECC830B14}"/>
          </ac:spMkLst>
        </pc:spChg>
        <pc:spChg chg="add del mod ord">
          <ac:chgData name="Bullinger, Marvin" userId="5b54ce5a-dc89-476f-af33-5abd75d5b1e8" providerId="ADAL" clId="{B18DB96A-0F1B-4B04-B169-68D0DF683527}" dt="2024-08-07T19:54:13.907" v="7109" actId="700"/>
          <ac:spMkLst>
            <pc:docMk/>
            <pc:sldMk cId="3664439336" sldId="262"/>
            <ac:spMk id="5" creationId="{8AD8F4DF-ADD9-11A3-FDD4-0D3054054349}"/>
          </ac:spMkLst>
        </pc:spChg>
        <pc:spChg chg="add del mod ord">
          <ac:chgData name="Bullinger, Marvin" userId="5b54ce5a-dc89-476f-af33-5abd75d5b1e8" providerId="ADAL" clId="{B18DB96A-0F1B-4B04-B169-68D0DF683527}" dt="2024-08-08T21:51:56.151" v="9475" actId="700"/>
          <ac:spMkLst>
            <pc:docMk/>
            <pc:sldMk cId="3664439336" sldId="262"/>
            <ac:spMk id="5" creationId="{C49ADA27-7BAE-68FD-AD62-CE7A74F9F491}"/>
          </ac:spMkLst>
        </pc:spChg>
        <pc:spChg chg="add del mod ord">
          <ac:chgData name="Bullinger, Marvin" userId="5b54ce5a-dc89-476f-af33-5abd75d5b1e8" providerId="ADAL" clId="{B18DB96A-0F1B-4B04-B169-68D0DF683527}" dt="2024-08-05T19:19:51.203" v="1302" actId="700"/>
          <ac:spMkLst>
            <pc:docMk/>
            <pc:sldMk cId="3664439336" sldId="262"/>
            <ac:spMk id="5" creationId="{E8CEA96A-F899-134A-BCD3-C993D893CD61}"/>
          </ac:spMkLst>
        </pc:spChg>
        <pc:spChg chg="mod ord">
          <ac:chgData name="Bullinger, Marvin" userId="5b54ce5a-dc89-476f-af33-5abd75d5b1e8" providerId="ADAL" clId="{B18DB96A-0F1B-4B04-B169-68D0DF683527}" dt="2024-08-08T21:53:32.656" v="9551" actId="700"/>
          <ac:spMkLst>
            <pc:docMk/>
            <pc:sldMk cId="3664439336" sldId="262"/>
            <ac:spMk id="6" creationId="{1BD86EC6-1D31-494B-B344-CDB16C2E35F1}"/>
          </ac:spMkLst>
        </pc:spChg>
        <pc:spChg chg="add del mod ord">
          <ac:chgData name="Bullinger, Marvin" userId="5b54ce5a-dc89-476f-af33-5abd75d5b1e8" providerId="ADAL" clId="{B18DB96A-0F1B-4B04-B169-68D0DF683527}" dt="2024-08-08T21:53:32.656" v="9551" actId="700"/>
          <ac:spMkLst>
            <pc:docMk/>
            <pc:sldMk cId="3664439336" sldId="262"/>
            <ac:spMk id="7" creationId="{BCFBDFDF-0A76-B2B5-2495-A76EDE4B25A5}"/>
          </ac:spMkLst>
        </pc:spChg>
        <pc:spChg chg="add del mod ord">
          <ac:chgData name="Bullinger, Marvin" userId="5b54ce5a-dc89-476f-af33-5abd75d5b1e8" providerId="ADAL" clId="{B18DB96A-0F1B-4B04-B169-68D0DF683527}" dt="2024-08-08T21:53:32.656" v="9551" actId="700"/>
          <ac:spMkLst>
            <pc:docMk/>
            <pc:sldMk cId="3664439336" sldId="262"/>
            <ac:spMk id="8" creationId="{ED4AE48A-C92C-402F-A80C-7319190C2F22}"/>
          </ac:spMkLst>
        </pc:spChg>
        <pc:spChg chg="mod ord">
          <ac:chgData name="Bullinger, Marvin" userId="5b54ce5a-dc89-476f-af33-5abd75d5b1e8" providerId="ADAL" clId="{B18DB96A-0F1B-4B04-B169-68D0DF683527}" dt="2024-08-08T21:53:32.656" v="9551" actId="700"/>
          <ac:spMkLst>
            <pc:docMk/>
            <pc:sldMk cId="3664439336" sldId="262"/>
            <ac:spMk id="10" creationId="{626D9D8C-9093-4578-9B98-9CD567C49D36}"/>
          </ac:spMkLst>
        </pc:spChg>
        <pc:spChg chg="add del mod">
          <ac:chgData name="Bullinger, Marvin" userId="5b54ce5a-dc89-476f-af33-5abd75d5b1e8" providerId="ADAL" clId="{B18DB96A-0F1B-4B04-B169-68D0DF683527}" dt="2024-08-08T21:53:29.148" v="9542" actId="478"/>
          <ac:spMkLst>
            <pc:docMk/>
            <pc:sldMk cId="3664439336" sldId="262"/>
            <ac:spMk id="11" creationId="{C8A15F69-50CB-4406-C2E7-5088B5A0A30E}"/>
          </ac:spMkLst>
        </pc:spChg>
      </pc:sldChg>
      <pc:sldChg chg="addSp delSp modSp del mod modAnim">
        <pc:chgData name="Bullinger, Marvin" userId="5b54ce5a-dc89-476f-af33-5abd75d5b1e8" providerId="ADAL" clId="{B18DB96A-0F1B-4B04-B169-68D0DF683527}" dt="2024-08-05T18:47:20.154" v="400" actId="47"/>
        <pc:sldMkLst>
          <pc:docMk/>
          <pc:sldMk cId="2953579200" sldId="264"/>
        </pc:sldMkLst>
        <pc:spChg chg="mod">
          <ac:chgData name="Bullinger, Marvin" userId="5b54ce5a-dc89-476f-af33-5abd75d5b1e8" providerId="ADAL" clId="{B18DB96A-0F1B-4B04-B169-68D0DF683527}" dt="2024-08-05T18:38:42.554" v="319" actId="20577"/>
          <ac:spMkLst>
            <pc:docMk/>
            <pc:sldMk cId="2953579200" sldId="264"/>
            <ac:spMk id="2" creationId="{F036CB7C-3D01-4FD0-973E-827329166DED}"/>
          </ac:spMkLst>
        </pc:spChg>
        <pc:spChg chg="del">
          <ac:chgData name="Bullinger, Marvin" userId="5b54ce5a-dc89-476f-af33-5abd75d5b1e8" providerId="ADAL" clId="{B18DB96A-0F1B-4B04-B169-68D0DF683527}" dt="2024-08-05T18:37:57.855" v="250" actId="478"/>
          <ac:spMkLst>
            <pc:docMk/>
            <pc:sldMk cId="2953579200" sldId="264"/>
            <ac:spMk id="12" creationId="{A5F7354C-F7F5-8962-FC64-EC2704CD0141}"/>
          </ac:spMkLst>
        </pc:spChg>
        <pc:spChg chg="add mod">
          <ac:chgData name="Bullinger, Marvin" userId="5b54ce5a-dc89-476f-af33-5abd75d5b1e8" providerId="ADAL" clId="{B18DB96A-0F1B-4B04-B169-68D0DF683527}" dt="2024-08-05T18:45:29.488" v="399" actId="20577"/>
          <ac:spMkLst>
            <pc:docMk/>
            <pc:sldMk cId="2953579200" sldId="264"/>
            <ac:spMk id="17" creationId="{D72AA2FA-B9E7-A9E9-2C69-A56189A83DA1}"/>
          </ac:spMkLst>
        </pc:spChg>
        <pc:picChg chg="add mod">
          <ac:chgData name="Bullinger, Marvin" userId="5b54ce5a-dc89-476f-af33-5abd75d5b1e8" providerId="ADAL" clId="{B18DB96A-0F1B-4B04-B169-68D0DF683527}" dt="2024-08-05T18:44:02.029" v="340" actId="1076"/>
          <ac:picMkLst>
            <pc:docMk/>
            <pc:sldMk cId="2953579200" sldId="264"/>
            <ac:picMk id="4" creationId="{9D5C7871-CCC8-B076-A8D1-10B836141F33}"/>
          </ac:picMkLst>
        </pc:picChg>
        <pc:picChg chg="del">
          <ac:chgData name="Bullinger, Marvin" userId="5b54ce5a-dc89-476f-af33-5abd75d5b1e8" providerId="ADAL" clId="{B18DB96A-0F1B-4B04-B169-68D0DF683527}" dt="2024-08-05T18:37:57.855" v="250" actId="478"/>
          <ac:picMkLst>
            <pc:docMk/>
            <pc:sldMk cId="2953579200" sldId="264"/>
            <ac:picMk id="5" creationId="{4147C821-FD9A-AFCE-B604-4CE34EAADCBD}"/>
          </ac:picMkLst>
        </pc:picChg>
        <pc:picChg chg="del">
          <ac:chgData name="Bullinger, Marvin" userId="5b54ce5a-dc89-476f-af33-5abd75d5b1e8" providerId="ADAL" clId="{B18DB96A-0F1B-4B04-B169-68D0DF683527}" dt="2024-08-05T18:37:57.855" v="250" actId="478"/>
          <ac:picMkLst>
            <pc:docMk/>
            <pc:sldMk cId="2953579200" sldId="264"/>
            <ac:picMk id="7" creationId="{078F4BE8-3AFF-F7E5-FB8D-1F19F3DA4F37}"/>
          </ac:picMkLst>
        </pc:picChg>
        <pc:picChg chg="del">
          <ac:chgData name="Bullinger, Marvin" userId="5b54ce5a-dc89-476f-af33-5abd75d5b1e8" providerId="ADAL" clId="{B18DB96A-0F1B-4B04-B169-68D0DF683527}" dt="2024-08-05T18:37:57.855" v="250" actId="478"/>
          <ac:picMkLst>
            <pc:docMk/>
            <pc:sldMk cId="2953579200" sldId="264"/>
            <ac:picMk id="8" creationId="{F88E1DCD-011C-8CA5-20B2-9AB1BA0CD8AB}"/>
          </ac:picMkLst>
        </pc:picChg>
        <pc:picChg chg="del">
          <ac:chgData name="Bullinger, Marvin" userId="5b54ce5a-dc89-476f-af33-5abd75d5b1e8" providerId="ADAL" clId="{B18DB96A-0F1B-4B04-B169-68D0DF683527}" dt="2024-08-05T18:37:57.855" v="250" actId="478"/>
          <ac:picMkLst>
            <pc:docMk/>
            <pc:sldMk cId="2953579200" sldId="264"/>
            <ac:picMk id="9" creationId="{B6F4CA09-51D3-44F4-0664-0557C8A706E8}"/>
          </ac:picMkLst>
        </pc:picChg>
        <pc:picChg chg="del">
          <ac:chgData name="Bullinger, Marvin" userId="5b54ce5a-dc89-476f-af33-5abd75d5b1e8" providerId="ADAL" clId="{B18DB96A-0F1B-4B04-B169-68D0DF683527}" dt="2024-08-05T18:37:57.855" v="250" actId="478"/>
          <ac:picMkLst>
            <pc:docMk/>
            <pc:sldMk cId="2953579200" sldId="264"/>
            <ac:picMk id="10" creationId="{739252CB-0522-5F74-1A2A-19E909DBB8E6}"/>
          </ac:picMkLst>
        </pc:picChg>
        <pc:picChg chg="del">
          <ac:chgData name="Bullinger, Marvin" userId="5b54ce5a-dc89-476f-af33-5abd75d5b1e8" providerId="ADAL" clId="{B18DB96A-0F1B-4B04-B169-68D0DF683527}" dt="2024-08-05T18:37:57.855" v="250" actId="478"/>
          <ac:picMkLst>
            <pc:docMk/>
            <pc:sldMk cId="2953579200" sldId="264"/>
            <ac:picMk id="11" creationId="{39077DB9-BB4E-323C-1C39-8F761F0F7BCC}"/>
          </ac:picMkLst>
        </pc:picChg>
        <pc:picChg chg="del">
          <ac:chgData name="Bullinger, Marvin" userId="5b54ce5a-dc89-476f-af33-5abd75d5b1e8" providerId="ADAL" clId="{B18DB96A-0F1B-4B04-B169-68D0DF683527}" dt="2024-08-05T18:37:57.855" v="250" actId="478"/>
          <ac:picMkLst>
            <pc:docMk/>
            <pc:sldMk cId="2953579200" sldId="264"/>
            <ac:picMk id="13" creationId="{BAF5DCC7-5622-FE3F-954C-806D8A2AB639}"/>
          </ac:picMkLst>
        </pc:picChg>
        <pc:picChg chg="del">
          <ac:chgData name="Bullinger, Marvin" userId="5b54ce5a-dc89-476f-af33-5abd75d5b1e8" providerId="ADAL" clId="{B18DB96A-0F1B-4B04-B169-68D0DF683527}" dt="2024-08-05T18:37:57.855" v="250" actId="478"/>
          <ac:picMkLst>
            <pc:docMk/>
            <pc:sldMk cId="2953579200" sldId="264"/>
            <ac:picMk id="14" creationId="{79EF7E58-2601-31CD-C98F-5FE80B384BF2}"/>
          </ac:picMkLst>
        </pc:picChg>
        <pc:picChg chg="del">
          <ac:chgData name="Bullinger, Marvin" userId="5b54ce5a-dc89-476f-af33-5abd75d5b1e8" providerId="ADAL" clId="{B18DB96A-0F1B-4B04-B169-68D0DF683527}" dt="2024-08-05T18:37:57.855" v="250" actId="478"/>
          <ac:picMkLst>
            <pc:docMk/>
            <pc:sldMk cId="2953579200" sldId="264"/>
            <ac:picMk id="15" creationId="{EFEEAB6F-6E2B-F669-B792-81A13AB51C47}"/>
          </ac:picMkLst>
        </pc:picChg>
        <pc:picChg chg="del">
          <ac:chgData name="Bullinger, Marvin" userId="5b54ce5a-dc89-476f-af33-5abd75d5b1e8" providerId="ADAL" clId="{B18DB96A-0F1B-4B04-B169-68D0DF683527}" dt="2024-08-05T18:37:57.855" v="250" actId="478"/>
          <ac:picMkLst>
            <pc:docMk/>
            <pc:sldMk cId="2953579200" sldId="264"/>
            <ac:picMk id="16" creationId="{AFDE819A-AACA-2EFF-400D-74ECFC968A51}"/>
          </ac:picMkLst>
        </pc:picChg>
        <pc:picChg chg="del">
          <ac:chgData name="Bullinger, Marvin" userId="5b54ce5a-dc89-476f-af33-5abd75d5b1e8" providerId="ADAL" clId="{B18DB96A-0F1B-4B04-B169-68D0DF683527}" dt="2024-08-05T18:37:57.855" v="250" actId="478"/>
          <ac:picMkLst>
            <pc:docMk/>
            <pc:sldMk cId="2953579200" sldId="264"/>
            <ac:picMk id="2054" creationId="{ACDC49B2-F01F-14A2-6AF6-258CA598DD35}"/>
          </ac:picMkLst>
        </pc:picChg>
        <pc:picChg chg="del">
          <ac:chgData name="Bullinger, Marvin" userId="5b54ce5a-dc89-476f-af33-5abd75d5b1e8" providerId="ADAL" clId="{B18DB96A-0F1B-4B04-B169-68D0DF683527}" dt="2024-08-05T18:37:57.855" v="250" actId="478"/>
          <ac:picMkLst>
            <pc:docMk/>
            <pc:sldMk cId="2953579200" sldId="264"/>
            <ac:picMk id="2056" creationId="{33BADD5B-8F77-C513-F384-8801B6447AAF}"/>
          </ac:picMkLst>
        </pc:picChg>
        <pc:picChg chg="del">
          <ac:chgData name="Bullinger, Marvin" userId="5b54ce5a-dc89-476f-af33-5abd75d5b1e8" providerId="ADAL" clId="{B18DB96A-0F1B-4B04-B169-68D0DF683527}" dt="2024-08-05T18:37:57.855" v="250" actId="478"/>
          <ac:picMkLst>
            <pc:docMk/>
            <pc:sldMk cId="2953579200" sldId="264"/>
            <ac:picMk id="2103" creationId="{878BDCED-FF3D-842D-7053-EA64B7D51E2E}"/>
          </ac:picMkLst>
        </pc:picChg>
        <pc:picChg chg="del">
          <ac:chgData name="Bullinger, Marvin" userId="5b54ce5a-dc89-476f-af33-5abd75d5b1e8" providerId="ADAL" clId="{B18DB96A-0F1B-4B04-B169-68D0DF683527}" dt="2024-08-05T18:37:57.855" v="250" actId="478"/>
          <ac:picMkLst>
            <pc:docMk/>
            <pc:sldMk cId="2953579200" sldId="264"/>
            <ac:picMk id="2104" creationId="{83BC7A35-A0EB-E902-80A1-1E026E38B2A3}"/>
          </ac:picMkLst>
        </pc:picChg>
        <pc:picChg chg="del">
          <ac:chgData name="Bullinger, Marvin" userId="5b54ce5a-dc89-476f-af33-5abd75d5b1e8" providerId="ADAL" clId="{B18DB96A-0F1B-4B04-B169-68D0DF683527}" dt="2024-08-05T18:37:57.855" v="250" actId="478"/>
          <ac:picMkLst>
            <pc:docMk/>
            <pc:sldMk cId="2953579200" sldId="264"/>
            <ac:picMk id="2105" creationId="{1E0BC3E8-C16A-0FB8-0DB6-1E48ADE6B996}"/>
          </ac:picMkLst>
        </pc:picChg>
        <pc:picChg chg="del">
          <ac:chgData name="Bullinger, Marvin" userId="5b54ce5a-dc89-476f-af33-5abd75d5b1e8" providerId="ADAL" clId="{B18DB96A-0F1B-4B04-B169-68D0DF683527}" dt="2024-08-05T18:37:57.855" v="250" actId="478"/>
          <ac:picMkLst>
            <pc:docMk/>
            <pc:sldMk cId="2953579200" sldId="264"/>
            <ac:picMk id="2106" creationId="{5241908A-AF6E-FB59-83C0-BE1BE83B2A9F}"/>
          </ac:picMkLst>
        </pc:picChg>
        <pc:picChg chg="del">
          <ac:chgData name="Bullinger, Marvin" userId="5b54ce5a-dc89-476f-af33-5abd75d5b1e8" providerId="ADAL" clId="{B18DB96A-0F1B-4B04-B169-68D0DF683527}" dt="2024-08-05T18:37:57.855" v="250" actId="478"/>
          <ac:picMkLst>
            <pc:docMk/>
            <pc:sldMk cId="2953579200" sldId="264"/>
            <ac:picMk id="2108" creationId="{549C5259-2D35-BFD5-A8C5-8E9A90A1E1A2}"/>
          </ac:picMkLst>
        </pc:picChg>
        <pc:picChg chg="del">
          <ac:chgData name="Bullinger, Marvin" userId="5b54ce5a-dc89-476f-af33-5abd75d5b1e8" providerId="ADAL" clId="{B18DB96A-0F1B-4B04-B169-68D0DF683527}" dt="2024-08-05T18:37:57.855" v="250" actId="478"/>
          <ac:picMkLst>
            <pc:docMk/>
            <pc:sldMk cId="2953579200" sldId="264"/>
            <ac:picMk id="2109" creationId="{FCE6AF94-BB67-8173-0F77-D01D5E3DFFF5}"/>
          </ac:picMkLst>
        </pc:picChg>
        <pc:picChg chg="del">
          <ac:chgData name="Bullinger, Marvin" userId="5b54ce5a-dc89-476f-af33-5abd75d5b1e8" providerId="ADAL" clId="{B18DB96A-0F1B-4B04-B169-68D0DF683527}" dt="2024-08-05T18:37:57.855" v="250" actId="478"/>
          <ac:picMkLst>
            <pc:docMk/>
            <pc:sldMk cId="2953579200" sldId="264"/>
            <ac:picMk id="2111" creationId="{AB3321E7-2554-2850-87D1-CAB63307C0F6}"/>
          </ac:picMkLst>
        </pc:picChg>
        <pc:picChg chg="del">
          <ac:chgData name="Bullinger, Marvin" userId="5b54ce5a-dc89-476f-af33-5abd75d5b1e8" providerId="ADAL" clId="{B18DB96A-0F1B-4B04-B169-68D0DF683527}" dt="2024-08-05T18:37:57.855" v="250" actId="478"/>
          <ac:picMkLst>
            <pc:docMk/>
            <pc:sldMk cId="2953579200" sldId="264"/>
            <ac:picMk id="2112" creationId="{E28C6011-9AA4-6592-109C-92CDE1DAE469}"/>
          </ac:picMkLst>
        </pc:picChg>
        <pc:picChg chg="del">
          <ac:chgData name="Bullinger, Marvin" userId="5b54ce5a-dc89-476f-af33-5abd75d5b1e8" providerId="ADAL" clId="{B18DB96A-0F1B-4B04-B169-68D0DF683527}" dt="2024-08-05T18:37:57.855" v="250" actId="478"/>
          <ac:picMkLst>
            <pc:docMk/>
            <pc:sldMk cId="2953579200" sldId="264"/>
            <ac:picMk id="2114" creationId="{66E1EB04-0791-A671-DC8B-2C1DAC494ED2}"/>
          </ac:picMkLst>
        </pc:picChg>
        <pc:picChg chg="del">
          <ac:chgData name="Bullinger, Marvin" userId="5b54ce5a-dc89-476f-af33-5abd75d5b1e8" providerId="ADAL" clId="{B18DB96A-0F1B-4B04-B169-68D0DF683527}" dt="2024-08-05T18:37:57.855" v="250" actId="478"/>
          <ac:picMkLst>
            <pc:docMk/>
            <pc:sldMk cId="2953579200" sldId="264"/>
            <ac:picMk id="2115" creationId="{4FF8037C-A273-EDCA-B251-9E5169FE7C89}"/>
          </ac:picMkLst>
        </pc:picChg>
        <pc:picChg chg="del">
          <ac:chgData name="Bullinger, Marvin" userId="5b54ce5a-dc89-476f-af33-5abd75d5b1e8" providerId="ADAL" clId="{B18DB96A-0F1B-4B04-B169-68D0DF683527}" dt="2024-08-05T18:37:57.855" v="250" actId="478"/>
          <ac:picMkLst>
            <pc:docMk/>
            <pc:sldMk cId="2953579200" sldId="264"/>
            <ac:picMk id="2117" creationId="{18DB4949-6321-498A-7FD7-DC8C6A62E136}"/>
          </ac:picMkLst>
        </pc:picChg>
        <pc:picChg chg="del">
          <ac:chgData name="Bullinger, Marvin" userId="5b54ce5a-dc89-476f-af33-5abd75d5b1e8" providerId="ADAL" clId="{B18DB96A-0F1B-4B04-B169-68D0DF683527}" dt="2024-08-05T18:37:57.855" v="250" actId="478"/>
          <ac:picMkLst>
            <pc:docMk/>
            <pc:sldMk cId="2953579200" sldId="264"/>
            <ac:picMk id="2118" creationId="{9343E162-ADA4-0B6E-5D19-C763D7ED1B68}"/>
          </ac:picMkLst>
        </pc:picChg>
        <pc:picChg chg="del">
          <ac:chgData name="Bullinger, Marvin" userId="5b54ce5a-dc89-476f-af33-5abd75d5b1e8" providerId="ADAL" clId="{B18DB96A-0F1B-4B04-B169-68D0DF683527}" dt="2024-08-05T18:37:57.855" v="250" actId="478"/>
          <ac:picMkLst>
            <pc:docMk/>
            <pc:sldMk cId="2953579200" sldId="264"/>
            <ac:picMk id="2121" creationId="{4CB5BCD2-6B26-5D54-CA1D-7501DAA24514}"/>
          </ac:picMkLst>
        </pc:picChg>
        <pc:picChg chg="del">
          <ac:chgData name="Bullinger, Marvin" userId="5b54ce5a-dc89-476f-af33-5abd75d5b1e8" providerId="ADAL" clId="{B18DB96A-0F1B-4B04-B169-68D0DF683527}" dt="2024-08-05T18:37:57.855" v="250" actId="478"/>
          <ac:picMkLst>
            <pc:docMk/>
            <pc:sldMk cId="2953579200" sldId="264"/>
            <ac:picMk id="2122" creationId="{96004239-B74B-6A0E-CD16-1EF52B80E509}"/>
          </ac:picMkLst>
        </pc:picChg>
        <pc:picChg chg="del">
          <ac:chgData name="Bullinger, Marvin" userId="5b54ce5a-dc89-476f-af33-5abd75d5b1e8" providerId="ADAL" clId="{B18DB96A-0F1B-4B04-B169-68D0DF683527}" dt="2024-08-05T18:37:57.855" v="250" actId="478"/>
          <ac:picMkLst>
            <pc:docMk/>
            <pc:sldMk cId="2953579200" sldId="264"/>
            <ac:picMk id="2124" creationId="{0903C7F3-5901-5512-2F4F-3EBBD34128F7}"/>
          </ac:picMkLst>
        </pc:picChg>
        <pc:picChg chg="del">
          <ac:chgData name="Bullinger, Marvin" userId="5b54ce5a-dc89-476f-af33-5abd75d5b1e8" providerId="ADAL" clId="{B18DB96A-0F1B-4B04-B169-68D0DF683527}" dt="2024-08-05T18:37:57.855" v="250" actId="478"/>
          <ac:picMkLst>
            <pc:docMk/>
            <pc:sldMk cId="2953579200" sldId="264"/>
            <ac:picMk id="2125" creationId="{499DB44B-D14A-758F-869D-34D9A58C380F}"/>
          </ac:picMkLst>
        </pc:picChg>
        <pc:picChg chg="del">
          <ac:chgData name="Bullinger, Marvin" userId="5b54ce5a-dc89-476f-af33-5abd75d5b1e8" providerId="ADAL" clId="{B18DB96A-0F1B-4B04-B169-68D0DF683527}" dt="2024-08-05T18:37:57.855" v="250" actId="478"/>
          <ac:picMkLst>
            <pc:docMk/>
            <pc:sldMk cId="2953579200" sldId="264"/>
            <ac:picMk id="2127" creationId="{B2ED9DD4-5062-8AA7-5A2C-9C7C7DF3809E}"/>
          </ac:picMkLst>
        </pc:picChg>
        <pc:picChg chg="del">
          <ac:chgData name="Bullinger, Marvin" userId="5b54ce5a-dc89-476f-af33-5abd75d5b1e8" providerId="ADAL" clId="{B18DB96A-0F1B-4B04-B169-68D0DF683527}" dt="2024-08-05T18:37:57.855" v="250" actId="478"/>
          <ac:picMkLst>
            <pc:docMk/>
            <pc:sldMk cId="2953579200" sldId="264"/>
            <ac:picMk id="2128" creationId="{F5EB56FD-A70F-A483-7B35-3701F4D300E4}"/>
          </ac:picMkLst>
        </pc:picChg>
        <pc:picChg chg="del">
          <ac:chgData name="Bullinger, Marvin" userId="5b54ce5a-dc89-476f-af33-5abd75d5b1e8" providerId="ADAL" clId="{B18DB96A-0F1B-4B04-B169-68D0DF683527}" dt="2024-08-05T18:37:57.855" v="250" actId="478"/>
          <ac:picMkLst>
            <pc:docMk/>
            <pc:sldMk cId="2953579200" sldId="264"/>
            <ac:picMk id="2130" creationId="{87343DEC-FBBF-8522-BAF8-17722D60371E}"/>
          </ac:picMkLst>
        </pc:picChg>
        <pc:picChg chg="del">
          <ac:chgData name="Bullinger, Marvin" userId="5b54ce5a-dc89-476f-af33-5abd75d5b1e8" providerId="ADAL" clId="{B18DB96A-0F1B-4B04-B169-68D0DF683527}" dt="2024-08-05T18:37:57.855" v="250" actId="478"/>
          <ac:picMkLst>
            <pc:docMk/>
            <pc:sldMk cId="2953579200" sldId="264"/>
            <ac:picMk id="2131" creationId="{27E7CB20-1A88-1DFB-2F35-D5851B240A64}"/>
          </ac:picMkLst>
        </pc:picChg>
        <pc:picChg chg="del">
          <ac:chgData name="Bullinger, Marvin" userId="5b54ce5a-dc89-476f-af33-5abd75d5b1e8" providerId="ADAL" clId="{B18DB96A-0F1B-4B04-B169-68D0DF683527}" dt="2024-08-05T18:37:57.855" v="250" actId="478"/>
          <ac:picMkLst>
            <pc:docMk/>
            <pc:sldMk cId="2953579200" sldId="264"/>
            <ac:picMk id="2133" creationId="{8575E61D-A710-3DB0-FE8F-CBC1094C37AD}"/>
          </ac:picMkLst>
        </pc:picChg>
        <pc:picChg chg="del">
          <ac:chgData name="Bullinger, Marvin" userId="5b54ce5a-dc89-476f-af33-5abd75d5b1e8" providerId="ADAL" clId="{B18DB96A-0F1B-4B04-B169-68D0DF683527}" dt="2024-08-05T18:37:57.855" v="250" actId="478"/>
          <ac:picMkLst>
            <pc:docMk/>
            <pc:sldMk cId="2953579200" sldId="264"/>
            <ac:picMk id="2134" creationId="{F52D11B1-1E59-D4A6-16B1-EFC784E93F37}"/>
          </ac:picMkLst>
        </pc:picChg>
        <pc:picChg chg="del">
          <ac:chgData name="Bullinger, Marvin" userId="5b54ce5a-dc89-476f-af33-5abd75d5b1e8" providerId="ADAL" clId="{B18DB96A-0F1B-4B04-B169-68D0DF683527}" dt="2024-08-05T18:37:57.855" v="250" actId="478"/>
          <ac:picMkLst>
            <pc:docMk/>
            <pc:sldMk cId="2953579200" sldId="264"/>
            <ac:picMk id="2136" creationId="{F4A99DB8-D0BF-EA73-3373-EB4081248602}"/>
          </ac:picMkLst>
        </pc:picChg>
        <pc:picChg chg="del">
          <ac:chgData name="Bullinger, Marvin" userId="5b54ce5a-dc89-476f-af33-5abd75d5b1e8" providerId="ADAL" clId="{B18DB96A-0F1B-4B04-B169-68D0DF683527}" dt="2024-08-05T18:37:57.855" v="250" actId="478"/>
          <ac:picMkLst>
            <pc:docMk/>
            <pc:sldMk cId="2953579200" sldId="264"/>
            <ac:picMk id="2137" creationId="{29F46041-F405-55C5-2534-7C33386A5E41}"/>
          </ac:picMkLst>
        </pc:picChg>
        <pc:cxnChg chg="del">
          <ac:chgData name="Bullinger, Marvin" userId="5b54ce5a-dc89-476f-af33-5abd75d5b1e8" providerId="ADAL" clId="{B18DB96A-0F1B-4B04-B169-68D0DF683527}" dt="2024-08-05T18:37:57.855" v="250" actId="478"/>
          <ac:cxnSpMkLst>
            <pc:docMk/>
            <pc:sldMk cId="2953579200" sldId="264"/>
            <ac:cxnSpMk id="2060" creationId="{CB6F9293-ABE7-9C1B-713A-11DCA3E7D4B2}"/>
          </ac:cxnSpMkLst>
        </pc:cxnChg>
        <pc:cxnChg chg="del">
          <ac:chgData name="Bullinger, Marvin" userId="5b54ce5a-dc89-476f-af33-5abd75d5b1e8" providerId="ADAL" clId="{B18DB96A-0F1B-4B04-B169-68D0DF683527}" dt="2024-08-05T18:37:57.855" v="250" actId="478"/>
          <ac:cxnSpMkLst>
            <pc:docMk/>
            <pc:sldMk cId="2953579200" sldId="264"/>
            <ac:cxnSpMk id="2061" creationId="{AB0D99A1-51CC-4FDC-4F7B-7C62A30515F4}"/>
          </ac:cxnSpMkLst>
        </pc:cxnChg>
        <pc:cxnChg chg="del">
          <ac:chgData name="Bullinger, Marvin" userId="5b54ce5a-dc89-476f-af33-5abd75d5b1e8" providerId="ADAL" clId="{B18DB96A-0F1B-4B04-B169-68D0DF683527}" dt="2024-08-05T18:37:57.855" v="250" actId="478"/>
          <ac:cxnSpMkLst>
            <pc:docMk/>
            <pc:sldMk cId="2953579200" sldId="264"/>
            <ac:cxnSpMk id="2063" creationId="{BE9FEA0D-78D2-49FB-61AB-42E13A3A655B}"/>
          </ac:cxnSpMkLst>
        </pc:cxnChg>
        <pc:cxnChg chg="del">
          <ac:chgData name="Bullinger, Marvin" userId="5b54ce5a-dc89-476f-af33-5abd75d5b1e8" providerId="ADAL" clId="{B18DB96A-0F1B-4B04-B169-68D0DF683527}" dt="2024-08-05T18:37:57.855" v="250" actId="478"/>
          <ac:cxnSpMkLst>
            <pc:docMk/>
            <pc:sldMk cId="2953579200" sldId="264"/>
            <ac:cxnSpMk id="2066" creationId="{E21DBDBD-9150-11CA-8341-4E5AACE30DD2}"/>
          </ac:cxnSpMkLst>
        </pc:cxnChg>
        <pc:cxnChg chg="del">
          <ac:chgData name="Bullinger, Marvin" userId="5b54ce5a-dc89-476f-af33-5abd75d5b1e8" providerId="ADAL" clId="{B18DB96A-0F1B-4B04-B169-68D0DF683527}" dt="2024-08-05T18:37:57.855" v="250" actId="478"/>
          <ac:cxnSpMkLst>
            <pc:docMk/>
            <pc:sldMk cId="2953579200" sldId="264"/>
            <ac:cxnSpMk id="2071" creationId="{87C75D2B-D2FA-8033-4BC1-771760A5B7B2}"/>
          </ac:cxnSpMkLst>
        </pc:cxnChg>
        <pc:cxnChg chg="del">
          <ac:chgData name="Bullinger, Marvin" userId="5b54ce5a-dc89-476f-af33-5abd75d5b1e8" providerId="ADAL" clId="{B18DB96A-0F1B-4B04-B169-68D0DF683527}" dt="2024-08-05T18:37:57.855" v="250" actId="478"/>
          <ac:cxnSpMkLst>
            <pc:docMk/>
            <pc:sldMk cId="2953579200" sldId="264"/>
            <ac:cxnSpMk id="2073" creationId="{121A4E35-4148-B070-B0F6-43F8827C13EC}"/>
          </ac:cxnSpMkLst>
        </pc:cxnChg>
        <pc:cxnChg chg="del">
          <ac:chgData name="Bullinger, Marvin" userId="5b54ce5a-dc89-476f-af33-5abd75d5b1e8" providerId="ADAL" clId="{B18DB96A-0F1B-4B04-B169-68D0DF683527}" dt="2024-08-05T18:37:57.855" v="250" actId="478"/>
          <ac:cxnSpMkLst>
            <pc:docMk/>
            <pc:sldMk cId="2953579200" sldId="264"/>
            <ac:cxnSpMk id="2075" creationId="{2744075A-99F9-341F-6CA5-AF81F5C0344C}"/>
          </ac:cxnSpMkLst>
        </pc:cxnChg>
        <pc:cxnChg chg="del">
          <ac:chgData name="Bullinger, Marvin" userId="5b54ce5a-dc89-476f-af33-5abd75d5b1e8" providerId="ADAL" clId="{B18DB96A-0F1B-4B04-B169-68D0DF683527}" dt="2024-08-05T18:37:57.855" v="250" actId="478"/>
          <ac:cxnSpMkLst>
            <pc:docMk/>
            <pc:sldMk cId="2953579200" sldId="264"/>
            <ac:cxnSpMk id="2077" creationId="{C5564C02-6489-6EA6-993C-D78448970A76}"/>
          </ac:cxnSpMkLst>
        </pc:cxnChg>
        <pc:cxnChg chg="del">
          <ac:chgData name="Bullinger, Marvin" userId="5b54ce5a-dc89-476f-af33-5abd75d5b1e8" providerId="ADAL" clId="{B18DB96A-0F1B-4B04-B169-68D0DF683527}" dt="2024-08-05T18:37:57.855" v="250" actId="478"/>
          <ac:cxnSpMkLst>
            <pc:docMk/>
            <pc:sldMk cId="2953579200" sldId="264"/>
            <ac:cxnSpMk id="2095" creationId="{276E1261-4796-4A3A-32D9-BB5AE53BFE1E}"/>
          </ac:cxnSpMkLst>
        </pc:cxnChg>
        <pc:cxnChg chg="del">
          <ac:chgData name="Bullinger, Marvin" userId="5b54ce5a-dc89-476f-af33-5abd75d5b1e8" providerId="ADAL" clId="{B18DB96A-0F1B-4B04-B169-68D0DF683527}" dt="2024-08-05T18:37:57.855" v="250" actId="478"/>
          <ac:cxnSpMkLst>
            <pc:docMk/>
            <pc:sldMk cId="2953579200" sldId="264"/>
            <ac:cxnSpMk id="2097" creationId="{4C1A750C-09A2-2E9D-5E98-80B87820D011}"/>
          </ac:cxnSpMkLst>
        </pc:cxnChg>
        <pc:cxnChg chg="del">
          <ac:chgData name="Bullinger, Marvin" userId="5b54ce5a-dc89-476f-af33-5abd75d5b1e8" providerId="ADAL" clId="{B18DB96A-0F1B-4B04-B169-68D0DF683527}" dt="2024-08-05T18:37:57.855" v="250" actId="478"/>
          <ac:cxnSpMkLst>
            <pc:docMk/>
            <pc:sldMk cId="2953579200" sldId="264"/>
            <ac:cxnSpMk id="2099" creationId="{725B2CBC-E04B-92E4-776F-9F827ACC8ABC}"/>
          </ac:cxnSpMkLst>
        </pc:cxnChg>
        <pc:cxnChg chg="del">
          <ac:chgData name="Bullinger, Marvin" userId="5b54ce5a-dc89-476f-af33-5abd75d5b1e8" providerId="ADAL" clId="{B18DB96A-0F1B-4B04-B169-68D0DF683527}" dt="2024-08-05T18:37:57.855" v="250" actId="478"/>
          <ac:cxnSpMkLst>
            <pc:docMk/>
            <pc:sldMk cId="2953579200" sldId="264"/>
            <ac:cxnSpMk id="2101" creationId="{FD05EE19-CC8C-7EB2-442C-643DF3210A0F}"/>
          </ac:cxnSpMkLst>
        </pc:cxnChg>
      </pc:sldChg>
      <pc:sldChg chg="del">
        <pc:chgData name="Bullinger, Marvin" userId="5b54ce5a-dc89-476f-af33-5abd75d5b1e8" providerId="ADAL" clId="{B18DB96A-0F1B-4B04-B169-68D0DF683527}" dt="2024-08-05T18:54:52.254" v="830" actId="47"/>
        <pc:sldMkLst>
          <pc:docMk/>
          <pc:sldMk cId="3814452180" sldId="266"/>
        </pc:sldMkLst>
      </pc:sldChg>
      <pc:sldChg chg="addSp delSp modSp mod delAnim modNotesTx">
        <pc:chgData name="Bullinger, Marvin" userId="5b54ce5a-dc89-476f-af33-5abd75d5b1e8" providerId="ADAL" clId="{B18DB96A-0F1B-4B04-B169-68D0DF683527}" dt="2024-08-14T11:19:27.668" v="28967" actId="20577"/>
        <pc:sldMkLst>
          <pc:docMk/>
          <pc:sldMk cId="2083976492" sldId="562"/>
        </pc:sldMkLst>
        <pc:spChg chg="mod">
          <ac:chgData name="Bullinger, Marvin" userId="5b54ce5a-dc89-476f-af33-5abd75d5b1e8" providerId="ADAL" clId="{B18DB96A-0F1B-4B04-B169-68D0DF683527}" dt="2024-08-07T20:15:09.197" v="7805" actId="20577"/>
          <ac:spMkLst>
            <pc:docMk/>
            <pc:sldMk cId="2083976492" sldId="562"/>
            <ac:spMk id="2" creationId="{1375951E-5070-F90A-F014-C6A305745F0F}"/>
          </ac:spMkLst>
        </pc:spChg>
        <pc:spChg chg="add mod">
          <ac:chgData name="Bullinger, Marvin" userId="5b54ce5a-dc89-476f-af33-5abd75d5b1e8" providerId="ADAL" clId="{B18DB96A-0F1B-4B04-B169-68D0DF683527}" dt="2024-08-14T11:19:27.668" v="28967" actId="20577"/>
          <ac:spMkLst>
            <pc:docMk/>
            <pc:sldMk cId="2083976492" sldId="562"/>
            <ac:spMk id="3" creationId="{886F0520-B683-1C47-1238-EB77C29472E2}"/>
          </ac:spMkLst>
        </pc:spChg>
        <pc:spChg chg="del">
          <ac:chgData name="Bullinger, Marvin" userId="5b54ce5a-dc89-476f-af33-5abd75d5b1e8" providerId="ADAL" clId="{B18DB96A-0F1B-4B04-B169-68D0DF683527}" dt="2024-08-08T22:17:50.119" v="10158" actId="478"/>
          <ac:spMkLst>
            <pc:docMk/>
            <pc:sldMk cId="2083976492" sldId="562"/>
            <ac:spMk id="5" creationId="{4E0BC829-F5D8-AAC4-0698-EF30927BF7E7}"/>
          </ac:spMkLst>
        </pc:spChg>
        <pc:spChg chg="del">
          <ac:chgData name="Bullinger, Marvin" userId="5b54ce5a-dc89-476f-af33-5abd75d5b1e8" providerId="ADAL" clId="{B18DB96A-0F1B-4B04-B169-68D0DF683527}" dt="2024-08-07T09:33:36.038" v="6786" actId="478"/>
          <ac:spMkLst>
            <pc:docMk/>
            <pc:sldMk cId="2083976492" sldId="562"/>
            <ac:spMk id="12" creationId="{A6EB9284-2581-394A-0D00-6DCE52B03629}"/>
          </ac:spMkLst>
        </pc:spChg>
        <pc:spChg chg="mod">
          <ac:chgData name="Bullinger, Marvin" userId="5b54ce5a-dc89-476f-af33-5abd75d5b1e8" providerId="ADAL" clId="{B18DB96A-0F1B-4B04-B169-68D0DF683527}" dt="2024-08-08T11:35:42.865" v="8211" actId="20577"/>
          <ac:spMkLst>
            <pc:docMk/>
            <pc:sldMk cId="2083976492" sldId="562"/>
            <ac:spMk id="13" creationId="{F6857405-FEA6-BD7C-0CAE-FFDA509031EA}"/>
          </ac:spMkLst>
        </pc:spChg>
        <pc:spChg chg="del">
          <ac:chgData name="Bullinger, Marvin" userId="5b54ce5a-dc89-476f-af33-5abd75d5b1e8" providerId="ADAL" clId="{B18DB96A-0F1B-4B04-B169-68D0DF683527}" dt="2024-08-07T09:33:36.038" v="6786" actId="478"/>
          <ac:spMkLst>
            <pc:docMk/>
            <pc:sldMk cId="2083976492" sldId="562"/>
            <ac:spMk id="14" creationId="{6B2D2896-4238-6E45-4C1E-48434F66FD0B}"/>
          </ac:spMkLst>
        </pc:spChg>
        <pc:spChg chg="del">
          <ac:chgData name="Bullinger, Marvin" userId="5b54ce5a-dc89-476f-af33-5abd75d5b1e8" providerId="ADAL" clId="{B18DB96A-0F1B-4B04-B169-68D0DF683527}" dt="2024-08-07T09:33:36.038" v="6786" actId="478"/>
          <ac:spMkLst>
            <pc:docMk/>
            <pc:sldMk cId="2083976492" sldId="562"/>
            <ac:spMk id="16" creationId="{CA3710F3-DA7B-6C00-6934-4B6A42EA498A}"/>
          </ac:spMkLst>
        </pc:spChg>
        <pc:spChg chg="del">
          <ac:chgData name="Bullinger, Marvin" userId="5b54ce5a-dc89-476f-af33-5abd75d5b1e8" providerId="ADAL" clId="{B18DB96A-0F1B-4B04-B169-68D0DF683527}" dt="2024-08-07T09:33:36.038" v="6786" actId="478"/>
          <ac:spMkLst>
            <pc:docMk/>
            <pc:sldMk cId="2083976492" sldId="562"/>
            <ac:spMk id="17" creationId="{96F09516-6E9D-AB92-4DF6-7E35410DBB7F}"/>
          </ac:spMkLst>
        </pc:spChg>
        <pc:graphicFrameChg chg="add del mod">
          <ac:chgData name="Bullinger, Marvin" userId="5b54ce5a-dc89-476f-af33-5abd75d5b1e8" providerId="ADAL" clId="{B18DB96A-0F1B-4B04-B169-68D0DF683527}" dt="2024-08-07T20:15:04.527" v="7791" actId="478"/>
          <ac:graphicFrameMkLst>
            <pc:docMk/>
            <pc:sldMk cId="2083976492" sldId="562"/>
            <ac:graphicFrameMk id="3" creationId="{938300A9-058F-C181-3F7C-BB21D17AC598}"/>
          </ac:graphicFrameMkLst>
        </pc:graphicFrameChg>
        <pc:picChg chg="del">
          <ac:chgData name="Bullinger, Marvin" userId="5b54ce5a-dc89-476f-af33-5abd75d5b1e8" providerId="ADAL" clId="{B18DB96A-0F1B-4B04-B169-68D0DF683527}" dt="2024-08-07T09:33:37.289" v="6787" actId="478"/>
          <ac:picMkLst>
            <pc:docMk/>
            <pc:sldMk cId="2083976492" sldId="562"/>
            <ac:picMk id="10" creationId="{82EFCFD7-F4DB-3A4B-D77B-3E71B6B4921A}"/>
          </ac:picMkLst>
        </pc:picChg>
      </pc:sldChg>
      <pc:sldChg chg="del">
        <pc:chgData name="Bullinger, Marvin" userId="5b54ce5a-dc89-476f-af33-5abd75d5b1e8" providerId="ADAL" clId="{B18DB96A-0F1B-4B04-B169-68D0DF683527}" dt="2024-08-07T07:45:05.110" v="5961" actId="47"/>
        <pc:sldMkLst>
          <pc:docMk/>
          <pc:sldMk cId="1413071935" sldId="572"/>
        </pc:sldMkLst>
      </pc:sldChg>
      <pc:sldChg chg="addSp delSp modSp mod modNotesTx">
        <pc:chgData name="Bullinger, Marvin" userId="5b54ce5a-dc89-476f-af33-5abd75d5b1e8" providerId="ADAL" clId="{B18DB96A-0F1B-4B04-B169-68D0DF683527}" dt="2024-08-11T19:36:24.291" v="13546" actId="20577"/>
        <pc:sldMkLst>
          <pc:docMk/>
          <pc:sldMk cId="326362598" sldId="579"/>
        </pc:sldMkLst>
        <pc:spChg chg="del">
          <ac:chgData name="Bullinger, Marvin" userId="5b54ce5a-dc89-476f-af33-5abd75d5b1e8" providerId="ADAL" clId="{B18DB96A-0F1B-4B04-B169-68D0DF683527}" dt="2024-08-07T08:35:30.691" v="6024" actId="478"/>
          <ac:spMkLst>
            <pc:docMk/>
            <pc:sldMk cId="326362598" sldId="579"/>
            <ac:spMk id="646" creationId="{57703462-6AD6-9989-62E4-8B55DA495DBD}"/>
          </ac:spMkLst>
        </pc:spChg>
        <pc:spChg chg="add mod">
          <ac:chgData name="Bullinger, Marvin" userId="5b54ce5a-dc89-476f-af33-5abd75d5b1e8" providerId="ADAL" clId="{B18DB96A-0F1B-4B04-B169-68D0DF683527}" dt="2024-08-07T20:14:35.104" v="7242" actId="478"/>
          <ac:spMkLst>
            <pc:docMk/>
            <pc:sldMk cId="326362598" sldId="579"/>
            <ac:spMk id="745" creationId="{87DC9FBF-83AD-F233-3408-A321A7D575E8}"/>
          </ac:spMkLst>
        </pc:spChg>
        <pc:spChg chg="add mod">
          <ac:chgData name="Bullinger, Marvin" userId="5b54ce5a-dc89-476f-af33-5abd75d5b1e8" providerId="ADAL" clId="{B18DB96A-0F1B-4B04-B169-68D0DF683527}" dt="2024-08-06T09:48:23.774" v="2347" actId="478"/>
          <ac:spMkLst>
            <pc:docMk/>
            <pc:sldMk cId="326362598" sldId="579"/>
            <ac:spMk id="745" creationId="{C1F64AE6-4A1B-145E-7E8C-3650699E92ED}"/>
          </ac:spMkLst>
        </pc:spChg>
        <pc:spChg chg="del mod ord replST">
          <ac:chgData name="Bullinger, Marvin" userId="5b54ce5a-dc89-476f-af33-5abd75d5b1e8" providerId="ADAL" clId="{B18DB96A-0F1B-4B04-B169-68D0DF683527}" dt="2024-08-07T20:14:35.104" v="7242" actId="478"/>
          <ac:spMkLst>
            <pc:docMk/>
            <pc:sldMk cId="326362598" sldId="579"/>
            <ac:spMk id="746" creationId="{EDCBDBFB-1FAE-A713-1BAD-158F900EB288}"/>
          </ac:spMkLst>
        </pc:spChg>
        <pc:spChg chg="mod ord replST">
          <ac:chgData name="Bullinger, Marvin" userId="5b54ce5a-dc89-476f-af33-5abd75d5b1e8" providerId="ADAL" clId="{B18DB96A-0F1B-4B04-B169-68D0DF683527}" dt="2024-08-07T20:14:35.717" v="7544"/>
          <ac:spMkLst>
            <pc:docMk/>
            <pc:sldMk cId="326362598" sldId="579"/>
            <ac:spMk id="747" creationId="{A2EA4E2B-D206-6BCC-1204-DED4B39825C8}"/>
          </ac:spMkLst>
        </pc:spChg>
        <pc:spChg chg="del">
          <ac:chgData name="Bullinger, Marvin" userId="5b54ce5a-dc89-476f-af33-5abd75d5b1e8" providerId="ADAL" clId="{B18DB96A-0F1B-4B04-B169-68D0DF683527}" dt="2024-08-06T09:48:23.805" v="2383" actId="478"/>
          <ac:spMkLst>
            <pc:docMk/>
            <pc:sldMk cId="326362598" sldId="579"/>
            <ac:spMk id="747" creationId="{CC49B0DB-A412-86DD-796F-66166A367C23}"/>
          </ac:spMkLst>
        </pc:spChg>
        <pc:spChg chg="del">
          <ac:chgData name="Bullinger, Marvin" userId="5b54ce5a-dc89-476f-af33-5abd75d5b1e8" providerId="ADAL" clId="{B18DB96A-0F1B-4B04-B169-68D0DF683527}" dt="2024-08-06T09:48:23.805" v="2382" actId="478"/>
          <ac:spMkLst>
            <pc:docMk/>
            <pc:sldMk cId="326362598" sldId="579"/>
            <ac:spMk id="748" creationId="{3337EB45-D521-5A0F-5B07-DF0A60FC289C}"/>
          </ac:spMkLst>
        </pc:spChg>
        <pc:spChg chg="del">
          <ac:chgData name="Bullinger, Marvin" userId="5b54ce5a-dc89-476f-af33-5abd75d5b1e8" providerId="ADAL" clId="{B18DB96A-0F1B-4B04-B169-68D0DF683527}" dt="2024-08-07T20:14:35.151" v="7277" actId="478"/>
          <ac:spMkLst>
            <pc:docMk/>
            <pc:sldMk cId="326362598" sldId="579"/>
            <ac:spMk id="748" creationId="{CD93DE65-6AA7-717C-1C56-FECFFE6BC1C8}"/>
          </ac:spMkLst>
        </pc:spChg>
        <pc:spChg chg="del">
          <ac:chgData name="Bullinger, Marvin" userId="5b54ce5a-dc89-476f-af33-5abd75d5b1e8" providerId="ADAL" clId="{B18DB96A-0F1B-4B04-B169-68D0DF683527}" dt="2024-08-06T09:48:23.805" v="2381" actId="478"/>
          <ac:spMkLst>
            <pc:docMk/>
            <pc:sldMk cId="326362598" sldId="579"/>
            <ac:spMk id="749" creationId="{17767763-A04A-47B9-B929-C1C44FA6ADC3}"/>
          </ac:spMkLst>
        </pc:spChg>
        <pc:spChg chg="del">
          <ac:chgData name="Bullinger, Marvin" userId="5b54ce5a-dc89-476f-af33-5abd75d5b1e8" providerId="ADAL" clId="{B18DB96A-0F1B-4B04-B169-68D0DF683527}" dt="2024-08-07T20:14:35.151" v="7276" actId="478"/>
          <ac:spMkLst>
            <pc:docMk/>
            <pc:sldMk cId="326362598" sldId="579"/>
            <ac:spMk id="749" creationId="{667CECD8-8970-237A-230E-7C11FBB8DDDE}"/>
          </ac:spMkLst>
        </pc:spChg>
        <pc:spChg chg="del">
          <ac:chgData name="Bullinger, Marvin" userId="5b54ce5a-dc89-476f-af33-5abd75d5b1e8" providerId="ADAL" clId="{B18DB96A-0F1B-4B04-B169-68D0DF683527}" dt="2024-08-06T09:48:23.805" v="2380" actId="478"/>
          <ac:spMkLst>
            <pc:docMk/>
            <pc:sldMk cId="326362598" sldId="579"/>
            <ac:spMk id="750" creationId="{1E8D6092-ECE5-E3C4-3874-26E94614BE76}"/>
          </ac:spMkLst>
        </pc:spChg>
        <pc:spChg chg="del">
          <ac:chgData name="Bullinger, Marvin" userId="5b54ce5a-dc89-476f-af33-5abd75d5b1e8" providerId="ADAL" clId="{B18DB96A-0F1B-4B04-B169-68D0DF683527}" dt="2024-08-07T20:14:35.151" v="7275" actId="478"/>
          <ac:spMkLst>
            <pc:docMk/>
            <pc:sldMk cId="326362598" sldId="579"/>
            <ac:spMk id="750" creationId="{3E64FA60-41B5-1413-AF1C-2A0D3E538246}"/>
          </ac:spMkLst>
        </pc:spChg>
        <pc:spChg chg="del">
          <ac:chgData name="Bullinger, Marvin" userId="5b54ce5a-dc89-476f-af33-5abd75d5b1e8" providerId="ADAL" clId="{B18DB96A-0F1B-4B04-B169-68D0DF683527}" dt="2024-08-07T20:14:35.136" v="7274" actId="478"/>
          <ac:spMkLst>
            <pc:docMk/>
            <pc:sldMk cId="326362598" sldId="579"/>
            <ac:spMk id="751" creationId="{422A9C76-A664-6EDC-2B5A-CFB9BD8D52DF}"/>
          </ac:spMkLst>
        </pc:spChg>
        <pc:spChg chg="del">
          <ac:chgData name="Bullinger, Marvin" userId="5b54ce5a-dc89-476f-af33-5abd75d5b1e8" providerId="ADAL" clId="{B18DB96A-0F1B-4B04-B169-68D0DF683527}" dt="2024-08-06T09:48:23.805" v="2379" actId="478"/>
          <ac:spMkLst>
            <pc:docMk/>
            <pc:sldMk cId="326362598" sldId="579"/>
            <ac:spMk id="751" creationId="{BA4B34A3-2FF5-0EC7-228D-D2C9DEA23F97}"/>
          </ac:spMkLst>
        </pc:spChg>
        <pc:spChg chg="del">
          <ac:chgData name="Bullinger, Marvin" userId="5b54ce5a-dc89-476f-af33-5abd75d5b1e8" providerId="ADAL" clId="{B18DB96A-0F1B-4B04-B169-68D0DF683527}" dt="2024-08-06T09:48:23.805" v="2378" actId="478"/>
          <ac:spMkLst>
            <pc:docMk/>
            <pc:sldMk cId="326362598" sldId="579"/>
            <ac:spMk id="752" creationId="{121D61C7-F7E7-4977-29EF-F78023E8A393}"/>
          </ac:spMkLst>
        </pc:spChg>
        <pc:spChg chg="del">
          <ac:chgData name="Bullinger, Marvin" userId="5b54ce5a-dc89-476f-af33-5abd75d5b1e8" providerId="ADAL" clId="{B18DB96A-0F1B-4B04-B169-68D0DF683527}" dt="2024-08-07T20:14:35.136" v="7273" actId="478"/>
          <ac:spMkLst>
            <pc:docMk/>
            <pc:sldMk cId="326362598" sldId="579"/>
            <ac:spMk id="752" creationId="{805596CE-8E31-86AE-713E-F051047107FB}"/>
          </ac:spMkLst>
        </pc:spChg>
        <pc:spChg chg="del">
          <ac:chgData name="Bullinger, Marvin" userId="5b54ce5a-dc89-476f-af33-5abd75d5b1e8" providerId="ADAL" clId="{B18DB96A-0F1B-4B04-B169-68D0DF683527}" dt="2024-08-06T09:48:23.805" v="2375" actId="478"/>
          <ac:spMkLst>
            <pc:docMk/>
            <pc:sldMk cId="326362598" sldId="579"/>
            <ac:spMk id="753" creationId="{33731C40-DDC9-DE80-A8D3-9AE8D2624BE8}"/>
          </ac:spMkLst>
        </pc:spChg>
        <pc:spChg chg="del">
          <ac:chgData name="Bullinger, Marvin" userId="5b54ce5a-dc89-476f-af33-5abd75d5b1e8" providerId="ADAL" clId="{B18DB96A-0F1B-4B04-B169-68D0DF683527}" dt="2024-08-07T20:14:35.136" v="7272" actId="478"/>
          <ac:spMkLst>
            <pc:docMk/>
            <pc:sldMk cId="326362598" sldId="579"/>
            <ac:spMk id="753" creationId="{3E3D5451-4879-8D16-2F73-D3A347FC40E4}"/>
          </ac:spMkLst>
        </pc:spChg>
        <pc:spChg chg="del">
          <ac:chgData name="Bullinger, Marvin" userId="5b54ce5a-dc89-476f-af33-5abd75d5b1e8" providerId="ADAL" clId="{B18DB96A-0F1B-4B04-B169-68D0DF683527}" dt="2024-08-07T20:14:35.136" v="7269" actId="478"/>
          <ac:spMkLst>
            <pc:docMk/>
            <pc:sldMk cId="326362598" sldId="579"/>
            <ac:spMk id="754" creationId="{2B399CE6-6B19-7278-EC63-642FD92A1EAA}"/>
          </ac:spMkLst>
        </pc:spChg>
        <pc:spChg chg="del">
          <ac:chgData name="Bullinger, Marvin" userId="5b54ce5a-dc89-476f-af33-5abd75d5b1e8" providerId="ADAL" clId="{B18DB96A-0F1B-4B04-B169-68D0DF683527}" dt="2024-08-06T09:48:23.805" v="2374" actId="478"/>
          <ac:spMkLst>
            <pc:docMk/>
            <pc:sldMk cId="326362598" sldId="579"/>
            <ac:spMk id="754" creationId="{E23A7603-952E-2F3D-D09D-A4D8AA01682B}"/>
          </ac:spMkLst>
        </pc:spChg>
        <pc:spChg chg="del">
          <ac:chgData name="Bullinger, Marvin" userId="5b54ce5a-dc89-476f-af33-5abd75d5b1e8" providerId="ADAL" clId="{B18DB96A-0F1B-4B04-B169-68D0DF683527}" dt="2024-08-07T20:14:35.136" v="7268" actId="478"/>
          <ac:spMkLst>
            <pc:docMk/>
            <pc:sldMk cId="326362598" sldId="579"/>
            <ac:spMk id="755" creationId="{BDD086FF-28E0-7E8A-DBD4-113C40D730E1}"/>
          </ac:spMkLst>
        </pc:spChg>
        <pc:spChg chg="del">
          <ac:chgData name="Bullinger, Marvin" userId="5b54ce5a-dc89-476f-af33-5abd75d5b1e8" providerId="ADAL" clId="{B18DB96A-0F1B-4B04-B169-68D0DF683527}" dt="2024-08-06T09:48:23.805" v="2373" actId="478"/>
          <ac:spMkLst>
            <pc:docMk/>
            <pc:sldMk cId="326362598" sldId="579"/>
            <ac:spMk id="755" creationId="{F7651C0C-BEB0-9F13-EB19-6189E7258E9D}"/>
          </ac:spMkLst>
        </pc:spChg>
        <pc:spChg chg="del">
          <ac:chgData name="Bullinger, Marvin" userId="5b54ce5a-dc89-476f-af33-5abd75d5b1e8" providerId="ADAL" clId="{B18DB96A-0F1B-4B04-B169-68D0DF683527}" dt="2024-08-07T20:14:35.136" v="7267" actId="478"/>
          <ac:spMkLst>
            <pc:docMk/>
            <pc:sldMk cId="326362598" sldId="579"/>
            <ac:spMk id="756" creationId="{C9E486DF-AD8F-59FC-37DD-23943A25A570}"/>
          </ac:spMkLst>
        </pc:spChg>
        <pc:spChg chg="del">
          <ac:chgData name="Bullinger, Marvin" userId="5b54ce5a-dc89-476f-af33-5abd75d5b1e8" providerId="ADAL" clId="{B18DB96A-0F1B-4B04-B169-68D0DF683527}" dt="2024-08-06T09:48:23.805" v="2372" actId="478"/>
          <ac:spMkLst>
            <pc:docMk/>
            <pc:sldMk cId="326362598" sldId="579"/>
            <ac:spMk id="756" creationId="{EC255F26-712A-B86D-D75B-2DABE8BB5A39}"/>
          </ac:spMkLst>
        </pc:spChg>
        <pc:spChg chg="del">
          <ac:chgData name="Bullinger, Marvin" userId="5b54ce5a-dc89-476f-af33-5abd75d5b1e8" providerId="ADAL" clId="{B18DB96A-0F1B-4B04-B169-68D0DF683527}" dt="2024-08-06T09:48:23.790" v="2371" actId="478"/>
          <ac:spMkLst>
            <pc:docMk/>
            <pc:sldMk cId="326362598" sldId="579"/>
            <ac:spMk id="757" creationId="{53D31A27-303D-F3F9-C0AA-697A136BF8E9}"/>
          </ac:spMkLst>
        </pc:spChg>
        <pc:spChg chg="del">
          <ac:chgData name="Bullinger, Marvin" userId="5b54ce5a-dc89-476f-af33-5abd75d5b1e8" providerId="ADAL" clId="{B18DB96A-0F1B-4B04-B169-68D0DF683527}" dt="2024-08-07T20:14:35.136" v="7266" actId="478"/>
          <ac:spMkLst>
            <pc:docMk/>
            <pc:sldMk cId="326362598" sldId="579"/>
            <ac:spMk id="757" creationId="{7A5E42BC-FF2F-E16F-B1BE-B442F8910DE1}"/>
          </ac:spMkLst>
        </pc:spChg>
        <pc:spChg chg="del">
          <ac:chgData name="Bullinger, Marvin" userId="5b54ce5a-dc89-476f-af33-5abd75d5b1e8" providerId="ADAL" clId="{B18DB96A-0F1B-4B04-B169-68D0DF683527}" dt="2024-08-06T09:48:23.774" v="2347" actId="478"/>
          <ac:spMkLst>
            <pc:docMk/>
            <pc:sldMk cId="326362598" sldId="579"/>
            <ac:spMk id="758" creationId="{715B2694-4514-BDB2-B82F-22B4EC1508D3}"/>
          </ac:spMkLst>
        </pc:spChg>
        <pc:spChg chg="del">
          <ac:chgData name="Bullinger, Marvin" userId="5b54ce5a-dc89-476f-af33-5abd75d5b1e8" providerId="ADAL" clId="{B18DB96A-0F1B-4B04-B169-68D0DF683527}" dt="2024-08-07T20:14:35.136" v="7265" actId="478"/>
          <ac:spMkLst>
            <pc:docMk/>
            <pc:sldMk cId="326362598" sldId="579"/>
            <ac:spMk id="758" creationId="{C0664C6A-F223-2B6C-6206-EDADADC405A5}"/>
          </ac:spMkLst>
        </pc:spChg>
        <pc:spChg chg="del">
          <ac:chgData name="Bullinger, Marvin" userId="5b54ce5a-dc89-476f-af33-5abd75d5b1e8" providerId="ADAL" clId="{B18DB96A-0F1B-4B04-B169-68D0DF683527}" dt="2024-08-07T20:14:35.136" v="7264" actId="478"/>
          <ac:spMkLst>
            <pc:docMk/>
            <pc:sldMk cId="326362598" sldId="579"/>
            <ac:spMk id="759" creationId="{8C3D43DE-D734-A931-F790-4A015BD5A659}"/>
          </ac:spMkLst>
        </pc:spChg>
        <pc:spChg chg="del">
          <ac:chgData name="Bullinger, Marvin" userId="5b54ce5a-dc89-476f-af33-5abd75d5b1e8" providerId="ADAL" clId="{B18DB96A-0F1B-4B04-B169-68D0DF683527}" dt="2024-08-06T09:48:23.790" v="2370" actId="478"/>
          <ac:spMkLst>
            <pc:docMk/>
            <pc:sldMk cId="326362598" sldId="579"/>
            <ac:spMk id="759" creationId="{C98D2E0C-E4C9-F592-6E74-18B0B21845F6}"/>
          </ac:spMkLst>
        </pc:spChg>
        <pc:spChg chg="del">
          <ac:chgData name="Bullinger, Marvin" userId="5b54ce5a-dc89-476f-af33-5abd75d5b1e8" providerId="ADAL" clId="{B18DB96A-0F1B-4B04-B169-68D0DF683527}" dt="2024-08-07T20:14:35.151" v="7285" actId="478"/>
          <ac:spMkLst>
            <pc:docMk/>
            <pc:sldMk cId="326362598" sldId="579"/>
            <ac:spMk id="760" creationId="{04334AF4-15FA-672D-39EA-3BB6D239E767}"/>
          </ac:spMkLst>
        </pc:spChg>
        <pc:spChg chg="del">
          <ac:chgData name="Bullinger, Marvin" userId="5b54ce5a-dc89-476f-af33-5abd75d5b1e8" providerId="ADAL" clId="{B18DB96A-0F1B-4B04-B169-68D0DF683527}" dt="2024-08-06T09:48:23.805" v="2391" actId="478"/>
          <ac:spMkLst>
            <pc:docMk/>
            <pc:sldMk cId="326362598" sldId="579"/>
            <ac:spMk id="760" creationId="{9BB84293-40E0-410F-6903-D7ED607C8100}"/>
          </ac:spMkLst>
        </pc:spChg>
        <pc:spChg chg="del">
          <ac:chgData name="Bullinger, Marvin" userId="5b54ce5a-dc89-476f-af33-5abd75d5b1e8" providerId="ADAL" clId="{B18DB96A-0F1B-4B04-B169-68D0DF683527}" dt="2024-08-06T09:48:23.805" v="2390" actId="478"/>
          <ac:spMkLst>
            <pc:docMk/>
            <pc:sldMk cId="326362598" sldId="579"/>
            <ac:spMk id="761" creationId="{2D751A03-EBD2-805E-DBF5-683FA3549323}"/>
          </ac:spMkLst>
        </pc:spChg>
        <pc:spChg chg="del">
          <ac:chgData name="Bullinger, Marvin" userId="5b54ce5a-dc89-476f-af33-5abd75d5b1e8" providerId="ADAL" clId="{B18DB96A-0F1B-4B04-B169-68D0DF683527}" dt="2024-08-07T20:14:35.151" v="7284" actId="478"/>
          <ac:spMkLst>
            <pc:docMk/>
            <pc:sldMk cId="326362598" sldId="579"/>
            <ac:spMk id="761" creationId="{356BC135-1E2F-61AF-6F14-1384E8A35D36}"/>
          </ac:spMkLst>
        </pc:spChg>
        <pc:spChg chg="del">
          <ac:chgData name="Bullinger, Marvin" userId="5b54ce5a-dc89-476f-af33-5abd75d5b1e8" providerId="ADAL" clId="{B18DB96A-0F1B-4B04-B169-68D0DF683527}" dt="2024-08-07T20:14:35.151" v="7283" actId="478"/>
          <ac:spMkLst>
            <pc:docMk/>
            <pc:sldMk cId="326362598" sldId="579"/>
            <ac:spMk id="762" creationId="{0B171B96-AF37-807E-1430-CF01361FE154}"/>
          </ac:spMkLst>
        </pc:spChg>
        <pc:spChg chg="del">
          <ac:chgData name="Bullinger, Marvin" userId="5b54ce5a-dc89-476f-af33-5abd75d5b1e8" providerId="ADAL" clId="{B18DB96A-0F1B-4B04-B169-68D0DF683527}" dt="2024-08-06T09:48:23.805" v="2389" actId="478"/>
          <ac:spMkLst>
            <pc:docMk/>
            <pc:sldMk cId="326362598" sldId="579"/>
            <ac:spMk id="762" creationId="{683E6D63-BCEB-C7DD-195F-64388B574E0A}"/>
          </ac:spMkLst>
        </pc:spChg>
        <pc:spChg chg="del">
          <ac:chgData name="Bullinger, Marvin" userId="5b54ce5a-dc89-476f-af33-5abd75d5b1e8" providerId="ADAL" clId="{B18DB96A-0F1B-4B04-B169-68D0DF683527}" dt="2024-08-07T20:14:35.151" v="7282" actId="478"/>
          <ac:spMkLst>
            <pc:docMk/>
            <pc:sldMk cId="326362598" sldId="579"/>
            <ac:spMk id="763" creationId="{13777517-7863-A45A-A38F-4F9C1E213B14}"/>
          </ac:spMkLst>
        </pc:spChg>
        <pc:spChg chg="del">
          <ac:chgData name="Bullinger, Marvin" userId="5b54ce5a-dc89-476f-af33-5abd75d5b1e8" providerId="ADAL" clId="{B18DB96A-0F1B-4B04-B169-68D0DF683527}" dt="2024-08-06T09:48:23.805" v="2388" actId="478"/>
          <ac:spMkLst>
            <pc:docMk/>
            <pc:sldMk cId="326362598" sldId="579"/>
            <ac:spMk id="763" creationId="{E7B4469B-D412-08B1-D649-74A54D4131A0}"/>
          </ac:spMkLst>
        </pc:spChg>
        <pc:spChg chg="del">
          <ac:chgData name="Bullinger, Marvin" userId="5b54ce5a-dc89-476f-af33-5abd75d5b1e8" providerId="ADAL" clId="{B18DB96A-0F1B-4B04-B169-68D0DF683527}" dt="2024-08-06T09:48:23.805" v="2387" actId="478"/>
          <ac:spMkLst>
            <pc:docMk/>
            <pc:sldMk cId="326362598" sldId="579"/>
            <ac:spMk id="764" creationId="{19B5B4D2-F70B-09BF-1522-B176DCBE65CE}"/>
          </ac:spMkLst>
        </pc:spChg>
        <pc:spChg chg="del">
          <ac:chgData name="Bullinger, Marvin" userId="5b54ce5a-dc89-476f-af33-5abd75d5b1e8" providerId="ADAL" clId="{B18DB96A-0F1B-4B04-B169-68D0DF683527}" dt="2024-08-07T20:14:35.151" v="7281" actId="478"/>
          <ac:spMkLst>
            <pc:docMk/>
            <pc:sldMk cId="326362598" sldId="579"/>
            <ac:spMk id="764" creationId="{88F81200-AFE5-223B-FC16-E1FCFA9E1BB7}"/>
          </ac:spMkLst>
        </pc:spChg>
        <pc:spChg chg="del">
          <ac:chgData name="Bullinger, Marvin" userId="5b54ce5a-dc89-476f-af33-5abd75d5b1e8" providerId="ADAL" clId="{B18DB96A-0F1B-4B04-B169-68D0DF683527}" dt="2024-08-06T09:48:23.805" v="2386" actId="478"/>
          <ac:spMkLst>
            <pc:docMk/>
            <pc:sldMk cId="326362598" sldId="579"/>
            <ac:spMk id="765" creationId="{17994872-F120-36C3-FB87-65CBCB90665D}"/>
          </ac:spMkLst>
        </pc:spChg>
        <pc:spChg chg="del">
          <ac:chgData name="Bullinger, Marvin" userId="5b54ce5a-dc89-476f-af33-5abd75d5b1e8" providerId="ADAL" clId="{B18DB96A-0F1B-4B04-B169-68D0DF683527}" dt="2024-08-07T20:14:35.151" v="7280" actId="478"/>
          <ac:spMkLst>
            <pc:docMk/>
            <pc:sldMk cId="326362598" sldId="579"/>
            <ac:spMk id="765" creationId="{E2CF2DB0-D539-E058-4E55-1089653E3E64}"/>
          </ac:spMkLst>
        </pc:spChg>
        <pc:spChg chg="del">
          <ac:chgData name="Bullinger, Marvin" userId="5b54ce5a-dc89-476f-af33-5abd75d5b1e8" providerId="ADAL" clId="{B18DB96A-0F1B-4B04-B169-68D0DF683527}" dt="2024-08-06T09:48:23.805" v="2385" actId="478"/>
          <ac:spMkLst>
            <pc:docMk/>
            <pc:sldMk cId="326362598" sldId="579"/>
            <ac:spMk id="766" creationId="{18DA1E47-A22D-34A4-23D0-C6C65030924D}"/>
          </ac:spMkLst>
        </pc:spChg>
        <pc:spChg chg="del">
          <ac:chgData name="Bullinger, Marvin" userId="5b54ce5a-dc89-476f-af33-5abd75d5b1e8" providerId="ADAL" clId="{B18DB96A-0F1B-4B04-B169-68D0DF683527}" dt="2024-08-07T20:14:35.151" v="7279" actId="478"/>
          <ac:spMkLst>
            <pc:docMk/>
            <pc:sldMk cId="326362598" sldId="579"/>
            <ac:spMk id="766" creationId="{4D111BB2-65EF-40EC-4CB0-FEEF1D926AEF}"/>
          </ac:spMkLst>
        </pc:spChg>
        <pc:spChg chg="del">
          <ac:chgData name="Bullinger, Marvin" userId="5b54ce5a-dc89-476f-af33-5abd75d5b1e8" providerId="ADAL" clId="{B18DB96A-0F1B-4B04-B169-68D0DF683527}" dt="2024-08-06T09:48:23.805" v="2384" actId="478"/>
          <ac:spMkLst>
            <pc:docMk/>
            <pc:sldMk cId="326362598" sldId="579"/>
            <ac:spMk id="767" creationId="{0AE1ADFD-1D2F-73EA-C4B1-5FDCA18DDB3B}"/>
          </ac:spMkLst>
        </pc:spChg>
        <pc:spChg chg="del">
          <ac:chgData name="Bullinger, Marvin" userId="5b54ce5a-dc89-476f-af33-5abd75d5b1e8" providerId="ADAL" clId="{B18DB96A-0F1B-4B04-B169-68D0DF683527}" dt="2024-08-07T20:14:35.151" v="7278" actId="478"/>
          <ac:spMkLst>
            <pc:docMk/>
            <pc:sldMk cId="326362598" sldId="579"/>
            <ac:spMk id="767" creationId="{268C5E1E-EFB5-909C-C54F-2B16E372C448}"/>
          </ac:spMkLst>
        </pc:spChg>
        <pc:spChg chg="del">
          <ac:chgData name="Bullinger, Marvin" userId="5b54ce5a-dc89-476f-af33-5abd75d5b1e8" providerId="ADAL" clId="{B18DB96A-0F1B-4B04-B169-68D0DF683527}" dt="2024-08-06T09:48:23.805" v="2376" actId="478"/>
          <ac:spMkLst>
            <pc:docMk/>
            <pc:sldMk cId="326362598" sldId="579"/>
            <ac:spMk id="768" creationId="{06443DED-05D7-EF2E-D469-105E9A30DE5A}"/>
          </ac:spMkLst>
        </pc:spChg>
        <pc:spChg chg="del">
          <ac:chgData name="Bullinger, Marvin" userId="5b54ce5a-dc89-476f-af33-5abd75d5b1e8" providerId="ADAL" clId="{B18DB96A-0F1B-4B04-B169-68D0DF683527}" dt="2024-08-07T20:14:35.136" v="7270" actId="478"/>
          <ac:spMkLst>
            <pc:docMk/>
            <pc:sldMk cId="326362598" sldId="579"/>
            <ac:spMk id="768" creationId="{982C1D44-A961-C7E2-1AB2-AF42A97002EE}"/>
          </ac:spMkLst>
        </pc:spChg>
        <pc:spChg chg="del">
          <ac:chgData name="Bullinger, Marvin" userId="5b54ce5a-dc89-476f-af33-5abd75d5b1e8" providerId="ADAL" clId="{B18DB96A-0F1B-4B04-B169-68D0DF683527}" dt="2024-08-06T09:48:23.790" v="2369" actId="478"/>
          <ac:spMkLst>
            <pc:docMk/>
            <pc:sldMk cId="326362598" sldId="579"/>
            <ac:spMk id="769" creationId="{77FC265B-ED9C-CA18-584B-BB48E5B558C0}"/>
          </ac:spMkLst>
        </pc:spChg>
        <pc:spChg chg="del">
          <ac:chgData name="Bullinger, Marvin" userId="5b54ce5a-dc89-476f-af33-5abd75d5b1e8" providerId="ADAL" clId="{B18DB96A-0F1B-4B04-B169-68D0DF683527}" dt="2024-08-07T20:14:35.136" v="7263" actId="478"/>
          <ac:spMkLst>
            <pc:docMk/>
            <pc:sldMk cId="326362598" sldId="579"/>
            <ac:spMk id="769" creationId="{7A637E87-C6BA-16CA-951B-418A021189BC}"/>
          </ac:spMkLst>
        </pc:spChg>
        <pc:spChg chg="del">
          <ac:chgData name="Bullinger, Marvin" userId="5b54ce5a-dc89-476f-af33-5abd75d5b1e8" providerId="ADAL" clId="{B18DB96A-0F1B-4B04-B169-68D0DF683527}" dt="2024-08-07T20:14:35.136" v="7271" actId="478"/>
          <ac:spMkLst>
            <pc:docMk/>
            <pc:sldMk cId="326362598" sldId="579"/>
            <ac:spMk id="770" creationId="{60229084-7239-9B65-40A0-80A70C1D2275}"/>
          </ac:spMkLst>
        </pc:spChg>
        <pc:spChg chg="del">
          <ac:chgData name="Bullinger, Marvin" userId="5b54ce5a-dc89-476f-af33-5abd75d5b1e8" providerId="ADAL" clId="{B18DB96A-0F1B-4B04-B169-68D0DF683527}" dt="2024-08-06T09:48:23.805" v="2377" actId="478"/>
          <ac:spMkLst>
            <pc:docMk/>
            <pc:sldMk cId="326362598" sldId="579"/>
            <ac:spMk id="770" creationId="{DBED794A-75EC-736D-F131-0A66F0531F17}"/>
          </ac:spMkLst>
        </pc:spChg>
        <pc:spChg chg="del">
          <ac:chgData name="Bullinger, Marvin" userId="5b54ce5a-dc89-476f-af33-5abd75d5b1e8" providerId="ADAL" clId="{B18DB96A-0F1B-4B04-B169-68D0DF683527}" dt="2024-08-07T20:14:35.136" v="7262" actId="478"/>
          <ac:spMkLst>
            <pc:docMk/>
            <pc:sldMk cId="326362598" sldId="579"/>
            <ac:spMk id="771" creationId="{76AC0715-FDB5-4DB7-8C95-13DD24F34269}"/>
          </ac:spMkLst>
        </pc:spChg>
        <pc:spChg chg="del">
          <ac:chgData name="Bullinger, Marvin" userId="5b54ce5a-dc89-476f-af33-5abd75d5b1e8" providerId="ADAL" clId="{B18DB96A-0F1B-4B04-B169-68D0DF683527}" dt="2024-08-06T09:48:23.790" v="2368" actId="478"/>
          <ac:spMkLst>
            <pc:docMk/>
            <pc:sldMk cId="326362598" sldId="579"/>
            <ac:spMk id="771" creationId="{C0C03463-938E-D005-BBF0-5E37CE41663A}"/>
          </ac:spMkLst>
        </pc:spChg>
        <pc:spChg chg="del">
          <ac:chgData name="Bullinger, Marvin" userId="5b54ce5a-dc89-476f-af33-5abd75d5b1e8" providerId="ADAL" clId="{B18DB96A-0F1B-4B04-B169-68D0DF683527}" dt="2024-08-07T20:14:35.136" v="7261" actId="478"/>
          <ac:spMkLst>
            <pc:docMk/>
            <pc:sldMk cId="326362598" sldId="579"/>
            <ac:spMk id="772" creationId="{CBA672CC-B181-038E-BB97-06DB96A15589}"/>
          </ac:spMkLst>
        </pc:spChg>
        <pc:spChg chg="del">
          <ac:chgData name="Bullinger, Marvin" userId="5b54ce5a-dc89-476f-af33-5abd75d5b1e8" providerId="ADAL" clId="{B18DB96A-0F1B-4B04-B169-68D0DF683527}" dt="2024-08-06T09:48:23.790" v="2367" actId="478"/>
          <ac:spMkLst>
            <pc:docMk/>
            <pc:sldMk cId="326362598" sldId="579"/>
            <ac:spMk id="772" creationId="{EB981BB8-FBDD-79D8-BB24-E0F01533B303}"/>
          </ac:spMkLst>
        </pc:spChg>
        <pc:spChg chg="del">
          <ac:chgData name="Bullinger, Marvin" userId="5b54ce5a-dc89-476f-af33-5abd75d5b1e8" providerId="ADAL" clId="{B18DB96A-0F1B-4B04-B169-68D0DF683527}" dt="2024-08-07T20:14:35.136" v="7260" actId="478"/>
          <ac:spMkLst>
            <pc:docMk/>
            <pc:sldMk cId="326362598" sldId="579"/>
            <ac:spMk id="773" creationId="{9306FDE1-AF2A-FCF1-20A4-E20047592739}"/>
          </ac:spMkLst>
        </pc:spChg>
        <pc:spChg chg="del">
          <ac:chgData name="Bullinger, Marvin" userId="5b54ce5a-dc89-476f-af33-5abd75d5b1e8" providerId="ADAL" clId="{B18DB96A-0F1B-4B04-B169-68D0DF683527}" dt="2024-08-06T09:48:23.790" v="2366" actId="478"/>
          <ac:spMkLst>
            <pc:docMk/>
            <pc:sldMk cId="326362598" sldId="579"/>
            <ac:spMk id="773" creationId="{D22B079D-AD92-5C54-D519-A82D9A3F8342}"/>
          </ac:spMkLst>
        </pc:spChg>
        <pc:spChg chg="del">
          <ac:chgData name="Bullinger, Marvin" userId="5b54ce5a-dc89-476f-af33-5abd75d5b1e8" providerId="ADAL" clId="{B18DB96A-0F1B-4B04-B169-68D0DF683527}" dt="2024-08-06T09:48:23.790" v="2365" actId="478"/>
          <ac:spMkLst>
            <pc:docMk/>
            <pc:sldMk cId="326362598" sldId="579"/>
            <ac:spMk id="774" creationId="{1269C902-04C4-6D22-3DB9-F2F385A4795B}"/>
          </ac:spMkLst>
        </pc:spChg>
        <pc:spChg chg="del">
          <ac:chgData name="Bullinger, Marvin" userId="5b54ce5a-dc89-476f-af33-5abd75d5b1e8" providerId="ADAL" clId="{B18DB96A-0F1B-4B04-B169-68D0DF683527}" dt="2024-08-07T20:14:35.136" v="7259" actId="478"/>
          <ac:spMkLst>
            <pc:docMk/>
            <pc:sldMk cId="326362598" sldId="579"/>
            <ac:spMk id="774" creationId="{8124A18B-F68C-8C14-EA98-D07AC294E60F}"/>
          </ac:spMkLst>
        </pc:spChg>
        <pc:spChg chg="del">
          <ac:chgData name="Bullinger, Marvin" userId="5b54ce5a-dc89-476f-af33-5abd75d5b1e8" providerId="ADAL" clId="{B18DB96A-0F1B-4B04-B169-68D0DF683527}" dt="2024-08-07T20:14:35.136" v="7258" actId="478"/>
          <ac:spMkLst>
            <pc:docMk/>
            <pc:sldMk cId="326362598" sldId="579"/>
            <ac:spMk id="775" creationId="{1FD91904-45D5-8160-7A4E-B39325F0747E}"/>
          </ac:spMkLst>
        </pc:spChg>
        <pc:spChg chg="del">
          <ac:chgData name="Bullinger, Marvin" userId="5b54ce5a-dc89-476f-af33-5abd75d5b1e8" providerId="ADAL" clId="{B18DB96A-0F1B-4B04-B169-68D0DF683527}" dt="2024-08-06T09:48:23.790" v="2364" actId="478"/>
          <ac:spMkLst>
            <pc:docMk/>
            <pc:sldMk cId="326362598" sldId="579"/>
            <ac:spMk id="775" creationId="{84514FAF-06FE-681B-174F-4E245187F161}"/>
          </ac:spMkLst>
        </pc:spChg>
        <pc:spChg chg="del">
          <ac:chgData name="Bullinger, Marvin" userId="5b54ce5a-dc89-476f-af33-5abd75d5b1e8" providerId="ADAL" clId="{B18DB96A-0F1B-4B04-B169-68D0DF683527}" dt="2024-08-06T09:48:23.790" v="2363" actId="478"/>
          <ac:spMkLst>
            <pc:docMk/>
            <pc:sldMk cId="326362598" sldId="579"/>
            <ac:spMk id="776" creationId="{6D1686CA-3B7E-6586-69A1-1DDC3A63FEFF}"/>
          </ac:spMkLst>
        </pc:spChg>
        <pc:spChg chg="del">
          <ac:chgData name="Bullinger, Marvin" userId="5b54ce5a-dc89-476f-af33-5abd75d5b1e8" providerId="ADAL" clId="{B18DB96A-0F1B-4B04-B169-68D0DF683527}" dt="2024-08-07T20:14:35.136" v="7257" actId="478"/>
          <ac:spMkLst>
            <pc:docMk/>
            <pc:sldMk cId="326362598" sldId="579"/>
            <ac:spMk id="776" creationId="{6DDD03F4-882B-51D8-F64C-07EACDB9E92A}"/>
          </ac:spMkLst>
        </pc:spChg>
        <pc:spChg chg="del">
          <ac:chgData name="Bullinger, Marvin" userId="5b54ce5a-dc89-476f-af33-5abd75d5b1e8" providerId="ADAL" clId="{B18DB96A-0F1B-4B04-B169-68D0DF683527}" dt="2024-08-06T09:48:23.790" v="2362" actId="478"/>
          <ac:spMkLst>
            <pc:docMk/>
            <pc:sldMk cId="326362598" sldId="579"/>
            <ac:spMk id="777" creationId="{BFB5E396-74F5-F2C5-AD1E-1552413DEB25}"/>
          </ac:spMkLst>
        </pc:spChg>
        <pc:spChg chg="del">
          <ac:chgData name="Bullinger, Marvin" userId="5b54ce5a-dc89-476f-af33-5abd75d5b1e8" providerId="ADAL" clId="{B18DB96A-0F1B-4B04-B169-68D0DF683527}" dt="2024-08-07T20:14:35.136" v="7256" actId="478"/>
          <ac:spMkLst>
            <pc:docMk/>
            <pc:sldMk cId="326362598" sldId="579"/>
            <ac:spMk id="777" creationId="{DB3370B2-AE7A-460A-8DD9-321E1A4F65E6}"/>
          </ac:spMkLst>
        </pc:spChg>
        <pc:spChg chg="del">
          <ac:chgData name="Bullinger, Marvin" userId="5b54ce5a-dc89-476f-af33-5abd75d5b1e8" providerId="ADAL" clId="{B18DB96A-0F1B-4B04-B169-68D0DF683527}" dt="2024-08-06T09:48:23.790" v="2361" actId="478"/>
          <ac:spMkLst>
            <pc:docMk/>
            <pc:sldMk cId="326362598" sldId="579"/>
            <ac:spMk id="778" creationId="{7FCE125E-A8C9-CD7B-7814-2C3FD1BB9C2B}"/>
          </ac:spMkLst>
        </pc:spChg>
        <pc:spChg chg="del">
          <ac:chgData name="Bullinger, Marvin" userId="5b54ce5a-dc89-476f-af33-5abd75d5b1e8" providerId="ADAL" clId="{B18DB96A-0F1B-4B04-B169-68D0DF683527}" dt="2024-08-07T20:14:35.136" v="7255" actId="478"/>
          <ac:spMkLst>
            <pc:docMk/>
            <pc:sldMk cId="326362598" sldId="579"/>
            <ac:spMk id="778" creationId="{E4FBCBC7-F818-3832-37C0-CCD4CEC9535C}"/>
          </ac:spMkLst>
        </pc:spChg>
        <pc:spChg chg="del">
          <ac:chgData name="Bullinger, Marvin" userId="5b54ce5a-dc89-476f-af33-5abd75d5b1e8" providerId="ADAL" clId="{B18DB96A-0F1B-4B04-B169-68D0DF683527}" dt="2024-08-07T20:14:35.136" v="7254" actId="478"/>
          <ac:spMkLst>
            <pc:docMk/>
            <pc:sldMk cId="326362598" sldId="579"/>
            <ac:spMk id="779" creationId="{6CCFE7D4-C810-5B2C-8D08-587C024F7C14}"/>
          </ac:spMkLst>
        </pc:spChg>
        <pc:spChg chg="del">
          <ac:chgData name="Bullinger, Marvin" userId="5b54ce5a-dc89-476f-af33-5abd75d5b1e8" providerId="ADAL" clId="{B18DB96A-0F1B-4B04-B169-68D0DF683527}" dt="2024-08-06T09:48:23.790" v="2360" actId="478"/>
          <ac:spMkLst>
            <pc:docMk/>
            <pc:sldMk cId="326362598" sldId="579"/>
            <ac:spMk id="779" creationId="{DF488EB4-3DD2-EC1F-A7C5-D712E4E667B6}"/>
          </ac:spMkLst>
        </pc:spChg>
        <pc:spChg chg="del">
          <ac:chgData name="Bullinger, Marvin" userId="5b54ce5a-dc89-476f-af33-5abd75d5b1e8" providerId="ADAL" clId="{B18DB96A-0F1B-4B04-B169-68D0DF683527}" dt="2024-08-06T09:48:23.790" v="2359" actId="478"/>
          <ac:spMkLst>
            <pc:docMk/>
            <pc:sldMk cId="326362598" sldId="579"/>
            <ac:spMk id="780" creationId="{263DBC22-FDEE-35AB-AF37-E6A8EAFB62E3}"/>
          </ac:spMkLst>
        </pc:spChg>
        <pc:spChg chg="del">
          <ac:chgData name="Bullinger, Marvin" userId="5b54ce5a-dc89-476f-af33-5abd75d5b1e8" providerId="ADAL" clId="{B18DB96A-0F1B-4B04-B169-68D0DF683527}" dt="2024-08-07T20:14:35.136" v="7253" actId="478"/>
          <ac:spMkLst>
            <pc:docMk/>
            <pc:sldMk cId="326362598" sldId="579"/>
            <ac:spMk id="780" creationId="{FFE20AD2-A1D6-830B-3EC8-932EA0D368BF}"/>
          </ac:spMkLst>
        </pc:spChg>
        <pc:spChg chg="del">
          <ac:chgData name="Bullinger, Marvin" userId="5b54ce5a-dc89-476f-af33-5abd75d5b1e8" providerId="ADAL" clId="{B18DB96A-0F1B-4B04-B169-68D0DF683527}" dt="2024-08-06T09:48:23.790" v="2358" actId="478"/>
          <ac:spMkLst>
            <pc:docMk/>
            <pc:sldMk cId="326362598" sldId="579"/>
            <ac:spMk id="781" creationId="{7913DB0D-D5FD-6C7C-B997-77CB78CCE478}"/>
          </ac:spMkLst>
        </pc:spChg>
        <pc:spChg chg="del">
          <ac:chgData name="Bullinger, Marvin" userId="5b54ce5a-dc89-476f-af33-5abd75d5b1e8" providerId="ADAL" clId="{B18DB96A-0F1B-4B04-B169-68D0DF683527}" dt="2024-08-07T20:14:35.136" v="7252" actId="478"/>
          <ac:spMkLst>
            <pc:docMk/>
            <pc:sldMk cId="326362598" sldId="579"/>
            <ac:spMk id="781" creationId="{A48B3834-5E6C-42DA-EE49-BC4D7D43687D}"/>
          </ac:spMkLst>
        </pc:spChg>
        <pc:spChg chg="del">
          <ac:chgData name="Bullinger, Marvin" userId="5b54ce5a-dc89-476f-af33-5abd75d5b1e8" providerId="ADAL" clId="{B18DB96A-0F1B-4B04-B169-68D0DF683527}" dt="2024-08-07T20:14:35.136" v="7251" actId="478"/>
          <ac:spMkLst>
            <pc:docMk/>
            <pc:sldMk cId="326362598" sldId="579"/>
            <ac:spMk id="782" creationId="{6BC19CD9-630A-D257-2E9C-471E4F05EA7E}"/>
          </ac:spMkLst>
        </pc:spChg>
        <pc:spChg chg="del">
          <ac:chgData name="Bullinger, Marvin" userId="5b54ce5a-dc89-476f-af33-5abd75d5b1e8" providerId="ADAL" clId="{B18DB96A-0F1B-4B04-B169-68D0DF683527}" dt="2024-08-06T09:48:23.790" v="2357" actId="478"/>
          <ac:spMkLst>
            <pc:docMk/>
            <pc:sldMk cId="326362598" sldId="579"/>
            <ac:spMk id="782" creationId="{E14812FB-20C8-71AB-A9D8-26E51E38EB21}"/>
          </ac:spMkLst>
        </pc:spChg>
        <pc:spChg chg="del">
          <ac:chgData name="Bullinger, Marvin" userId="5b54ce5a-dc89-476f-af33-5abd75d5b1e8" providerId="ADAL" clId="{B18DB96A-0F1B-4B04-B169-68D0DF683527}" dt="2024-08-07T20:14:35.136" v="7250" actId="478"/>
          <ac:spMkLst>
            <pc:docMk/>
            <pc:sldMk cId="326362598" sldId="579"/>
            <ac:spMk id="783" creationId="{1E61BD6B-EDC2-5DC0-6C31-E5707F4F4A7D}"/>
          </ac:spMkLst>
        </pc:spChg>
        <pc:spChg chg="del">
          <ac:chgData name="Bullinger, Marvin" userId="5b54ce5a-dc89-476f-af33-5abd75d5b1e8" providerId="ADAL" clId="{B18DB96A-0F1B-4B04-B169-68D0DF683527}" dt="2024-08-06T09:48:23.790" v="2356" actId="478"/>
          <ac:spMkLst>
            <pc:docMk/>
            <pc:sldMk cId="326362598" sldId="579"/>
            <ac:spMk id="783" creationId="{BD0DCDBF-C95C-E3BB-9AFE-B04C3050295F}"/>
          </ac:spMkLst>
        </pc:spChg>
        <pc:spChg chg="del">
          <ac:chgData name="Bullinger, Marvin" userId="5b54ce5a-dc89-476f-af33-5abd75d5b1e8" providerId="ADAL" clId="{B18DB96A-0F1B-4B04-B169-68D0DF683527}" dt="2024-08-07T20:14:35.136" v="7249" actId="478"/>
          <ac:spMkLst>
            <pc:docMk/>
            <pc:sldMk cId="326362598" sldId="579"/>
            <ac:spMk id="784" creationId="{56F8A945-F3BE-DA45-B4C6-7F187C284311}"/>
          </ac:spMkLst>
        </pc:spChg>
        <pc:spChg chg="del">
          <ac:chgData name="Bullinger, Marvin" userId="5b54ce5a-dc89-476f-af33-5abd75d5b1e8" providerId="ADAL" clId="{B18DB96A-0F1B-4B04-B169-68D0DF683527}" dt="2024-08-06T09:48:23.790" v="2355" actId="478"/>
          <ac:spMkLst>
            <pc:docMk/>
            <pc:sldMk cId="326362598" sldId="579"/>
            <ac:spMk id="784" creationId="{CD472B49-7010-31C4-661E-27629F6DC919}"/>
          </ac:spMkLst>
        </pc:spChg>
        <pc:spChg chg="replST">
          <ac:chgData name="Bullinger, Marvin" userId="5b54ce5a-dc89-476f-af33-5abd75d5b1e8" providerId="ADAL" clId="{B18DB96A-0F1B-4B04-B169-68D0DF683527}" dt="2024-08-06T09:48:24.075" v="2621"/>
          <ac:spMkLst>
            <pc:docMk/>
            <pc:sldMk cId="326362598" sldId="579"/>
            <ac:spMk id="785" creationId="{25310807-CEDD-9839-2683-3904C5EB4B89}"/>
          </ac:spMkLst>
        </pc:spChg>
        <pc:spChg chg="replST">
          <ac:chgData name="Bullinger, Marvin" userId="5b54ce5a-dc89-476f-af33-5abd75d5b1e8" providerId="ADAL" clId="{B18DB96A-0F1B-4B04-B169-68D0DF683527}" dt="2024-08-06T09:48:24.075" v="2624"/>
          <ac:spMkLst>
            <pc:docMk/>
            <pc:sldMk cId="326362598" sldId="579"/>
            <ac:spMk id="786" creationId="{3CC87BB3-F143-D57A-9E71-F6D1D862C07E}"/>
          </ac:spMkLst>
        </pc:spChg>
        <pc:spChg chg="del ord replST">
          <ac:chgData name="Bullinger, Marvin" userId="5b54ce5a-dc89-476f-af33-5abd75d5b1e8" providerId="ADAL" clId="{B18DB96A-0F1B-4B04-B169-68D0DF683527}" dt="2024-08-07T20:14:35.104" v="7243" actId="478"/>
          <ac:spMkLst>
            <pc:docMk/>
            <pc:sldMk cId="326362598" sldId="579"/>
            <ac:spMk id="787" creationId="{5104B7EC-8944-9E2D-B721-AB3ED2C289AC}"/>
          </ac:spMkLst>
        </pc:spChg>
        <pc:spChg chg="replST">
          <ac:chgData name="Bullinger, Marvin" userId="5b54ce5a-dc89-476f-af33-5abd75d5b1e8" providerId="ADAL" clId="{B18DB96A-0F1B-4B04-B169-68D0DF683527}" dt="2024-08-06T09:48:24.089" v="2628"/>
          <ac:spMkLst>
            <pc:docMk/>
            <pc:sldMk cId="326362598" sldId="579"/>
            <ac:spMk id="788" creationId="{83177573-24A8-8E3E-6DEA-2B0D7DB92A34}"/>
          </ac:spMkLst>
        </pc:spChg>
        <pc:spChg chg="replST">
          <ac:chgData name="Bullinger, Marvin" userId="5b54ce5a-dc89-476f-af33-5abd75d5b1e8" providerId="ADAL" clId="{B18DB96A-0F1B-4B04-B169-68D0DF683527}" dt="2024-08-06T09:48:24.089" v="2631"/>
          <ac:spMkLst>
            <pc:docMk/>
            <pc:sldMk cId="326362598" sldId="579"/>
            <ac:spMk id="789" creationId="{43A9B6F7-0C6B-0576-FAE8-768008534483}"/>
          </ac:spMkLst>
        </pc:spChg>
        <pc:spChg chg="replST">
          <ac:chgData name="Bullinger, Marvin" userId="5b54ce5a-dc89-476f-af33-5abd75d5b1e8" providerId="ADAL" clId="{B18DB96A-0F1B-4B04-B169-68D0DF683527}" dt="2024-08-06T09:48:24.105" v="2635"/>
          <ac:spMkLst>
            <pc:docMk/>
            <pc:sldMk cId="326362598" sldId="579"/>
            <ac:spMk id="791" creationId="{EF107AC8-875F-B232-9D9B-1535B8BF7EB7}"/>
          </ac:spMkLst>
        </pc:spChg>
        <pc:spChg chg="replST">
          <ac:chgData name="Bullinger, Marvin" userId="5b54ce5a-dc89-476f-af33-5abd75d5b1e8" providerId="ADAL" clId="{B18DB96A-0F1B-4B04-B169-68D0DF683527}" dt="2024-08-06T09:48:24.105" v="2638"/>
          <ac:spMkLst>
            <pc:docMk/>
            <pc:sldMk cId="326362598" sldId="579"/>
            <ac:spMk id="792" creationId="{C94359ED-18D6-AF0D-CBB8-206B7A354190}"/>
          </ac:spMkLst>
        </pc:spChg>
        <pc:spChg chg="replST">
          <ac:chgData name="Bullinger, Marvin" userId="5b54ce5a-dc89-476f-af33-5abd75d5b1e8" providerId="ADAL" clId="{B18DB96A-0F1B-4B04-B169-68D0DF683527}" dt="2024-08-06T09:48:24.120" v="2642"/>
          <ac:spMkLst>
            <pc:docMk/>
            <pc:sldMk cId="326362598" sldId="579"/>
            <ac:spMk id="794" creationId="{F909065C-0C8B-0535-E4AF-78D7029441AC}"/>
          </ac:spMkLst>
        </pc:spChg>
        <pc:spChg chg="replST">
          <ac:chgData name="Bullinger, Marvin" userId="5b54ce5a-dc89-476f-af33-5abd75d5b1e8" providerId="ADAL" clId="{B18DB96A-0F1B-4B04-B169-68D0DF683527}" dt="2024-08-06T09:48:24.120" v="2645"/>
          <ac:spMkLst>
            <pc:docMk/>
            <pc:sldMk cId="326362598" sldId="579"/>
            <ac:spMk id="795" creationId="{E4373D66-CFC5-CD1E-FEF6-C8E98DB507ED}"/>
          </ac:spMkLst>
        </pc:spChg>
        <pc:spChg chg="del">
          <ac:chgData name="Bullinger, Marvin" userId="5b54ce5a-dc89-476f-af33-5abd75d5b1e8" providerId="ADAL" clId="{B18DB96A-0F1B-4B04-B169-68D0DF683527}" dt="2024-08-08T22:04:44.149" v="10034" actId="478"/>
          <ac:spMkLst>
            <pc:docMk/>
            <pc:sldMk cId="326362598" sldId="579"/>
            <ac:spMk id="796" creationId="{A3791EF1-3A34-1A33-AAD4-2B7398141A7C}"/>
          </ac:spMkLst>
        </pc:spChg>
        <pc:spChg chg="mod replST">
          <ac:chgData name="Bullinger, Marvin" userId="5b54ce5a-dc89-476f-af33-5abd75d5b1e8" providerId="ADAL" clId="{B18DB96A-0F1B-4B04-B169-68D0DF683527}" dt="2024-08-08T22:03:35.141" v="10028" actId="207"/>
          <ac:spMkLst>
            <pc:docMk/>
            <pc:sldMk cId="326362598" sldId="579"/>
            <ac:spMk id="797" creationId="{15E76851-7824-6CAE-1D75-67C77781FE81}"/>
          </ac:spMkLst>
        </pc:spChg>
        <pc:spChg chg="mod">
          <ac:chgData name="Bullinger, Marvin" userId="5b54ce5a-dc89-476f-af33-5abd75d5b1e8" providerId="ADAL" clId="{B18DB96A-0F1B-4B04-B169-68D0DF683527}" dt="2024-08-05T18:37:24.208" v="249" actId="20577"/>
          <ac:spMkLst>
            <pc:docMk/>
            <pc:sldMk cId="326362598" sldId="579"/>
            <ac:spMk id="797" creationId="{E604ACAD-D3B3-6CCC-CEC5-7B72222AD302}"/>
          </ac:spMkLst>
        </pc:spChg>
        <pc:spChg chg="replST">
          <ac:chgData name="Bullinger, Marvin" userId="5b54ce5a-dc89-476f-af33-5abd75d5b1e8" providerId="ADAL" clId="{B18DB96A-0F1B-4B04-B169-68D0DF683527}" dt="2024-08-07T20:14:35.630" v="7513"/>
          <ac:spMkLst>
            <pc:docMk/>
            <pc:sldMk cId="326362598" sldId="579"/>
            <ac:spMk id="798" creationId="{1A2D9CAD-706A-5E36-FFFD-2822F5DA7876}"/>
          </ac:spMkLst>
        </pc:spChg>
        <pc:spChg chg="del">
          <ac:chgData name="Bullinger, Marvin" userId="5b54ce5a-dc89-476f-af33-5abd75d5b1e8" providerId="ADAL" clId="{B18DB96A-0F1B-4B04-B169-68D0DF683527}" dt="2024-08-06T09:48:23.774" v="2348" actId="478"/>
          <ac:spMkLst>
            <pc:docMk/>
            <pc:sldMk cId="326362598" sldId="579"/>
            <ac:spMk id="798" creationId="{58112DCA-A498-1750-2424-673A1484C860}"/>
          </ac:spMkLst>
        </pc:spChg>
        <pc:spChg chg="mod ord replST">
          <ac:chgData name="Bullinger, Marvin" userId="5b54ce5a-dc89-476f-af33-5abd75d5b1e8" providerId="ADAL" clId="{B18DB96A-0F1B-4B04-B169-68D0DF683527}" dt="2024-08-08T22:09:34.083" v="10048" actId="207"/>
          <ac:spMkLst>
            <pc:docMk/>
            <pc:sldMk cId="326362598" sldId="579"/>
            <ac:spMk id="799" creationId="{E719E103-5F12-0EF7-1AD5-2C3BB4A5F8E5}"/>
          </ac:spMkLst>
        </pc:spChg>
        <pc:spChg chg="mod replST">
          <ac:chgData name="Bullinger, Marvin" userId="5b54ce5a-dc89-476f-af33-5abd75d5b1e8" providerId="ADAL" clId="{B18DB96A-0F1B-4B04-B169-68D0DF683527}" dt="2024-08-08T22:08:40.380" v="10039" actId="207"/>
          <ac:spMkLst>
            <pc:docMk/>
            <pc:sldMk cId="326362598" sldId="579"/>
            <ac:spMk id="800" creationId="{588C1549-2BF7-3FA9-FA2A-DF51750E4940}"/>
          </ac:spMkLst>
        </pc:spChg>
        <pc:spChg chg="replST">
          <ac:chgData name="Bullinger, Marvin" userId="5b54ce5a-dc89-476f-af33-5abd75d5b1e8" providerId="ADAL" clId="{B18DB96A-0F1B-4B04-B169-68D0DF683527}" dt="2024-08-07T20:14:35.645" v="7520"/>
          <ac:spMkLst>
            <pc:docMk/>
            <pc:sldMk cId="326362598" sldId="579"/>
            <ac:spMk id="801" creationId="{F82AA610-2B09-5601-C3A3-5B8B2E5F35C5}"/>
          </ac:spMkLst>
        </pc:spChg>
        <pc:spChg chg="mod replST">
          <ac:chgData name="Bullinger, Marvin" userId="5b54ce5a-dc89-476f-af33-5abd75d5b1e8" providerId="ADAL" clId="{B18DB96A-0F1B-4B04-B169-68D0DF683527}" dt="2024-08-08T22:08:40.380" v="10039" actId="207"/>
          <ac:spMkLst>
            <pc:docMk/>
            <pc:sldMk cId="326362598" sldId="579"/>
            <ac:spMk id="803" creationId="{C03FE7D6-1184-6EFE-D49C-EB2463E02FA7}"/>
          </ac:spMkLst>
        </pc:spChg>
        <pc:spChg chg="replST">
          <ac:chgData name="Bullinger, Marvin" userId="5b54ce5a-dc89-476f-af33-5abd75d5b1e8" providerId="ADAL" clId="{B18DB96A-0F1B-4B04-B169-68D0DF683527}" dt="2024-08-07T20:14:35.661" v="7527"/>
          <ac:spMkLst>
            <pc:docMk/>
            <pc:sldMk cId="326362598" sldId="579"/>
            <ac:spMk id="804" creationId="{C1A38F07-47D0-7F74-2B4C-CA6A7F73BD5E}"/>
          </ac:spMkLst>
        </pc:spChg>
        <pc:spChg chg="mod replST">
          <ac:chgData name="Bullinger, Marvin" userId="5b54ce5a-dc89-476f-af33-5abd75d5b1e8" providerId="ADAL" clId="{B18DB96A-0F1B-4B04-B169-68D0DF683527}" dt="2024-08-08T22:08:40.380" v="10039" actId="207"/>
          <ac:spMkLst>
            <pc:docMk/>
            <pc:sldMk cId="326362598" sldId="579"/>
            <ac:spMk id="806" creationId="{E867D275-53C9-E015-5806-61F9A9E3466D}"/>
          </ac:spMkLst>
        </pc:spChg>
        <pc:spChg chg="replST">
          <ac:chgData name="Bullinger, Marvin" userId="5b54ce5a-dc89-476f-af33-5abd75d5b1e8" providerId="ADAL" clId="{B18DB96A-0F1B-4B04-B169-68D0DF683527}" dt="2024-08-07T20:14:35.693" v="7534"/>
          <ac:spMkLst>
            <pc:docMk/>
            <pc:sldMk cId="326362598" sldId="579"/>
            <ac:spMk id="807" creationId="{6B17833B-654D-8F9D-D27D-998975499230}"/>
          </ac:spMkLst>
        </pc:spChg>
        <pc:spChg chg="mod replST">
          <ac:chgData name="Bullinger, Marvin" userId="5b54ce5a-dc89-476f-af33-5abd75d5b1e8" providerId="ADAL" clId="{B18DB96A-0F1B-4B04-B169-68D0DF683527}" dt="2024-08-08T22:08:40.380" v="10039" actId="207"/>
          <ac:spMkLst>
            <pc:docMk/>
            <pc:sldMk cId="326362598" sldId="579"/>
            <ac:spMk id="809" creationId="{DA767B6C-2140-5073-B2EA-5C9DEEFCA576}"/>
          </ac:spMkLst>
        </pc:spChg>
        <pc:spChg chg="replST">
          <ac:chgData name="Bullinger, Marvin" userId="5b54ce5a-dc89-476f-af33-5abd75d5b1e8" providerId="ADAL" clId="{B18DB96A-0F1B-4B04-B169-68D0DF683527}" dt="2024-08-07T20:14:35.708" v="7541"/>
          <ac:spMkLst>
            <pc:docMk/>
            <pc:sldMk cId="326362598" sldId="579"/>
            <ac:spMk id="810" creationId="{2CBA4727-7EFA-E68D-392F-D8E68EE9DE2E}"/>
          </ac:spMkLst>
        </pc:spChg>
        <pc:spChg chg="replST">
          <ac:chgData name="Bullinger, Marvin" userId="5b54ce5a-dc89-476f-af33-5abd75d5b1e8" providerId="ADAL" clId="{B18DB96A-0F1B-4B04-B169-68D0DF683527}" dt="2024-08-06T09:48:24.120" v="2649"/>
          <ac:spMkLst>
            <pc:docMk/>
            <pc:sldMk cId="326362598" sldId="579"/>
            <ac:spMk id="816" creationId="{FB7FF628-0085-124A-AE00-6B7F15E9B9D2}"/>
          </ac:spMkLst>
        </pc:spChg>
        <pc:spChg chg="replST">
          <ac:chgData name="Bullinger, Marvin" userId="5b54ce5a-dc89-476f-af33-5abd75d5b1e8" providerId="ADAL" clId="{B18DB96A-0F1B-4B04-B169-68D0DF683527}" dt="2024-08-06T09:48:24.120" v="2652"/>
          <ac:spMkLst>
            <pc:docMk/>
            <pc:sldMk cId="326362598" sldId="579"/>
            <ac:spMk id="817" creationId="{BF4B8119-C352-A461-006F-14509FC7B980}"/>
          </ac:spMkLst>
        </pc:spChg>
        <pc:cxnChg chg="del ord replST">
          <ac:chgData name="Bullinger, Marvin" userId="5b54ce5a-dc89-476f-af33-5abd75d5b1e8" providerId="ADAL" clId="{B18DB96A-0F1B-4B04-B169-68D0DF683527}" dt="2024-08-07T20:14:35.104" v="7244" actId="478"/>
          <ac:cxnSpMkLst>
            <pc:docMk/>
            <pc:sldMk cId="326362598" sldId="579"/>
            <ac:cxnSpMk id="790" creationId="{BE4BDB2E-C13A-E00F-CEC4-9AD8503DD82D}"/>
          </ac:cxnSpMkLst>
        </pc:cxnChg>
        <pc:cxnChg chg="del ord replST">
          <ac:chgData name="Bullinger, Marvin" userId="5b54ce5a-dc89-476f-af33-5abd75d5b1e8" providerId="ADAL" clId="{B18DB96A-0F1B-4B04-B169-68D0DF683527}" dt="2024-08-07T20:14:35.104" v="7245" actId="478"/>
          <ac:cxnSpMkLst>
            <pc:docMk/>
            <pc:sldMk cId="326362598" sldId="579"/>
            <ac:cxnSpMk id="793" creationId="{D6BA3588-B3ED-136E-B24C-34F2581AB1A0}"/>
          </ac:cxnSpMkLst>
        </pc:cxnChg>
        <pc:cxnChg chg="del">
          <ac:chgData name="Bullinger, Marvin" userId="5b54ce5a-dc89-476f-af33-5abd75d5b1e8" providerId="ADAL" clId="{B18DB96A-0F1B-4B04-B169-68D0DF683527}" dt="2024-08-06T09:48:23.774" v="2349" actId="478"/>
          <ac:cxnSpMkLst>
            <pc:docMk/>
            <pc:sldMk cId="326362598" sldId="579"/>
            <ac:cxnSpMk id="801" creationId="{3F0754A7-D0DA-BA3F-F3C5-D2A9F2A8B842}"/>
          </ac:cxnSpMkLst>
        </pc:cxnChg>
        <pc:cxnChg chg="ord replST">
          <ac:chgData name="Bullinger, Marvin" userId="5b54ce5a-dc89-476f-af33-5abd75d5b1e8" providerId="ADAL" clId="{B18DB96A-0F1B-4B04-B169-68D0DF683527}" dt="2024-08-07T20:14:35.724" v="7546"/>
          <ac:cxnSpMkLst>
            <pc:docMk/>
            <pc:sldMk cId="326362598" sldId="579"/>
            <ac:cxnSpMk id="802" creationId="{017E3A21-7538-4296-5896-9EFAE26298C5}"/>
          </ac:cxnSpMkLst>
        </pc:cxnChg>
        <pc:cxnChg chg="del">
          <ac:chgData name="Bullinger, Marvin" userId="5b54ce5a-dc89-476f-af33-5abd75d5b1e8" providerId="ADAL" clId="{B18DB96A-0F1B-4B04-B169-68D0DF683527}" dt="2024-08-06T09:48:23.774" v="2350" actId="478"/>
          <ac:cxnSpMkLst>
            <pc:docMk/>
            <pc:sldMk cId="326362598" sldId="579"/>
            <ac:cxnSpMk id="804" creationId="{8D3C93D0-88F3-E34F-728E-56E1E7EF8A33}"/>
          </ac:cxnSpMkLst>
        </pc:cxnChg>
        <pc:cxnChg chg="ord replST">
          <ac:chgData name="Bullinger, Marvin" userId="5b54ce5a-dc89-476f-af33-5abd75d5b1e8" providerId="ADAL" clId="{B18DB96A-0F1B-4B04-B169-68D0DF683527}" dt="2024-08-07T20:14:35.724" v="7547"/>
          <ac:cxnSpMkLst>
            <pc:docMk/>
            <pc:sldMk cId="326362598" sldId="579"/>
            <ac:cxnSpMk id="805" creationId="{F176223A-1A49-5B62-540A-4930CCC588D5}"/>
          </ac:cxnSpMkLst>
        </pc:cxnChg>
        <pc:cxnChg chg="del">
          <ac:chgData name="Bullinger, Marvin" userId="5b54ce5a-dc89-476f-af33-5abd75d5b1e8" providerId="ADAL" clId="{B18DB96A-0F1B-4B04-B169-68D0DF683527}" dt="2024-08-06T09:48:23.774" v="2351" actId="478"/>
          <ac:cxnSpMkLst>
            <pc:docMk/>
            <pc:sldMk cId="326362598" sldId="579"/>
            <ac:cxnSpMk id="807" creationId="{C7712B90-F744-C420-58FA-74537F6E6622}"/>
          </ac:cxnSpMkLst>
        </pc:cxnChg>
        <pc:cxnChg chg="ord replST">
          <ac:chgData name="Bullinger, Marvin" userId="5b54ce5a-dc89-476f-af33-5abd75d5b1e8" providerId="ADAL" clId="{B18DB96A-0F1B-4B04-B169-68D0DF683527}" dt="2024-08-07T20:14:35.724" v="7548"/>
          <ac:cxnSpMkLst>
            <pc:docMk/>
            <pc:sldMk cId="326362598" sldId="579"/>
            <ac:cxnSpMk id="808" creationId="{E8FF3167-FBB0-7683-AD2C-2E9183667179}"/>
          </ac:cxnSpMkLst>
        </pc:cxnChg>
        <pc:cxnChg chg="del">
          <ac:chgData name="Bullinger, Marvin" userId="5b54ce5a-dc89-476f-af33-5abd75d5b1e8" providerId="ADAL" clId="{B18DB96A-0F1B-4B04-B169-68D0DF683527}" dt="2024-08-06T09:48:23.774" v="2352" actId="478"/>
          <ac:cxnSpMkLst>
            <pc:docMk/>
            <pc:sldMk cId="326362598" sldId="579"/>
            <ac:cxnSpMk id="810" creationId="{5E76B424-1B8A-CFE4-BE2A-20651B7848D2}"/>
          </ac:cxnSpMkLst>
        </pc:cxnChg>
        <pc:cxnChg chg="ord replST">
          <ac:chgData name="Bullinger, Marvin" userId="5b54ce5a-dc89-476f-af33-5abd75d5b1e8" providerId="ADAL" clId="{B18DB96A-0F1B-4B04-B169-68D0DF683527}" dt="2024-08-07T20:14:35.724" v="7549"/>
          <ac:cxnSpMkLst>
            <pc:docMk/>
            <pc:sldMk cId="326362598" sldId="579"/>
            <ac:cxnSpMk id="811" creationId="{A1EE4017-5796-DF79-4A42-FEBA504B631E}"/>
          </ac:cxnSpMkLst>
        </pc:cxnChg>
        <pc:cxnChg chg="ord replST">
          <ac:chgData name="Bullinger, Marvin" userId="5b54ce5a-dc89-476f-af33-5abd75d5b1e8" providerId="ADAL" clId="{B18DB96A-0F1B-4B04-B169-68D0DF683527}" dt="2024-08-07T20:14:35.724" v="7550"/>
          <ac:cxnSpMkLst>
            <pc:docMk/>
            <pc:sldMk cId="326362598" sldId="579"/>
            <ac:cxnSpMk id="812" creationId="{5B349650-2AE2-F4E8-F5A4-F1E5E7E25BCE}"/>
          </ac:cxnSpMkLst>
        </pc:cxnChg>
        <pc:cxnChg chg="del">
          <ac:chgData name="Bullinger, Marvin" userId="5b54ce5a-dc89-476f-af33-5abd75d5b1e8" providerId="ADAL" clId="{B18DB96A-0F1B-4B04-B169-68D0DF683527}" dt="2024-08-06T09:48:23.774" v="2353" actId="478"/>
          <ac:cxnSpMkLst>
            <pc:docMk/>
            <pc:sldMk cId="326362598" sldId="579"/>
            <ac:cxnSpMk id="813" creationId="{5D900068-B411-6D9B-08DF-ADD8796EF63F}"/>
          </ac:cxnSpMkLst>
        </pc:cxnChg>
        <pc:cxnChg chg="del">
          <ac:chgData name="Bullinger, Marvin" userId="5b54ce5a-dc89-476f-af33-5abd75d5b1e8" providerId="ADAL" clId="{B18DB96A-0F1B-4B04-B169-68D0DF683527}" dt="2024-08-06T09:48:23.774" v="2354" actId="478"/>
          <ac:cxnSpMkLst>
            <pc:docMk/>
            <pc:sldMk cId="326362598" sldId="579"/>
            <ac:cxnSpMk id="814" creationId="{22B41EFF-6F91-BA15-7288-6701AD8CD33F}"/>
          </ac:cxnSpMkLst>
        </pc:cxnChg>
        <pc:cxnChg chg="del ord replST">
          <ac:chgData name="Bullinger, Marvin" userId="5b54ce5a-dc89-476f-af33-5abd75d5b1e8" providerId="ADAL" clId="{B18DB96A-0F1B-4B04-B169-68D0DF683527}" dt="2024-08-07T20:14:35.104" v="7246" actId="478"/>
          <ac:cxnSpMkLst>
            <pc:docMk/>
            <pc:sldMk cId="326362598" sldId="579"/>
            <ac:cxnSpMk id="815" creationId="{D9344619-2EB9-2AA4-FA20-316865ECFDB1}"/>
          </ac:cxnSpMkLst>
        </pc:cxnChg>
        <pc:cxnChg chg="del ord replST">
          <ac:chgData name="Bullinger, Marvin" userId="5b54ce5a-dc89-476f-af33-5abd75d5b1e8" providerId="ADAL" clId="{B18DB96A-0F1B-4B04-B169-68D0DF683527}" dt="2024-08-07T20:14:35.116" v="7247" actId="478"/>
          <ac:cxnSpMkLst>
            <pc:docMk/>
            <pc:sldMk cId="326362598" sldId="579"/>
            <ac:cxnSpMk id="818" creationId="{1B7431EA-85F3-E6B3-F0C2-934BF7F28BEE}"/>
          </ac:cxnSpMkLst>
        </pc:cxnChg>
        <pc:cxnChg chg="del ord replST">
          <ac:chgData name="Bullinger, Marvin" userId="5b54ce5a-dc89-476f-af33-5abd75d5b1e8" providerId="ADAL" clId="{B18DB96A-0F1B-4B04-B169-68D0DF683527}" dt="2024-08-07T20:14:35.116" v="7248" actId="478"/>
          <ac:cxnSpMkLst>
            <pc:docMk/>
            <pc:sldMk cId="326362598" sldId="579"/>
            <ac:cxnSpMk id="819" creationId="{E009E0CA-8B52-9C75-C257-B5E436A72A6E}"/>
          </ac:cxnSpMkLst>
        </pc:cxnChg>
      </pc:sldChg>
      <pc:sldChg chg="addSp delSp modSp mod modNotesTx">
        <pc:chgData name="Bullinger, Marvin" userId="5b54ce5a-dc89-476f-af33-5abd75d5b1e8" providerId="ADAL" clId="{B18DB96A-0F1B-4B04-B169-68D0DF683527}" dt="2024-08-13T21:52:41.369" v="27437" actId="20577"/>
        <pc:sldMkLst>
          <pc:docMk/>
          <pc:sldMk cId="459806595" sldId="580"/>
        </pc:sldMkLst>
        <pc:spChg chg="del">
          <ac:chgData name="Bullinger, Marvin" userId="5b54ce5a-dc89-476f-af33-5abd75d5b1e8" providerId="ADAL" clId="{B18DB96A-0F1B-4B04-B169-68D0DF683527}" dt="2024-08-08T22:17:59.310" v="10159" actId="478"/>
          <ac:spMkLst>
            <pc:docMk/>
            <pc:sldMk cId="459806595" sldId="580"/>
            <ac:spMk id="646" creationId="{E968B5FF-B6C5-1E99-C899-3185471F3287}"/>
          </ac:spMkLst>
        </pc:spChg>
        <pc:spChg chg="add mod">
          <ac:chgData name="Bullinger, Marvin" userId="5b54ce5a-dc89-476f-af33-5abd75d5b1e8" providerId="ADAL" clId="{B18DB96A-0F1B-4B04-B169-68D0DF683527}" dt="2024-08-07T20:14:35.340" v="7374" actId="478"/>
          <ac:spMkLst>
            <pc:docMk/>
            <pc:sldMk cId="459806595" sldId="580"/>
            <ac:spMk id="745" creationId="{7A140C08-4C4A-6B10-0080-25BB26EF20AD}"/>
          </ac:spMkLst>
        </pc:spChg>
        <pc:spChg chg="add mod">
          <ac:chgData name="Bullinger, Marvin" userId="5b54ce5a-dc89-476f-af33-5abd75d5b1e8" providerId="ADAL" clId="{B18DB96A-0F1B-4B04-B169-68D0DF683527}" dt="2024-08-06T09:48:23.900" v="2482" actId="478"/>
          <ac:spMkLst>
            <pc:docMk/>
            <pc:sldMk cId="459806595" sldId="580"/>
            <ac:spMk id="745" creationId="{DB0719AC-6089-D1CB-FF77-C3A9A1EA88EC}"/>
          </ac:spMkLst>
        </pc:spChg>
        <pc:spChg chg="del mod ord replST">
          <ac:chgData name="Bullinger, Marvin" userId="5b54ce5a-dc89-476f-af33-5abd75d5b1e8" providerId="ADAL" clId="{B18DB96A-0F1B-4B04-B169-68D0DF683527}" dt="2024-08-07T20:14:35.340" v="7374" actId="478"/>
          <ac:spMkLst>
            <pc:docMk/>
            <pc:sldMk cId="459806595" sldId="580"/>
            <ac:spMk id="746" creationId="{550C4FDF-A138-91DD-76F6-B9298A9ADB7C}"/>
          </ac:spMkLst>
        </pc:spChg>
        <pc:spChg chg="del">
          <ac:chgData name="Bullinger, Marvin" userId="5b54ce5a-dc89-476f-af33-5abd75d5b1e8" providerId="ADAL" clId="{B18DB96A-0F1B-4B04-B169-68D0DF683527}" dt="2024-08-06T09:48:23.936" v="2518" actId="478"/>
          <ac:spMkLst>
            <pc:docMk/>
            <pc:sldMk cId="459806595" sldId="580"/>
            <ac:spMk id="747" creationId="{530D1B7D-5567-6710-F22D-812864AB2D0A}"/>
          </ac:spMkLst>
        </pc:spChg>
        <pc:spChg chg="mod ord replST">
          <ac:chgData name="Bullinger, Marvin" userId="5b54ce5a-dc89-476f-af33-5abd75d5b1e8" providerId="ADAL" clId="{B18DB96A-0F1B-4B04-B169-68D0DF683527}" dt="2024-08-07T20:14:36.041" v="7679"/>
          <ac:spMkLst>
            <pc:docMk/>
            <pc:sldMk cId="459806595" sldId="580"/>
            <ac:spMk id="747" creationId="{BAAD3856-4450-42F8-3789-1DA2AC61EDF6}"/>
          </ac:spMkLst>
        </pc:spChg>
        <pc:spChg chg="del">
          <ac:chgData name="Bullinger, Marvin" userId="5b54ce5a-dc89-476f-af33-5abd75d5b1e8" providerId="ADAL" clId="{B18DB96A-0F1B-4B04-B169-68D0DF683527}" dt="2024-08-07T20:14:35.403" v="7409" actId="478"/>
          <ac:spMkLst>
            <pc:docMk/>
            <pc:sldMk cId="459806595" sldId="580"/>
            <ac:spMk id="748" creationId="{1EDACF7E-8AA0-01E6-A4AA-2D0321A1B578}"/>
          </ac:spMkLst>
        </pc:spChg>
        <pc:spChg chg="del">
          <ac:chgData name="Bullinger, Marvin" userId="5b54ce5a-dc89-476f-af33-5abd75d5b1e8" providerId="ADAL" clId="{B18DB96A-0F1B-4B04-B169-68D0DF683527}" dt="2024-08-06T09:48:23.936" v="2517" actId="478"/>
          <ac:spMkLst>
            <pc:docMk/>
            <pc:sldMk cId="459806595" sldId="580"/>
            <ac:spMk id="748" creationId="{FBF7E95C-512C-4248-A8E4-6AFDCB1A54A6}"/>
          </ac:spMkLst>
        </pc:spChg>
        <pc:spChg chg="del">
          <ac:chgData name="Bullinger, Marvin" userId="5b54ce5a-dc89-476f-af33-5abd75d5b1e8" providerId="ADAL" clId="{B18DB96A-0F1B-4B04-B169-68D0DF683527}" dt="2024-08-07T20:14:35.403" v="7408" actId="478"/>
          <ac:spMkLst>
            <pc:docMk/>
            <pc:sldMk cId="459806595" sldId="580"/>
            <ac:spMk id="749" creationId="{A9B52441-981C-E215-2279-F76223E85B12}"/>
          </ac:spMkLst>
        </pc:spChg>
        <pc:spChg chg="del">
          <ac:chgData name="Bullinger, Marvin" userId="5b54ce5a-dc89-476f-af33-5abd75d5b1e8" providerId="ADAL" clId="{B18DB96A-0F1B-4B04-B169-68D0DF683527}" dt="2024-08-06T09:48:23.936" v="2516" actId="478"/>
          <ac:spMkLst>
            <pc:docMk/>
            <pc:sldMk cId="459806595" sldId="580"/>
            <ac:spMk id="749" creationId="{D9CBEDCA-93C4-C0BF-068D-44B37C9B37E8}"/>
          </ac:spMkLst>
        </pc:spChg>
        <pc:spChg chg="del">
          <ac:chgData name="Bullinger, Marvin" userId="5b54ce5a-dc89-476f-af33-5abd75d5b1e8" providerId="ADAL" clId="{B18DB96A-0F1B-4B04-B169-68D0DF683527}" dt="2024-08-06T09:48:23.931" v="2515" actId="478"/>
          <ac:spMkLst>
            <pc:docMk/>
            <pc:sldMk cId="459806595" sldId="580"/>
            <ac:spMk id="750" creationId="{339C7AFF-3235-CFA9-2A7D-2B14CC96D3DE}"/>
          </ac:spMkLst>
        </pc:spChg>
        <pc:spChg chg="del">
          <ac:chgData name="Bullinger, Marvin" userId="5b54ce5a-dc89-476f-af33-5abd75d5b1e8" providerId="ADAL" clId="{B18DB96A-0F1B-4B04-B169-68D0DF683527}" dt="2024-08-07T20:14:35.403" v="7407" actId="478"/>
          <ac:spMkLst>
            <pc:docMk/>
            <pc:sldMk cId="459806595" sldId="580"/>
            <ac:spMk id="750" creationId="{74A1E1F4-6B70-C7BF-89CD-90B4FCCA7ADB}"/>
          </ac:spMkLst>
        </pc:spChg>
        <pc:spChg chg="del">
          <ac:chgData name="Bullinger, Marvin" userId="5b54ce5a-dc89-476f-af33-5abd75d5b1e8" providerId="ADAL" clId="{B18DB96A-0F1B-4B04-B169-68D0DF683527}" dt="2024-08-07T20:14:35.403" v="7406" actId="478"/>
          <ac:spMkLst>
            <pc:docMk/>
            <pc:sldMk cId="459806595" sldId="580"/>
            <ac:spMk id="751" creationId="{3556447D-4B98-A998-21E7-A3ECBE56D3C1}"/>
          </ac:spMkLst>
        </pc:spChg>
        <pc:spChg chg="del">
          <ac:chgData name="Bullinger, Marvin" userId="5b54ce5a-dc89-476f-af33-5abd75d5b1e8" providerId="ADAL" clId="{B18DB96A-0F1B-4B04-B169-68D0DF683527}" dt="2024-08-06T09:48:23.931" v="2514" actId="478"/>
          <ac:spMkLst>
            <pc:docMk/>
            <pc:sldMk cId="459806595" sldId="580"/>
            <ac:spMk id="751" creationId="{853B5E90-6FFB-C9E2-1332-875EFD0B3BEF}"/>
          </ac:spMkLst>
        </pc:spChg>
        <pc:spChg chg="del">
          <ac:chgData name="Bullinger, Marvin" userId="5b54ce5a-dc89-476f-af33-5abd75d5b1e8" providerId="ADAL" clId="{B18DB96A-0F1B-4B04-B169-68D0DF683527}" dt="2024-08-06T09:48:23.931" v="2513" actId="478"/>
          <ac:spMkLst>
            <pc:docMk/>
            <pc:sldMk cId="459806595" sldId="580"/>
            <ac:spMk id="752" creationId="{514892FF-2A7C-C46D-0869-22C8F4E38717}"/>
          </ac:spMkLst>
        </pc:spChg>
        <pc:spChg chg="del">
          <ac:chgData name="Bullinger, Marvin" userId="5b54ce5a-dc89-476f-af33-5abd75d5b1e8" providerId="ADAL" clId="{B18DB96A-0F1B-4B04-B169-68D0DF683527}" dt="2024-08-07T20:14:35.403" v="7405" actId="478"/>
          <ac:spMkLst>
            <pc:docMk/>
            <pc:sldMk cId="459806595" sldId="580"/>
            <ac:spMk id="752" creationId="{5C7EB34B-D5E1-17F5-5AC6-9BD2B76EE713}"/>
          </ac:spMkLst>
        </pc:spChg>
        <pc:spChg chg="del">
          <ac:chgData name="Bullinger, Marvin" userId="5b54ce5a-dc89-476f-af33-5abd75d5b1e8" providerId="ADAL" clId="{B18DB96A-0F1B-4B04-B169-68D0DF683527}" dt="2024-08-06T09:48:23.931" v="2510" actId="478"/>
          <ac:spMkLst>
            <pc:docMk/>
            <pc:sldMk cId="459806595" sldId="580"/>
            <ac:spMk id="753" creationId="{319D4DF3-7DA1-18A7-B1E7-BC9A342FD2DE}"/>
          </ac:spMkLst>
        </pc:spChg>
        <pc:spChg chg="del">
          <ac:chgData name="Bullinger, Marvin" userId="5b54ce5a-dc89-476f-af33-5abd75d5b1e8" providerId="ADAL" clId="{B18DB96A-0F1B-4B04-B169-68D0DF683527}" dt="2024-08-07T20:14:35.403" v="7404" actId="478"/>
          <ac:spMkLst>
            <pc:docMk/>
            <pc:sldMk cId="459806595" sldId="580"/>
            <ac:spMk id="753" creationId="{8043AB31-925D-BA9E-476F-F67983400681}"/>
          </ac:spMkLst>
        </pc:spChg>
        <pc:spChg chg="del">
          <ac:chgData name="Bullinger, Marvin" userId="5b54ce5a-dc89-476f-af33-5abd75d5b1e8" providerId="ADAL" clId="{B18DB96A-0F1B-4B04-B169-68D0DF683527}" dt="2024-08-06T09:48:23.931" v="2509" actId="478"/>
          <ac:spMkLst>
            <pc:docMk/>
            <pc:sldMk cId="459806595" sldId="580"/>
            <ac:spMk id="754" creationId="{726F2259-DFB4-C9A4-F18B-C9F62EF0E4C0}"/>
          </ac:spMkLst>
        </pc:spChg>
        <pc:spChg chg="del">
          <ac:chgData name="Bullinger, Marvin" userId="5b54ce5a-dc89-476f-af33-5abd75d5b1e8" providerId="ADAL" clId="{B18DB96A-0F1B-4B04-B169-68D0DF683527}" dt="2024-08-07T20:14:35.403" v="7401" actId="478"/>
          <ac:spMkLst>
            <pc:docMk/>
            <pc:sldMk cId="459806595" sldId="580"/>
            <ac:spMk id="754" creationId="{F0BEE960-494C-383E-F88B-44035AC8264A}"/>
          </ac:spMkLst>
        </pc:spChg>
        <pc:spChg chg="del">
          <ac:chgData name="Bullinger, Marvin" userId="5b54ce5a-dc89-476f-af33-5abd75d5b1e8" providerId="ADAL" clId="{B18DB96A-0F1B-4B04-B169-68D0DF683527}" dt="2024-08-06T09:48:23.931" v="2508" actId="478"/>
          <ac:spMkLst>
            <pc:docMk/>
            <pc:sldMk cId="459806595" sldId="580"/>
            <ac:spMk id="755" creationId="{8C00C1EB-456D-C9BD-FE9E-A94E0F8C959D}"/>
          </ac:spMkLst>
        </pc:spChg>
        <pc:spChg chg="del">
          <ac:chgData name="Bullinger, Marvin" userId="5b54ce5a-dc89-476f-af33-5abd75d5b1e8" providerId="ADAL" clId="{B18DB96A-0F1B-4B04-B169-68D0DF683527}" dt="2024-08-07T20:14:35.388" v="7400" actId="478"/>
          <ac:spMkLst>
            <pc:docMk/>
            <pc:sldMk cId="459806595" sldId="580"/>
            <ac:spMk id="755" creationId="{FCBAEC58-5A6D-0BDD-C260-C999C5502EFA}"/>
          </ac:spMkLst>
        </pc:spChg>
        <pc:spChg chg="del">
          <ac:chgData name="Bullinger, Marvin" userId="5b54ce5a-dc89-476f-af33-5abd75d5b1e8" providerId="ADAL" clId="{B18DB96A-0F1B-4B04-B169-68D0DF683527}" dt="2024-08-06T09:48:23.931" v="2507" actId="478"/>
          <ac:spMkLst>
            <pc:docMk/>
            <pc:sldMk cId="459806595" sldId="580"/>
            <ac:spMk id="756" creationId="{3CDCEB0A-9450-709B-686C-DB0E0FF33DD3}"/>
          </ac:spMkLst>
        </pc:spChg>
        <pc:spChg chg="del">
          <ac:chgData name="Bullinger, Marvin" userId="5b54ce5a-dc89-476f-af33-5abd75d5b1e8" providerId="ADAL" clId="{B18DB96A-0F1B-4B04-B169-68D0DF683527}" dt="2024-08-07T20:14:35.388" v="7399" actId="478"/>
          <ac:spMkLst>
            <pc:docMk/>
            <pc:sldMk cId="459806595" sldId="580"/>
            <ac:spMk id="756" creationId="{B256774E-F9C5-BC20-AEE8-2716BB2DBD80}"/>
          </ac:spMkLst>
        </pc:spChg>
        <pc:spChg chg="del">
          <ac:chgData name="Bullinger, Marvin" userId="5b54ce5a-dc89-476f-af33-5abd75d5b1e8" providerId="ADAL" clId="{B18DB96A-0F1B-4B04-B169-68D0DF683527}" dt="2024-08-07T20:14:35.388" v="7398" actId="478"/>
          <ac:spMkLst>
            <pc:docMk/>
            <pc:sldMk cId="459806595" sldId="580"/>
            <ac:spMk id="757" creationId="{B66BACCF-47DD-36D5-A8D2-E96D309D608C}"/>
          </ac:spMkLst>
        </pc:spChg>
        <pc:spChg chg="del">
          <ac:chgData name="Bullinger, Marvin" userId="5b54ce5a-dc89-476f-af33-5abd75d5b1e8" providerId="ADAL" clId="{B18DB96A-0F1B-4B04-B169-68D0DF683527}" dt="2024-08-06T09:48:23.931" v="2506" actId="478"/>
          <ac:spMkLst>
            <pc:docMk/>
            <pc:sldMk cId="459806595" sldId="580"/>
            <ac:spMk id="757" creationId="{DEAC38DA-9859-DD0B-69A5-064C03EE7911}"/>
          </ac:spMkLst>
        </pc:spChg>
        <pc:spChg chg="del">
          <ac:chgData name="Bullinger, Marvin" userId="5b54ce5a-dc89-476f-af33-5abd75d5b1e8" providerId="ADAL" clId="{B18DB96A-0F1B-4B04-B169-68D0DF683527}" dt="2024-08-07T20:14:35.388" v="7397" actId="478"/>
          <ac:spMkLst>
            <pc:docMk/>
            <pc:sldMk cId="459806595" sldId="580"/>
            <ac:spMk id="758" creationId="{55CC73C9-5EB8-B3E4-BF8A-07770B45DA70}"/>
          </ac:spMkLst>
        </pc:spChg>
        <pc:spChg chg="del">
          <ac:chgData name="Bullinger, Marvin" userId="5b54ce5a-dc89-476f-af33-5abd75d5b1e8" providerId="ADAL" clId="{B18DB96A-0F1B-4B04-B169-68D0DF683527}" dt="2024-08-06T09:48:23.900" v="2482" actId="478"/>
          <ac:spMkLst>
            <pc:docMk/>
            <pc:sldMk cId="459806595" sldId="580"/>
            <ac:spMk id="758" creationId="{7562AFC7-4BC4-1567-917A-FABD3A69D149}"/>
          </ac:spMkLst>
        </pc:spChg>
        <pc:spChg chg="del">
          <ac:chgData name="Bullinger, Marvin" userId="5b54ce5a-dc89-476f-af33-5abd75d5b1e8" providerId="ADAL" clId="{B18DB96A-0F1B-4B04-B169-68D0DF683527}" dt="2024-08-07T20:14:35.388" v="7396" actId="478"/>
          <ac:spMkLst>
            <pc:docMk/>
            <pc:sldMk cId="459806595" sldId="580"/>
            <ac:spMk id="759" creationId="{2AE5112D-B1D2-89DD-7CB1-8D7D422453C0}"/>
          </ac:spMkLst>
        </pc:spChg>
        <pc:spChg chg="del">
          <ac:chgData name="Bullinger, Marvin" userId="5b54ce5a-dc89-476f-af33-5abd75d5b1e8" providerId="ADAL" clId="{B18DB96A-0F1B-4B04-B169-68D0DF683527}" dt="2024-08-06T09:48:23.931" v="2505" actId="478"/>
          <ac:spMkLst>
            <pc:docMk/>
            <pc:sldMk cId="459806595" sldId="580"/>
            <ac:spMk id="759" creationId="{FAE833E7-9335-DF14-5497-DEE9A34E03DA}"/>
          </ac:spMkLst>
        </pc:spChg>
        <pc:spChg chg="del">
          <ac:chgData name="Bullinger, Marvin" userId="5b54ce5a-dc89-476f-af33-5abd75d5b1e8" providerId="ADAL" clId="{B18DB96A-0F1B-4B04-B169-68D0DF683527}" dt="2024-08-06T09:48:23.936" v="2526" actId="478"/>
          <ac:spMkLst>
            <pc:docMk/>
            <pc:sldMk cId="459806595" sldId="580"/>
            <ac:spMk id="760" creationId="{3BB23320-4EE5-FF2D-C3D2-820E14B67BCB}"/>
          </ac:spMkLst>
        </pc:spChg>
        <pc:spChg chg="del">
          <ac:chgData name="Bullinger, Marvin" userId="5b54ce5a-dc89-476f-af33-5abd75d5b1e8" providerId="ADAL" clId="{B18DB96A-0F1B-4B04-B169-68D0DF683527}" dt="2024-08-07T20:14:35.403" v="7417" actId="478"/>
          <ac:spMkLst>
            <pc:docMk/>
            <pc:sldMk cId="459806595" sldId="580"/>
            <ac:spMk id="760" creationId="{FAC17D04-AE11-782E-A344-77D257AC8E85}"/>
          </ac:spMkLst>
        </pc:spChg>
        <pc:spChg chg="del">
          <ac:chgData name="Bullinger, Marvin" userId="5b54ce5a-dc89-476f-af33-5abd75d5b1e8" providerId="ADAL" clId="{B18DB96A-0F1B-4B04-B169-68D0DF683527}" dt="2024-08-07T20:14:35.403" v="7416" actId="478"/>
          <ac:spMkLst>
            <pc:docMk/>
            <pc:sldMk cId="459806595" sldId="580"/>
            <ac:spMk id="761" creationId="{0004C7FF-F265-3082-E009-801D7E17074A}"/>
          </ac:spMkLst>
        </pc:spChg>
        <pc:spChg chg="del">
          <ac:chgData name="Bullinger, Marvin" userId="5b54ce5a-dc89-476f-af33-5abd75d5b1e8" providerId="ADAL" clId="{B18DB96A-0F1B-4B04-B169-68D0DF683527}" dt="2024-08-06T09:48:23.936" v="2525" actId="478"/>
          <ac:spMkLst>
            <pc:docMk/>
            <pc:sldMk cId="459806595" sldId="580"/>
            <ac:spMk id="761" creationId="{6F08E0FD-E526-1811-4A4E-631C11539865}"/>
          </ac:spMkLst>
        </pc:spChg>
        <pc:spChg chg="del">
          <ac:chgData name="Bullinger, Marvin" userId="5b54ce5a-dc89-476f-af33-5abd75d5b1e8" providerId="ADAL" clId="{B18DB96A-0F1B-4B04-B169-68D0DF683527}" dt="2024-08-07T20:14:35.403" v="7415" actId="478"/>
          <ac:spMkLst>
            <pc:docMk/>
            <pc:sldMk cId="459806595" sldId="580"/>
            <ac:spMk id="762" creationId="{371CF26B-9B96-FED2-2A16-3F7AFBB65BE2}"/>
          </ac:spMkLst>
        </pc:spChg>
        <pc:spChg chg="del">
          <ac:chgData name="Bullinger, Marvin" userId="5b54ce5a-dc89-476f-af33-5abd75d5b1e8" providerId="ADAL" clId="{B18DB96A-0F1B-4B04-B169-68D0DF683527}" dt="2024-08-06T09:48:23.936" v="2524" actId="478"/>
          <ac:spMkLst>
            <pc:docMk/>
            <pc:sldMk cId="459806595" sldId="580"/>
            <ac:spMk id="762" creationId="{6101CE0F-86EA-5BCE-C3EF-9255F2EEE6A1}"/>
          </ac:spMkLst>
        </pc:spChg>
        <pc:spChg chg="del">
          <ac:chgData name="Bullinger, Marvin" userId="5b54ce5a-dc89-476f-af33-5abd75d5b1e8" providerId="ADAL" clId="{B18DB96A-0F1B-4B04-B169-68D0DF683527}" dt="2024-08-06T09:48:23.936" v="2523" actId="478"/>
          <ac:spMkLst>
            <pc:docMk/>
            <pc:sldMk cId="459806595" sldId="580"/>
            <ac:spMk id="763" creationId="{20D14C76-29B5-F9CC-8B8C-8BBD25281FD3}"/>
          </ac:spMkLst>
        </pc:spChg>
        <pc:spChg chg="del">
          <ac:chgData name="Bullinger, Marvin" userId="5b54ce5a-dc89-476f-af33-5abd75d5b1e8" providerId="ADAL" clId="{B18DB96A-0F1B-4B04-B169-68D0DF683527}" dt="2024-08-07T20:14:35.403" v="7414" actId="478"/>
          <ac:spMkLst>
            <pc:docMk/>
            <pc:sldMk cId="459806595" sldId="580"/>
            <ac:spMk id="763" creationId="{41491D94-B9EA-0670-E3B3-0D2C6B55683E}"/>
          </ac:spMkLst>
        </pc:spChg>
        <pc:spChg chg="del">
          <ac:chgData name="Bullinger, Marvin" userId="5b54ce5a-dc89-476f-af33-5abd75d5b1e8" providerId="ADAL" clId="{B18DB96A-0F1B-4B04-B169-68D0DF683527}" dt="2024-08-07T20:14:35.403" v="7413" actId="478"/>
          <ac:spMkLst>
            <pc:docMk/>
            <pc:sldMk cId="459806595" sldId="580"/>
            <ac:spMk id="764" creationId="{6EAFB771-13FF-7DDE-5F47-246CDA908B23}"/>
          </ac:spMkLst>
        </pc:spChg>
        <pc:spChg chg="del">
          <ac:chgData name="Bullinger, Marvin" userId="5b54ce5a-dc89-476f-af33-5abd75d5b1e8" providerId="ADAL" clId="{B18DB96A-0F1B-4B04-B169-68D0DF683527}" dt="2024-08-06T09:48:23.936" v="2522" actId="478"/>
          <ac:spMkLst>
            <pc:docMk/>
            <pc:sldMk cId="459806595" sldId="580"/>
            <ac:spMk id="764" creationId="{CF8A0702-AA3E-9759-3D6C-17A93F3C238F}"/>
          </ac:spMkLst>
        </pc:spChg>
        <pc:spChg chg="del">
          <ac:chgData name="Bullinger, Marvin" userId="5b54ce5a-dc89-476f-af33-5abd75d5b1e8" providerId="ADAL" clId="{B18DB96A-0F1B-4B04-B169-68D0DF683527}" dt="2024-08-06T09:48:23.936" v="2521" actId="478"/>
          <ac:spMkLst>
            <pc:docMk/>
            <pc:sldMk cId="459806595" sldId="580"/>
            <ac:spMk id="765" creationId="{3663A32E-E41C-5E5E-2916-D5E91D1D091B}"/>
          </ac:spMkLst>
        </pc:spChg>
        <pc:spChg chg="del">
          <ac:chgData name="Bullinger, Marvin" userId="5b54ce5a-dc89-476f-af33-5abd75d5b1e8" providerId="ADAL" clId="{B18DB96A-0F1B-4B04-B169-68D0DF683527}" dt="2024-08-07T20:14:35.403" v="7412" actId="478"/>
          <ac:spMkLst>
            <pc:docMk/>
            <pc:sldMk cId="459806595" sldId="580"/>
            <ac:spMk id="765" creationId="{D616E500-7EA5-7C64-880F-9F9F4CD96393}"/>
          </ac:spMkLst>
        </pc:spChg>
        <pc:spChg chg="del">
          <ac:chgData name="Bullinger, Marvin" userId="5b54ce5a-dc89-476f-af33-5abd75d5b1e8" providerId="ADAL" clId="{B18DB96A-0F1B-4B04-B169-68D0DF683527}" dt="2024-08-07T20:14:35.403" v="7411" actId="478"/>
          <ac:spMkLst>
            <pc:docMk/>
            <pc:sldMk cId="459806595" sldId="580"/>
            <ac:spMk id="766" creationId="{BDD1B968-0AFB-3BE2-4969-7DC9C897DFFC}"/>
          </ac:spMkLst>
        </pc:spChg>
        <pc:spChg chg="del">
          <ac:chgData name="Bullinger, Marvin" userId="5b54ce5a-dc89-476f-af33-5abd75d5b1e8" providerId="ADAL" clId="{B18DB96A-0F1B-4B04-B169-68D0DF683527}" dt="2024-08-06T09:48:23.936" v="2520" actId="478"/>
          <ac:spMkLst>
            <pc:docMk/>
            <pc:sldMk cId="459806595" sldId="580"/>
            <ac:spMk id="766" creationId="{C564BCC6-A59B-77BD-C920-AF1E602EC25E}"/>
          </ac:spMkLst>
        </pc:spChg>
        <pc:spChg chg="del">
          <ac:chgData name="Bullinger, Marvin" userId="5b54ce5a-dc89-476f-af33-5abd75d5b1e8" providerId="ADAL" clId="{B18DB96A-0F1B-4B04-B169-68D0DF683527}" dt="2024-08-07T20:14:35.403" v="7410" actId="478"/>
          <ac:spMkLst>
            <pc:docMk/>
            <pc:sldMk cId="459806595" sldId="580"/>
            <ac:spMk id="767" creationId="{41ED1567-2CD0-A72A-418A-9FBD93485882}"/>
          </ac:spMkLst>
        </pc:spChg>
        <pc:spChg chg="del">
          <ac:chgData name="Bullinger, Marvin" userId="5b54ce5a-dc89-476f-af33-5abd75d5b1e8" providerId="ADAL" clId="{B18DB96A-0F1B-4B04-B169-68D0DF683527}" dt="2024-08-06T09:48:23.936" v="2519" actId="478"/>
          <ac:spMkLst>
            <pc:docMk/>
            <pc:sldMk cId="459806595" sldId="580"/>
            <ac:spMk id="767" creationId="{6501F77C-4085-37EC-F07D-BA6070FAC0CB}"/>
          </ac:spMkLst>
        </pc:spChg>
        <pc:spChg chg="del">
          <ac:chgData name="Bullinger, Marvin" userId="5b54ce5a-dc89-476f-af33-5abd75d5b1e8" providerId="ADAL" clId="{B18DB96A-0F1B-4B04-B169-68D0DF683527}" dt="2024-08-06T09:48:23.931" v="2511" actId="478"/>
          <ac:spMkLst>
            <pc:docMk/>
            <pc:sldMk cId="459806595" sldId="580"/>
            <ac:spMk id="768" creationId="{963AFB0F-F77B-8A4F-6815-33D51EC71DBD}"/>
          </ac:spMkLst>
        </pc:spChg>
        <pc:spChg chg="del">
          <ac:chgData name="Bullinger, Marvin" userId="5b54ce5a-dc89-476f-af33-5abd75d5b1e8" providerId="ADAL" clId="{B18DB96A-0F1B-4B04-B169-68D0DF683527}" dt="2024-08-07T20:14:35.403" v="7402" actId="478"/>
          <ac:spMkLst>
            <pc:docMk/>
            <pc:sldMk cId="459806595" sldId="580"/>
            <ac:spMk id="768" creationId="{F5E0AD73-1411-E633-A9E9-2354036D65D1}"/>
          </ac:spMkLst>
        </pc:spChg>
        <pc:spChg chg="del">
          <ac:chgData name="Bullinger, Marvin" userId="5b54ce5a-dc89-476f-af33-5abd75d5b1e8" providerId="ADAL" clId="{B18DB96A-0F1B-4B04-B169-68D0DF683527}" dt="2024-08-06T09:48:23.931" v="2504" actId="478"/>
          <ac:spMkLst>
            <pc:docMk/>
            <pc:sldMk cId="459806595" sldId="580"/>
            <ac:spMk id="769" creationId="{456FCCA1-5EB7-926D-581B-B27BC33D610B}"/>
          </ac:spMkLst>
        </pc:spChg>
        <pc:spChg chg="del">
          <ac:chgData name="Bullinger, Marvin" userId="5b54ce5a-dc89-476f-af33-5abd75d5b1e8" providerId="ADAL" clId="{B18DB96A-0F1B-4B04-B169-68D0DF683527}" dt="2024-08-07T20:14:35.388" v="7395" actId="478"/>
          <ac:spMkLst>
            <pc:docMk/>
            <pc:sldMk cId="459806595" sldId="580"/>
            <ac:spMk id="769" creationId="{8BA95300-D7E6-EDD9-170A-F815E9975A90}"/>
          </ac:spMkLst>
        </pc:spChg>
        <pc:spChg chg="del">
          <ac:chgData name="Bullinger, Marvin" userId="5b54ce5a-dc89-476f-af33-5abd75d5b1e8" providerId="ADAL" clId="{B18DB96A-0F1B-4B04-B169-68D0DF683527}" dt="2024-08-06T09:48:23.931" v="2512" actId="478"/>
          <ac:spMkLst>
            <pc:docMk/>
            <pc:sldMk cId="459806595" sldId="580"/>
            <ac:spMk id="770" creationId="{3C166934-2277-7E12-6528-92EBA20B0E0B}"/>
          </ac:spMkLst>
        </pc:spChg>
        <pc:spChg chg="del">
          <ac:chgData name="Bullinger, Marvin" userId="5b54ce5a-dc89-476f-af33-5abd75d5b1e8" providerId="ADAL" clId="{B18DB96A-0F1B-4B04-B169-68D0DF683527}" dt="2024-08-07T20:14:35.403" v="7403" actId="478"/>
          <ac:spMkLst>
            <pc:docMk/>
            <pc:sldMk cId="459806595" sldId="580"/>
            <ac:spMk id="770" creationId="{5B8E5720-1A07-9860-AA67-479E855FC996}"/>
          </ac:spMkLst>
        </pc:spChg>
        <pc:spChg chg="del">
          <ac:chgData name="Bullinger, Marvin" userId="5b54ce5a-dc89-476f-af33-5abd75d5b1e8" providerId="ADAL" clId="{B18DB96A-0F1B-4B04-B169-68D0DF683527}" dt="2024-08-06T09:48:23.931" v="2503" actId="478"/>
          <ac:spMkLst>
            <pc:docMk/>
            <pc:sldMk cId="459806595" sldId="580"/>
            <ac:spMk id="771" creationId="{46D1D928-5CE1-E993-45B4-A9CB660A7A8A}"/>
          </ac:spMkLst>
        </pc:spChg>
        <pc:spChg chg="del">
          <ac:chgData name="Bullinger, Marvin" userId="5b54ce5a-dc89-476f-af33-5abd75d5b1e8" providerId="ADAL" clId="{B18DB96A-0F1B-4B04-B169-68D0DF683527}" dt="2024-08-07T20:14:35.388" v="7394" actId="478"/>
          <ac:spMkLst>
            <pc:docMk/>
            <pc:sldMk cId="459806595" sldId="580"/>
            <ac:spMk id="771" creationId="{B3CF4D0B-3202-55C4-0A91-DE4919C5B1FA}"/>
          </ac:spMkLst>
        </pc:spChg>
        <pc:spChg chg="del">
          <ac:chgData name="Bullinger, Marvin" userId="5b54ce5a-dc89-476f-af33-5abd75d5b1e8" providerId="ADAL" clId="{B18DB96A-0F1B-4B04-B169-68D0DF683527}" dt="2024-08-06T09:48:23.916" v="2502" actId="478"/>
          <ac:spMkLst>
            <pc:docMk/>
            <pc:sldMk cId="459806595" sldId="580"/>
            <ac:spMk id="772" creationId="{57C27357-47CA-2919-4229-9323A8BFFCE1}"/>
          </ac:spMkLst>
        </pc:spChg>
        <pc:spChg chg="del">
          <ac:chgData name="Bullinger, Marvin" userId="5b54ce5a-dc89-476f-af33-5abd75d5b1e8" providerId="ADAL" clId="{B18DB96A-0F1B-4B04-B169-68D0DF683527}" dt="2024-08-07T20:14:35.388" v="7393" actId="478"/>
          <ac:spMkLst>
            <pc:docMk/>
            <pc:sldMk cId="459806595" sldId="580"/>
            <ac:spMk id="772" creationId="{7CC10060-306F-8AA4-BF00-FA41C9B3FAD2}"/>
          </ac:spMkLst>
        </pc:spChg>
        <pc:spChg chg="del">
          <ac:chgData name="Bullinger, Marvin" userId="5b54ce5a-dc89-476f-af33-5abd75d5b1e8" providerId="ADAL" clId="{B18DB96A-0F1B-4B04-B169-68D0DF683527}" dt="2024-08-06T09:48:23.916" v="2501" actId="478"/>
          <ac:spMkLst>
            <pc:docMk/>
            <pc:sldMk cId="459806595" sldId="580"/>
            <ac:spMk id="773" creationId="{68EE60A1-5B38-7657-DFFD-52A5EE5BBFD6}"/>
          </ac:spMkLst>
        </pc:spChg>
        <pc:spChg chg="del">
          <ac:chgData name="Bullinger, Marvin" userId="5b54ce5a-dc89-476f-af33-5abd75d5b1e8" providerId="ADAL" clId="{B18DB96A-0F1B-4B04-B169-68D0DF683527}" dt="2024-08-07T20:14:35.388" v="7392" actId="478"/>
          <ac:spMkLst>
            <pc:docMk/>
            <pc:sldMk cId="459806595" sldId="580"/>
            <ac:spMk id="773" creationId="{E913E4DC-9A81-07A9-227E-BA2422B84BC1}"/>
          </ac:spMkLst>
        </pc:spChg>
        <pc:spChg chg="del">
          <ac:chgData name="Bullinger, Marvin" userId="5b54ce5a-dc89-476f-af33-5abd75d5b1e8" providerId="ADAL" clId="{B18DB96A-0F1B-4B04-B169-68D0DF683527}" dt="2024-08-06T09:48:23.916" v="2500" actId="478"/>
          <ac:spMkLst>
            <pc:docMk/>
            <pc:sldMk cId="459806595" sldId="580"/>
            <ac:spMk id="774" creationId="{18EAAB25-605F-2B9A-D23A-9CA9822B4284}"/>
          </ac:spMkLst>
        </pc:spChg>
        <pc:spChg chg="del">
          <ac:chgData name="Bullinger, Marvin" userId="5b54ce5a-dc89-476f-af33-5abd75d5b1e8" providerId="ADAL" clId="{B18DB96A-0F1B-4B04-B169-68D0DF683527}" dt="2024-08-07T20:14:35.388" v="7391" actId="478"/>
          <ac:spMkLst>
            <pc:docMk/>
            <pc:sldMk cId="459806595" sldId="580"/>
            <ac:spMk id="774" creationId="{647010FD-AC27-B3C7-412F-BB4415FBAFFA}"/>
          </ac:spMkLst>
        </pc:spChg>
        <pc:spChg chg="del">
          <ac:chgData name="Bullinger, Marvin" userId="5b54ce5a-dc89-476f-af33-5abd75d5b1e8" providerId="ADAL" clId="{B18DB96A-0F1B-4B04-B169-68D0DF683527}" dt="2024-08-06T09:48:23.916" v="2499" actId="478"/>
          <ac:spMkLst>
            <pc:docMk/>
            <pc:sldMk cId="459806595" sldId="580"/>
            <ac:spMk id="775" creationId="{6EEDADD1-E384-5FAE-CC83-F80D4F9E0DE4}"/>
          </ac:spMkLst>
        </pc:spChg>
        <pc:spChg chg="del">
          <ac:chgData name="Bullinger, Marvin" userId="5b54ce5a-dc89-476f-af33-5abd75d5b1e8" providerId="ADAL" clId="{B18DB96A-0F1B-4B04-B169-68D0DF683527}" dt="2024-08-07T20:14:35.388" v="7390" actId="478"/>
          <ac:spMkLst>
            <pc:docMk/>
            <pc:sldMk cId="459806595" sldId="580"/>
            <ac:spMk id="775" creationId="{C3D9DDF3-2B34-744F-5A14-E17E15DE0C7E}"/>
          </ac:spMkLst>
        </pc:spChg>
        <pc:spChg chg="del">
          <ac:chgData name="Bullinger, Marvin" userId="5b54ce5a-dc89-476f-af33-5abd75d5b1e8" providerId="ADAL" clId="{B18DB96A-0F1B-4B04-B169-68D0DF683527}" dt="2024-08-06T09:48:23.916" v="2498" actId="478"/>
          <ac:spMkLst>
            <pc:docMk/>
            <pc:sldMk cId="459806595" sldId="580"/>
            <ac:spMk id="776" creationId="{15949F86-4823-2404-86AD-FC2F78D5A634}"/>
          </ac:spMkLst>
        </pc:spChg>
        <pc:spChg chg="del">
          <ac:chgData name="Bullinger, Marvin" userId="5b54ce5a-dc89-476f-af33-5abd75d5b1e8" providerId="ADAL" clId="{B18DB96A-0F1B-4B04-B169-68D0DF683527}" dt="2024-08-07T20:14:35.388" v="7389" actId="478"/>
          <ac:spMkLst>
            <pc:docMk/>
            <pc:sldMk cId="459806595" sldId="580"/>
            <ac:spMk id="776" creationId="{49C2294D-ADB7-42D1-B566-F69F17A830E7}"/>
          </ac:spMkLst>
        </pc:spChg>
        <pc:spChg chg="del">
          <ac:chgData name="Bullinger, Marvin" userId="5b54ce5a-dc89-476f-af33-5abd75d5b1e8" providerId="ADAL" clId="{B18DB96A-0F1B-4B04-B169-68D0DF683527}" dt="2024-08-06T09:48:23.916" v="2497" actId="478"/>
          <ac:spMkLst>
            <pc:docMk/>
            <pc:sldMk cId="459806595" sldId="580"/>
            <ac:spMk id="777" creationId="{EA04E0E5-5A68-6AE1-4633-A4F08925A7FC}"/>
          </ac:spMkLst>
        </pc:spChg>
        <pc:spChg chg="del">
          <ac:chgData name="Bullinger, Marvin" userId="5b54ce5a-dc89-476f-af33-5abd75d5b1e8" providerId="ADAL" clId="{B18DB96A-0F1B-4B04-B169-68D0DF683527}" dt="2024-08-07T20:14:35.388" v="7388" actId="478"/>
          <ac:spMkLst>
            <pc:docMk/>
            <pc:sldMk cId="459806595" sldId="580"/>
            <ac:spMk id="777" creationId="{F5DCF654-94BF-CE33-7256-3F3846B1F8E1}"/>
          </ac:spMkLst>
        </pc:spChg>
        <pc:spChg chg="del">
          <ac:chgData name="Bullinger, Marvin" userId="5b54ce5a-dc89-476f-af33-5abd75d5b1e8" providerId="ADAL" clId="{B18DB96A-0F1B-4B04-B169-68D0DF683527}" dt="2024-08-06T09:48:23.916" v="2496" actId="478"/>
          <ac:spMkLst>
            <pc:docMk/>
            <pc:sldMk cId="459806595" sldId="580"/>
            <ac:spMk id="778" creationId="{8608A7C0-597A-E525-C8B7-90B6DDB15A8A}"/>
          </ac:spMkLst>
        </pc:spChg>
        <pc:spChg chg="del">
          <ac:chgData name="Bullinger, Marvin" userId="5b54ce5a-dc89-476f-af33-5abd75d5b1e8" providerId="ADAL" clId="{B18DB96A-0F1B-4B04-B169-68D0DF683527}" dt="2024-08-07T20:14:35.388" v="7387" actId="478"/>
          <ac:spMkLst>
            <pc:docMk/>
            <pc:sldMk cId="459806595" sldId="580"/>
            <ac:spMk id="778" creationId="{D71CE158-D90E-7A05-5D1C-3F1D795F0B94}"/>
          </ac:spMkLst>
        </pc:spChg>
        <pc:spChg chg="del">
          <ac:chgData name="Bullinger, Marvin" userId="5b54ce5a-dc89-476f-af33-5abd75d5b1e8" providerId="ADAL" clId="{B18DB96A-0F1B-4B04-B169-68D0DF683527}" dt="2024-08-07T20:14:35.388" v="7386" actId="478"/>
          <ac:spMkLst>
            <pc:docMk/>
            <pc:sldMk cId="459806595" sldId="580"/>
            <ac:spMk id="779" creationId="{08F76D7B-32B5-4C87-D17A-D5F472B0B3A6}"/>
          </ac:spMkLst>
        </pc:spChg>
        <pc:spChg chg="del">
          <ac:chgData name="Bullinger, Marvin" userId="5b54ce5a-dc89-476f-af33-5abd75d5b1e8" providerId="ADAL" clId="{B18DB96A-0F1B-4B04-B169-68D0DF683527}" dt="2024-08-06T09:48:23.916" v="2495" actId="478"/>
          <ac:spMkLst>
            <pc:docMk/>
            <pc:sldMk cId="459806595" sldId="580"/>
            <ac:spMk id="779" creationId="{14DB68EA-0107-35EE-F567-A44497B966A6}"/>
          </ac:spMkLst>
        </pc:spChg>
        <pc:spChg chg="del">
          <ac:chgData name="Bullinger, Marvin" userId="5b54ce5a-dc89-476f-af33-5abd75d5b1e8" providerId="ADAL" clId="{B18DB96A-0F1B-4B04-B169-68D0DF683527}" dt="2024-08-06T09:48:23.916" v="2494" actId="478"/>
          <ac:spMkLst>
            <pc:docMk/>
            <pc:sldMk cId="459806595" sldId="580"/>
            <ac:spMk id="780" creationId="{36D1B245-4BD7-CEFD-751C-CF709ED1DDCD}"/>
          </ac:spMkLst>
        </pc:spChg>
        <pc:spChg chg="del">
          <ac:chgData name="Bullinger, Marvin" userId="5b54ce5a-dc89-476f-af33-5abd75d5b1e8" providerId="ADAL" clId="{B18DB96A-0F1B-4B04-B169-68D0DF683527}" dt="2024-08-07T20:14:35.388" v="7385" actId="478"/>
          <ac:spMkLst>
            <pc:docMk/>
            <pc:sldMk cId="459806595" sldId="580"/>
            <ac:spMk id="780" creationId="{A31421A8-6A55-9D96-7E84-B787B7DECF13}"/>
          </ac:spMkLst>
        </pc:spChg>
        <pc:spChg chg="del">
          <ac:chgData name="Bullinger, Marvin" userId="5b54ce5a-dc89-476f-af33-5abd75d5b1e8" providerId="ADAL" clId="{B18DB96A-0F1B-4B04-B169-68D0DF683527}" dt="2024-08-06T09:48:23.916" v="2493" actId="478"/>
          <ac:spMkLst>
            <pc:docMk/>
            <pc:sldMk cId="459806595" sldId="580"/>
            <ac:spMk id="781" creationId="{BD5F21C1-DD0E-BA60-6004-D369218D6348}"/>
          </ac:spMkLst>
        </pc:spChg>
        <pc:spChg chg="del">
          <ac:chgData name="Bullinger, Marvin" userId="5b54ce5a-dc89-476f-af33-5abd75d5b1e8" providerId="ADAL" clId="{B18DB96A-0F1B-4B04-B169-68D0DF683527}" dt="2024-08-07T20:14:35.388" v="7384" actId="478"/>
          <ac:spMkLst>
            <pc:docMk/>
            <pc:sldMk cId="459806595" sldId="580"/>
            <ac:spMk id="781" creationId="{D21DEBF5-ECE1-DA98-E1CE-3045F9F06E42}"/>
          </ac:spMkLst>
        </pc:spChg>
        <pc:spChg chg="del">
          <ac:chgData name="Bullinger, Marvin" userId="5b54ce5a-dc89-476f-af33-5abd75d5b1e8" providerId="ADAL" clId="{B18DB96A-0F1B-4B04-B169-68D0DF683527}" dt="2024-08-06T09:48:23.916" v="2492" actId="478"/>
          <ac:spMkLst>
            <pc:docMk/>
            <pc:sldMk cId="459806595" sldId="580"/>
            <ac:spMk id="782" creationId="{3B001548-8097-4588-C924-13F42AEAEA8E}"/>
          </ac:spMkLst>
        </pc:spChg>
        <pc:spChg chg="del">
          <ac:chgData name="Bullinger, Marvin" userId="5b54ce5a-dc89-476f-af33-5abd75d5b1e8" providerId="ADAL" clId="{B18DB96A-0F1B-4B04-B169-68D0DF683527}" dt="2024-08-07T20:14:35.388" v="7383" actId="478"/>
          <ac:spMkLst>
            <pc:docMk/>
            <pc:sldMk cId="459806595" sldId="580"/>
            <ac:spMk id="782" creationId="{F767BF3A-46E6-07C2-48C2-038976E64A31}"/>
          </ac:spMkLst>
        </pc:spChg>
        <pc:spChg chg="del">
          <ac:chgData name="Bullinger, Marvin" userId="5b54ce5a-dc89-476f-af33-5abd75d5b1e8" providerId="ADAL" clId="{B18DB96A-0F1B-4B04-B169-68D0DF683527}" dt="2024-08-06T09:48:23.916" v="2491" actId="478"/>
          <ac:spMkLst>
            <pc:docMk/>
            <pc:sldMk cId="459806595" sldId="580"/>
            <ac:spMk id="783" creationId="{59799FC2-1862-E49A-F414-4D41D6319520}"/>
          </ac:spMkLst>
        </pc:spChg>
        <pc:spChg chg="del">
          <ac:chgData name="Bullinger, Marvin" userId="5b54ce5a-dc89-476f-af33-5abd75d5b1e8" providerId="ADAL" clId="{B18DB96A-0F1B-4B04-B169-68D0DF683527}" dt="2024-08-07T20:14:35.388" v="7382" actId="478"/>
          <ac:spMkLst>
            <pc:docMk/>
            <pc:sldMk cId="459806595" sldId="580"/>
            <ac:spMk id="783" creationId="{D4510B0E-3F8E-1218-CE80-72182B51724C}"/>
          </ac:spMkLst>
        </pc:spChg>
        <pc:spChg chg="del">
          <ac:chgData name="Bullinger, Marvin" userId="5b54ce5a-dc89-476f-af33-5abd75d5b1e8" providerId="ADAL" clId="{B18DB96A-0F1B-4B04-B169-68D0DF683527}" dt="2024-08-07T20:14:35.388" v="7381" actId="478"/>
          <ac:spMkLst>
            <pc:docMk/>
            <pc:sldMk cId="459806595" sldId="580"/>
            <ac:spMk id="784" creationId="{2B43DE6E-4347-440A-1928-E1307E7CD067}"/>
          </ac:spMkLst>
        </pc:spChg>
        <pc:spChg chg="del">
          <ac:chgData name="Bullinger, Marvin" userId="5b54ce5a-dc89-476f-af33-5abd75d5b1e8" providerId="ADAL" clId="{B18DB96A-0F1B-4B04-B169-68D0DF683527}" dt="2024-08-06T09:48:23.916" v="2490" actId="478"/>
          <ac:spMkLst>
            <pc:docMk/>
            <pc:sldMk cId="459806595" sldId="580"/>
            <ac:spMk id="784" creationId="{D06D577A-2261-04D7-78A2-24405CA75CD7}"/>
          </ac:spMkLst>
        </pc:spChg>
        <pc:spChg chg="replST">
          <ac:chgData name="Bullinger, Marvin" userId="5b54ce5a-dc89-476f-af33-5abd75d5b1e8" providerId="ADAL" clId="{B18DB96A-0F1B-4B04-B169-68D0DF683527}" dt="2024-08-06T09:48:24.327" v="2756"/>
          <ac:spMkLst>
            <pc:docMk/>
            <pc:sldMk cId="459806595" sldId="580"/>
            <ac:spMk id="785" creationId="{9AEB5E3F-B8EA-3548-3DC0-D8B693793879}"/>
          </ac:spMkLst>
        </pc:spChg>
        <pc:spChg chg="replST">
          <ac:chgData name="Bullinger, Marvin" userId="5b54ce5a-dc89-476f-af33-5abd75d5b1e8" providerId="ADAL" clId="{B18DB96A-0F1B-4B04-B169-68D0DF683527}" dt="2024-08-06T09:48:24.337" v="2759"/>
          <ac:spMkLst>
            <pc:docMk/>
            <pc:sldMk cId="459806595" sldId="580"/>
            <ac:spMk id="786" creationId="{80BD1D21-1442-8354-C14A-F1C8A04B4B40}"/>
          </ac:spMkLst>
        </pc:spChg>
        <pc:spChg chg="replST">
          <ac:chgData name="Bullinger, Marvin" userId="5b54ce5a-dc89-476f-af33-5abd75d5b1e8" providerId="ADAL" clId="{B18DB96A-0F1B-4B04-B169-68D0DF683527}" dt="2024-08-06T09:48:24.343" v="2763"/>
          <ac:spMkLst>
            <pc:docMk/>
            <pc:sldMk cId="459806595" sldId="580"/>
            <ac:spMk id="788" creationId="{71BA1057-F1E3-6CC4-C35D-0107095E597A}"/>
          </ac:spMkLst>
        </pc:spChg>
        <pc:spChg chg="replST">
          <ac:chgData name="Bullinger, Marvin" userId="5b54ce5a-dc89-476f-af33-5abd75d5b1e8" providerId="ADAL" clId="{B18DB96A-0F1B-4B04-B169-68D0DF683527}" dt="2024-08-06T09:48:24.343" v="2766"/>
          <ac:spMkLst>
            <pc:docMk/>
            <pc:sldMk cId="459806595" sldId="580"/>
            <ac:spMk id="789" creationId="{D237FF63-1FD6-D288-756E-E396FD66FA45}"/>
          </ac:spMkLst>
        </pc:spChg>
        <pc:spChg chg="replST">
          <ac:chgData name="Bullinger, Marvin" userId="5b54ce5a-dc89-476f-af33-5abd75d5b1e8" providerId="ADAL" clId="{B18DB96A-0F1B-4B04-B169-68D0DF683527}" dt="2024-08-06T09:48:24.359" v="2770"/>
          <ac:spMkLst>
            <pc:docMk/>
            <pc:sldMk cId="459806595" sldId="580"/>
            <ac:spMk id="791" creationId="{2D7736BC-AA0F-40BB-BF82-4B1F718CEF63}"/>
          </ac:spMkLst>
        </pc:spChg>
        <pc:spChg chg="replST">
          <ac:chgData name="Bullinger, Marvin" userId="5b54ce5a-dc89-476f-af33-5abd75d5b1e8" providerId="ADAL" clId="{B18DB96A-0F1B-4B04-B169-68D0DF683527}" dt="2024-08-06T09:48:24.365" v="2773"/>
          <ac:spMkLst>
            <pc:docMk/>
            <pc:sldMk cId="459806595" sldId="580"/>
            <ac:spMk id="792" creationId="{A3CA78FB-C571-4CAA-4FF5-D646C69FC08A}"/>
          </ac:spMkLst>
        </pc:spChg>
        <pc:spChg chg="replST">
          <ac:chgData name="Bullinger, Marvin" userId="5b54ce5a-dc89-476f-af33-5abd75d5b1e8" providerId="ADAL" clId="{B18DB96A-0F1B-4B04-B169-68D0DF683527}" dt="2024-08-06T09:48:24.370" v="2777"/>
          <ac:spMkLst>
            <pc:docMk/>
            <pc:sldMk cId="459806595" sldId="580"/>
            <ac:spMk id="794" creationId="{DB247CA3-1B87-AC79-8FB5-C6DC7902B5DB}"/>
          </ac:spMkLst>
        </pc:spChg>
        <pc:spChg chg="replST">
          <ac:chgData name="Bullinger, Marvin" userId="5b54ce5a-dc89-476f-af33-5abd75d5b1e8" providerId="ADAL" clId="{B18DB96A-0F1B-4B04-B169-68D0DF683527}" dt="2024-08-06T09:48:24.372" v="2780"/>
          <ac:spMkLst>
            <pc:docMk/>
            <pc:sldMk cId="459806595" sldId="580"/>
            <ac:spMk id="795" creationId="{FE4B10E5-0271-A8FE-2191-0560AFBB3E99}"/>
          </ac:spMkLst>
        </pc:spChg>
        <pc:spChg chg="mod replST">
          <ac:chgData name="Bullinger, Marvin" userId="5b54ce5a-dc89-476f-af33-5abd75d5b1e8" providerId="ADAL" clId="{B18DB96A-0F1B-4B04-B169-68D0DF683527}" dt="2024-08-08T22:11:57.011" v="10068" actId="207"/>
          <ac:spMkLst>
            <pc:docMk/>
            <pc:sldMk cId="459806595" sldId="580"/>
            <ac:spMk id="796" creationId="{C492DC6C-E739-84DB-C0D6-F965D97BED96}"/>
          </ac:spMkLst>
        </pc:spChg>
        <pc:spChg chg="replST">
          <ac:chgData name="Bullinger, Marvin" userId="5b54ce5a-dc89-476f-af33-5abd75d5b1e8" providerId="ADAL" clId="{B18DB96A-0F1B-4B04-B169-68D0DF683527}" dt="2024-08-07T20:14:35.978" v="7648"/>
          <ac:spMkLst>
            <pc:docMk/>
            <pc:sldMk cId="459806595" sldId="580"/>
            <ac:spMk id="797" creationId="{B2E6FB3E-EDBE-A844-B7BA-4F28B76FC5BE}"/>
          </ac:spMkLst>
        </pc:spChg>
        <pc:spChg chg="mod replST">
          <ac:chgData name="Bullinger, Marvin" userId="5b54ce5a-dc89-476f-af33-5abd75d5b1e8" providerId="ADAL" clId="{B18DB96A-0F1B-4B04-B169-68D0DF683527}" dt="2024-08-08T22:11:57.011" v="10068" actId="207"/>
          <ac:spMkLst>
            <pc:docMk/>
            <pc:sldMk cId="459806595" sldId="580"/>
            <ac:spMk id="799" creationId="{5E52F7E3-BF12-E9D5-F1BE-4764FF7E34FA}"/>
          </ac:spMkLst>
        </pc:spChg>
        <pc:spChg chg="replST">
          <ac:chgData name="Bullinger, Marvin" userId="5b54ce5a-dc89-476f-af33-5abd75d5b1e8" providerId="ADAL" clId="{B18DB96A-0F1B-4B04-B169-68D0DF683527}" dt="2024-08-07T20:14:35.994" v="7655"/>
          <ac:spMkLst>
            <pc:docMk/>
            <pc:sldMk cId="459806595" sldId="580"/>
            <ac:spMk id="800" creationId="{5DE80406-D912-E50D-2954-0A726EA3167F}"/>
          </ac:spMkLst>
        </pc:spChg>
        <pc:spChg chg="mod replST">
          <ac:chgData name="Bullinger, Marvin" userId="5b54ce5a-dc89-476f-af33-5abd75d5b1e8" providerId="ADAL" clId="{B18DB96A-0F1B-4B04-B169-68D0DF683527}" dt="2024-08-08T22:11:57.011" v="10068" actId="207"/>
          <ac:spMkLst>
            <pc:docMk/>
            <pc:sldMk cId="459806595" sldId="580"/>
            <ac:spMk id="802" creationId="{47C84B2B-2A86-9482-20E4-92EE4A4C1DB3}"/>
          </ac:spMkLst>
        </pc:spChg>
        <pc:spChg chg="replST">
          <ac:chgData name="Bullinger, Marvin" userId="5b54ce5a-dc89-476f-af33-5abd75d5b1e8" providerId="ADAL" clId="{B18DB96A-0F1B-4B04-B169-68D0DF683527}" dt="2024-08-07T20:14:36.010" v="7662"/>
          <ac:spMkLst>
            <pc:docMk/>
            <pc:sldMk cId="459806595" sldId="580"/>
            <ac:spMk id="803" creationId="{63DE0603-B01D-5C9D-3438-11459D96D4FD}"/>
          </ac:spMkLst>
        </pc:spChg>
        <pc:spChg chg="mod replST">
          <ac:chgData name="Bullinger, Marvin" userId="5b54ce5a-dc89-476f-af33-5abd75d5b1e8" providerId="ADAL" clId="{B18DB96A-0F1B-4B04-B169-68D0DF683527}" dt="2024-08-08T22:11:03.906" v="10066" actId="20577"/>
          <ac:spMkLst>
            <pc:docMk/>
            <pc:sldMk cId="459806595" sldId="580"/>
            <ac:spMk id="805" creationId="{BDD37047-77D7-BB8D-6C5F-FF45A5206103}"/>
          </ac:spMkLst>
        </pc:spChg>
        <pc:spChg chg="replST">
          <ac:chgData name="Bullinger, Marvin" userId="5b54ce5a-dc89-476f-af33-5abd75d5b1e8" providerId="ADAL" clId="{B18DB96A-0F1B-4B04-B169-68D0DF683527}" dt="2024-08-07T20:14:36.025" v="7669"/>
          <ac:spMkLst>
            <pc:docMk/>
            <pc:sldMk cId="459806595" sldId="580"/>
            <ac:spMk id="806" creationId="{51CCC620-31B7-EE28-B2E8-46999F04790C}"/>
          </ac:spMkLst>
        </pc:spChg>
        <pc:spChg chg="del">
          <ac:chgData name="Bullinger, Marvin" userId="5b54ce5a-dc89-476f-af33-5abd75d5b1e8" providerId="ADAL" clId="{B18DB96A-0F1B-4B04-B169-68D0DF683527}" dt="2024-08-06T09:48:23.900" v="2486" actId="478"/>
          <ac:spMkLst>
            <pc:docMk/>
            <pc:sldMk cId="459806595" sldId="580"/>
            <ac:spMk id="807" creationId="{0E4046D1-218D-AE60-62D0-00C79176422A}"/>
          </ac:spMkLst>
        </pc:spChg>
        <pc:spChg chg="mod ord replST">
          <ac:chgData name="Bullinger, Marvin" userId="5b54ce5a-dc89-476f-af33-5abd75d5b1e8" providerId="ADAL" clId="{B18DB96A-0F1B-4B04-B169-68D0DF683527}" dt="2024-08-08T22:12:04.730" v="10069" actId="207"/>
          <ac:spMkLst>
            <pc:docMk/>
            <pc:sldMk cId="459806595" sldId="580"/>
            <ac:spMk id="807" creationId="{BCCD8E58-7ED9-E669-4142-59712F8DC18B}"/>
          </ac:spMkLst>
        </pc:spChg>
        <pc:spChg chg="mod replST">
          <ac:chgData name="Bullinger, Marvin" userId="5b54ce5a-dc89-476f-af33-5abd75d5b1e8" providerId="ADAL" clId="{B18DB96A-0F1B-4B04-B169-68D0DF683527}" dt="2024-08-08T22:11:57.011" v="10068" actId="207"/>
          <ac:spMkLst>
            <pc:docMk/>
            <pc:sldMk cId="459806595" sldId="580"/>
            <ac:spMk id="808" creationId="{BE3A5EE0-57E6-DB55-7CBB-6890D41500BB}"/>
          </ac:spMkLst>
        </pc:spChg>
        <pc:spChg chg="replST">
          <ac:chgData name="Bullinger, Marvin" userId="5b54ce5a-dc89-476f-af33-5abd75d5b1e8" providerId="ADAL" clId="{B18DB96A-0F1B-4B04-B169-68D0DF683527}" dt="2024-08-07T20:14:36.041" v="7676"/>
          <ac:spMkLst>
            <pc:docMk/>
            <pc:sldMk cId="459806595" sldId="580"/>
            <ac:spMk id="809" creationId="{48FD7F65-56B8-4456-913F-63D1BB2C90EA}"/>
          </ac:spMkLst>
        </pc:spChg>
        <pc:spChg chg="del ord replST">
          <ac:chgData name="Bullinger, Marvin" userId="5b54ce5a-dc89-476f-af33-5abd75d5b1e8" providerId="ADAL" clId="{B18DB96A-0F1B-4B04-B169-68D0DF683527}" dt="2024-08-07T20:14:35.356" v="7378" actId="478"/>
          <ac:spMkLst>
            <pc:docMk/>
            <pc:sldMk cId="459806595" sldId="580"/>
            <ac:spMk id="815" creationId="{13448A48-32C8-8633-2A51-2A804E232B60}"/>
          </ac:spMkLst>
        </pc:spChg>
        <pc:spChg chg="replST">
          <ac:chgData name="Bullinger, Marvin" userId="5b54ce5a-dc89-476f-af33-5abd75d5b1e8" providerId="ADAL" clId="{B18DB96A-0F1B-4B04-B169-68D0DF683527}" dt="2024-08-06T09:48:24.372" v="2784"/>
          <ac:spMkLst>
            <pc:docMk/>
            <pc:sldMk cId="459806595" sldId="580"/>
            <ac:spMk id="816" creationId="{A8C4F349-7AF0-8705-CDE8-863DA22576DE}"/>
          </ac:spMkLst>
        </pc:spChg>
        <pc:spChg chg="replST">
          <ac:chgData name="Bullinger, Marvin" userId="5b54ce5a-dc89-476f-af33-5abd75d5b1e8" providerId="ADAL" clId="{B18DB96A-0F1B-4B04-B169-68D0DF683527}" dt="2024-08-06T09:48:24.372" v="2787"/>
          <ac:spMkLst>
            <pc:docMk/>
            <pc:sldMk cId="459806595" sldId="580"/>
            <ac:spMk id="817" creationId="{0C14DCA0-ACA8-666B-0FBD-8EB30AE47FE1}"/>
          </ac:spMkLst>
        </pc:spChg>
        <pc:cxnChg chg="del ord replST">
          <ac:chgData name="Bullinger, Marvin" userId="5b54ce5a-dc89-476f-af33-5abd75d5b1e8" providerId="ADAL" clId="{B18DB96A-0F1B-4B04-B169-68D0DF683527}" dt="2024-08-07T20:14:35.340" v="7375" actId="478"/>
          <ac:cxnSpMkLst>
            <pc:docMk/>
            <pc:sldMk cId="459806595" sldId="580"/>
            <ac:cxnSpMk id="787" creationId="{6AC8CEFA-521E-DC2B-A4B8-8F05E6A82414}"/>
          </ac:cxnSpMkLst>
        </pc:cxnChg>
        <pc:cxnChg chg="del ord replST">
          <ac:chgData name="Bullinger, Marvin" userId="5b54ce5a-dc89-476f-af33-5abd75d5b1e8" providerId="ADAL" clId="{B18DB96A-0F1B-4B04-B169-68D0DF683527}" dt="2024-08-07T20:14:35.340" v="7376" actId="478"/>
          <ac:cxnSpMkLst>
            <pc:docMk/>
            <pc:sldMk cId="459806595" sldId="580"/>
            <ac:cxnSpMk id="790" creationId="{CB95B108-ACB2-4F90-F800-EE6FEBF46B5C}"/>
          </ac:cxnSpMkLst>
        </pc:cxnChg>
        <pc:cxnChg chg="del ord replST">
          <ac:chgData name="Bullinger, Marvin" userId="5b54ce5a-dc89-476f-af33-5abd75d5b1e8" providerId="ADAL" clId="{B18DB96A-0F1B-4B04-B169-68D0DF683527}" dt="2024-08-07T20:14:35.340" v="7377" actId="478"/>
          <ac:cxnSpMkLst>
            <pc:docMk/>
            <pc:sldMk cId="459806595" sldId="580"/>
            <ac:cxnSpMk id="793" creationId="{0AD2BE62-5E37-8F2F-94D7-58E5859224D3}"/>
          </ac:cxnSpMkLst>
        </pc:cxnChg>
        <pc:cxnChg chg="del">
          <ac:chgData name="Bullinger, Marvin" userId="5b54ce5a-dc89-476f-af33-5abd75d5b1e8" providerId="ADAL" clId="{B18DB96A-0F1B-4B04-B169-68D0DF683527}" dt="2024-08-06T09:48:23.900" v="2483" actId="478"/>
          <ac:cxnSpMkLst>
            <pc:docMk/>
            <pc:sldMk cId="459806595" sldId="580"/>
            <ac:cxnSpMk id="798" creationId="{B4E958CF-EFC0-00ED-55BE-D54EE35ABE22}"/>
          </ac:cxnSpMkLst>
        </pc:cxnChg>
        <pc:cxnChg chg="ord replST">
          <ac:chgData name="Bullinger, Marvin" userId="5b54ce5a-dc89-476f-af33-5abd75d5b1e8" providerId="ADAL" clId="{B18DB96A-0F1B-4B04-B169-68D0DF683527}" dt="2024-08-07T20:14:36.041" v="7680"/>
          <ac:cxnSpMkLst>
            <pc:docMk/>
            <pc:sldMk cId="459806595" sldId="580"/>
            <ac:cxnSpMk id="798" creationId="{DC10DCE8-3DA4-4989-63F8-4624927BDFC6}"/>
          </ac:cxnSpMkLst>
        </pc:cxnChg>
        <pc:cxnChg chg="del">
          <ac:chgData name="Bullinger, Marvin" userId="5b54ce5a-dc89-476f-af33-5abd75d5b1e8" providerId="ADAL" clId="{B18DB96A-0F1B-4B04-B169-68D0DF683527}" dt="2024-08-06T09:48:23.900" v="2484" actId="478"/>
          <ac:cxnSpMkLst>
            <pc:docMk/>
            <pc:sldMk cId="459806595" sldId="580"/>
            <ac:cxnSpMk id="801" creationId="{8D9D68E4-FA96-1C68-0914-ECB29BF6E7D6}"/>
          </ac:cxnSpMkLst>
        </pc:cxnChg>
        <pc:cxnChg chg="ord replST">
          <ac:chgData name="Bullinger, Marvin" userId="5b54ce5a-dc89-476f-af33-5abd75d5b1e8" providerId="ADAL" clId="{B18DB96A-0F1B-4B04-B169-68D0DF683527}" dt="2024-08-07T20:14:36.041" v="7681"/>
          <ac:cxnSpMkLst>
            <pc:docMk/>
            <pc:sldMk cId="459806595" sldId="580"/>
            <ac:cxnSpMk id="801" creationId="{9EFD2573-96AC-4D56-3220-4EF80D2256E7}"/>
          </ac:cxnSpMkLst>
        </pc:cxnChg>
        <pc:cxnChg chg="del">
          <ac:chgData name="Bullinger, Marvin" userId="5b54ce5a-dc89-476f-af33-5abd75d5b1e8" providerId="ADAL" clId="{B18DB96A-0F1B-4B04-B169-68D0DF683527}" dt="2024-08-06T09:48:23.900" v="2485" actId="478"/>
          <ac:cxnSpMkLst>
            <pc:docMk/>
            <pc:sldMk cId="459806595" sldId="580"/>
            <ac:cxnSpMk id="804" creationId="{A4AEBE10-3586-E2C0-0725-A5F4DDF07B00}"/>
          </ac:cxnSpMkLst>
        </pc:cxnChg>
        <pc:cxnChg chg="ord replST">
          <ac:chgData name="Bullinger, Marvin" userId="5b54ce5a-dc89-476f-af33-5abd75d5b1e8" providerId="ADAL" clId="{B18DB96A-0F1B-4B04-B169-68D0DF683527}" dt="2024-08-07T20:14:36.041" v="7682"/>
          <ac:cxnSpMkLst>
            <pc:docMk/>
            <pc:sldMk cId="459806595" sldId="580"/>
            <ac:cxnSpMk id="804" creationId="{E1029F8D-B0B9-5FE6-5172-2078F0E81208}"/>
          </ac:cxnSpMkLst>
        </pc:cxnChg>
        <pc:cxnChg chg="del">
          <ac:chgData name="Bullinger, Marvin" userId="5b54ce5a-dc89-476f-af33-5abd75d5b1e8" providerId="ADAL" clId="{B18DB96A-0F1B-4B04-B169-68D0DF683527}" dt="2024-08-06T09:48:23.900" v="2487" actId="478"/>
          <ac:cxnSpMkLst>
            <pc:docMk/>
            <pc:sldMk cId="459806595" sldId="580"/>
            <ac:cxnSpMk id="810" creationId="{B46BE94C-51E2-5C2F-B16C-3C7C0CF30900}"/>
          </ac:cxnSpMkLst>
        </pc:cxnChg>
        <pc:cxnChg chg="ord replST">
          <ac:chgData name="Bullinger, Marvin" userId="5b54ce5a-dc89-476f-af33-5abd75d5b1e8" providerId="ADAL" clId="{B18DB96A-0F1B-4B04-B169-68D0DF683527}" dt="2024-08-07T20:14:36.056" v="7684"/>
          <ac:cxnSpMkLst>
            <pc:docMk/>
            <pc:sldMk cId="459806595" sldId="580"/>
            <ac:cxnSpMk id="810" creationId="{E48E272C-0607-4D1D-489F-81195F31A468}"/>
          </ac:cxnSpMkLst>
        </pc:cxnChg>
        <pc:cxnChg chg="ord replST">
          <ac:chgData name="Bullinger, Marvin" userId="5b54ce5a-dc89-476f-af33-5abd75d5b1e8" providerId="ADAL" clId="{B18DB96A-0F1B-4B04-B169-68D0DF683527}" dt="2024-08-07T20:14:36.056" v="7685"/>
          <ac:cxnSpMkLst>
            <pc:docMk/>
            <pc:sldMk cId="459806595" sldId="580"/>
            <ac:cxnSpMk id="811" creationId="{00CBD0F2-5E0F-EBFD-A34B-42C4E0734EDC}"/>
          </ac:cxnSpMkLst>
        </pc:cxnChg>
        <pc:cxnChg chg="del">
          <ac:chgData name="Bullinger, Marvin" userId="5b54ce5a-dc89-476f-af33-5abd75d5b1e8" providerId="ADAL" clId="{B18DB96A-0F1B-4B04-B169-68D0DF683527}" dt="2024-08-06T09:48:23.900" v="2488" actId="478"/>
          <ac:cxnSpMkLst>
            <pc:docMk/>
            <pc:sldMk cId="459806595" sldId="580"/>
            <ac:cxnSpMk id="813" creationId="{8A5F3324-84EE-BFA2-1721-5C36FCE15DD2}"/>
          </ac:cxnSpMkLst>
        </pc:cxnChg>
        <pc:cxnChg chg="del">
          <ac:chgData name="Bullinger, Marvin" userId="5b54ce5a-dc89-476f-af33-5abd75d5b1e8" providerId="ADAL" clId="{B18DB96A-0F1B-4B04-B169-68D0DF683527}" dt="2024-08-06T09:48:23.900" v="2489" actId="478"/>
          <ac:cxnSpMkLst>
            <pc:docMk/>
            <pc:sldMk cId="459806595" sldId="580"/>
            <ac:cxnSpMk id="814" creationId="{E79134E1-94E3-E99B-EBB9-E8D45E247CF7}"/>
          </ac:cxnSpMkLst>
        </pc:cxnChg>
        <pc:cxnChg chg="del ord replST">
          <ac:chgData name="Bullinger, Marvin" userId="5b54ce5a-dc89-476f-af33-5abd75d5b1e8" providerId="ADAL" clId="{B18DB96A-0F1B-4B04-B169-68D0DF683527}" dt="2024-08-07T20:14:35.356" v="7379" actId="478"/>
          <ac:cxnSpMkLst>
            <pc:docMk/>
            <pc:sldMk cId="459806595" sldId="580"/>
            <ac:cxnSpMk id="818" creationId="{8F51E2B6-D712-480C-091F-15960A47ACED}"/>
          </ac:cxnSpMkLst>
        </pc:cxnChg>
        <pc:cxnChg chg="del ord replST">
          <ac:chgData name="Bullinger, Marvin" userId="5b54ce5a-dc89-476f-af33-5abd75d5b1e8" providerId="ADAL" clId="{B18DB96A-0F1B-4B04-B169-68D0DF683527}" dt="2024-08-07T20:14:35.356" v="7380" actId="478"/>
          <ac:cxnSpMkLst>
            <pc:docMk/>
            <pc:sldMk cId="459806595" sldId="580"/>
            <ac:cxnSpMk id="819" creationId="{1E18FD5E-97D0-34B1-B5AD-066A532191FD}"/>
          </ac:cxnSpMkLst>
        </pc:cxnChg>
      </pc:sldChg>
      <pc:sldChg chg="del">
        <pc:chgData name="Bullinger, Marvin" userId="5b54ce5a-dc89-476f-af33-5abd75d5b1e8" providerId="ADAL" clId="{B18DB96A-0F1B-4B04-B169-68D0DF683527}" dt="2024-08-06T09:48:23.335" v="2259" actId="2696"/>
        <pc:sldMkLst>
          <pc:docMk/>
          <pc:sldMk cId="965765845" sldId="581"/>
        </pc:sldMkLst>
      </pc:sldChg>
      <pc:sldChg chg="addSp delSp modSp del mod">
        <pc:chgData name="Bullinger, Marvin" userId="5b54ce5a-dc89-476f-af33-5abd75d5b1e8" providerId="ADAL" clId="{B18DB96A-0F1B-4B04-B169-68D0DF683527}" dt="2024-08-09T18:18:07.800" v="11149" actId="47"/>
        <pc:sldMkLst>
          <pc:docMk/>
          <pc:sldMk cId="1339647628" sldId="586"/>
        </pc:sldMkLst>
        <pc:spChg chg="mod">
          <ac:chgData name="Bullinger, Marvin" userId="5b54ce5a-dc89-476f-af33-5abd75d5b1e8" providerId="ADAL" clId="{B18DB96A-0F1B-4B04-B169-68D0DF683527}" dt="2024-08-05T18:37:04.906" v="228" actId="20577"/>
          <ac:spMkLst>
            <pc:docMk/>
            <pc:sldMk cId="1339647628" sldId="586"/>
            <ac:spMk id="2" creationId="{C0245877-7D8C-2BC0-B461-E9168470B4BC}"/>
          </ac:spMkLst>
        </pc:spChg>
        <pc:spChg chg="del mod">
          <ac:chgData name="Bullinger, Marvin" userId="5b54ce5a-dc89-476f-af33-5abd75d5b1e8" providerId="ADAL" clId="{B18DB96A-0F1B-4B04-B169-68D0DF683527}" dt="2024-08-07T08:35:28.303" v="6023" actId="478"/>
          <ac:spMkLst>
            <pc:docMk/>
            <pc:sldMk cId="1339647628" sldId="586"/>
            <ac:spMk id="638" creationId="{CA5E931E-801F-5FFB-D189-50D785EB2CC3}"/>
          </ac:spMkLst>
        </pc:spChg>
        <pc:spChg chg="add mod">
          <ac:chgData name="Bullinger, Marvin" userId="5b54ce5a-dc89-476f-af33-5abd75d5b1e8" providerId="ADAL" clId="{B18DB96A-0F1B-4B04-B169-68D0DF683527}" dt="2024-08-07T20:14:35.016" v="7198" actId="478"/>
          <ac:spMkLst>
            <pc:docMk/>
            <pc:sldMk cId="1339647628" sldId="586"/>
            <ac:spMk id="713" creationId="{C73E3A45-9880-8D17-94C0-8213220010B8}"/>
          </ac:spMkLst>
        </pc:spChg>
        <pc:spChg chg="mod ord replST">
          <ac:chgData name="Bullinger, Marvin" userId="5b54ce5a-dc89-476f-af33-5abd75d5b1e8" providerId="ADAL" clId="{B18DB96A-0F1B-4B04-B169-68D0DF683527}" dt="2024-08-07T20:14:35.598" v="7499"/>
          <ac:spMkLst>
            <pc:docMk/>
            <pc:sldMk cId="1339647628" sldId="586"/>
            <ac:spMk id="714" creationId="{323128E4-28CF-FEC6-9924-9915A784DC7B}"/>
          </ac:spMkLst>
        </pc:spChg>
        <pc:spChg chg="add mod">
          <ac:chgData name="Bullinger, Marvin" userId="5b54ce5a-dc89-476f-af33-5abd75d5b1e8" providerId="ADAL" clId="{B18DB96A-0F1B-4B04-B169-68D0DF683527}" dt="2024-08-06T09:48:23.711" v="2302" actId="478"/>
          <ac:spMkLst>
            <pc:docMk/>
            <pc:sldMk cId="1339647628" sldId="586"/>
            <ac:spMk id="714" creationId="{D2FCFC9E-4446-ED70-8BE1-90CE473DDEA1}"/>
          </ac:spMkLst>
        </pc:spChg>
        <pc:spChg chg="del mod ord replST">
          <ac:chgData name="Bullinger, Marvin" userId="5b54ce5a-dc89-476f-af33-5abd75d5b1e8" providerId="ADAL" clId="{B18DB96A-0F1B-4B04-B169-68D0DF683527}" dt="2024-08-07T20:14:35.016" v="7198" actId="478"/>
          <ac:spMkLst>
            <pc:docMk/>
            <pc:sldMk cId="1339647628" sldId="586"/>
            <ac:spMk id="715" creationId="{9526AEA6-B9DD-FDAF-F6F3-B9FC229C0F1C}"/>
          </ac:spMkLst>
        </pc:spChg>
        <pc:spChg chg="del">
          <ac:chgData name="Bullinger, Marvin" userId="5b54ce5a-dc89-476f-af33-5abd75d5b1e8" providerId="ADAL" clId="{B18DB96A-0F1B-4B04-B169-68D0DF683527}" dt="2024-08-07T20:14:35.073" v="7233" actId="478"/>
          <ac:spMkLst>
            <pc:docMk/>
            <pc:sldMk cId="1339647628" sldId="586"/>
            <ac:spMk id="716" creationId="{5587D5F2-4481-9221-60DF-4850BD44020B}"/>
          </ac:spMkLst>
        </pc:spChg>
        <pc:spChg chg="del">
          <ac:chgData name="Bullinger, Marvin" userId="5b54ce5a-dc89-476f-af33-5abd75d5b1e8" providerId="ADAL" clId="{B18DB96A-0F1B-4B04-B169-68D0DF683527}" dt="2024-08-06T09:48:23.759" v="2338" actId="478"/>
          <ac:spMkLst>
            <pc:docMk/>
            <pc:sldMk cId="1339647628" sldId="586"/>
            <ac:spMk id="716" creationId="{FE67F1C9-3E68-8E75-F6DE-441518ECC646}"/>
          </ac:spMkLst>
        </pc:spChg>
        <pc:spChg chg="del">
          <ac:chgData name="Bullinger, Marvin" userId="5b54ce5a-dc89-476f-af33-5abd75d5b1e8" providerId="ADAL" clId="{B18DB96A-0F1B-4B04-B169-68D0DF683527}" dt="2024-08-06T09:48:23.759" v="2337" actId="478"/>
          <ac:spMkLst>
            <pc:docMk/>
            <pc:sldMk cId="1339647628" sldId="586"/>
            <ac:spMk id="717" creationId="{ECBBDF3E-3AA2-DCC5-9478-8FD5C6803146}"/>
          </ac:spMkLst>
        </pc:spChg>
        <pc:spChg chg="del">
          <ac:chgData name="Bullinger, Marvin" userId="5b54ce5a-dc89-476f-af33-5abd75d5b1e8" providerId="ADAL" clId="{B18DB96A-0F1B-4B04-B169-68D0DF683527}" dt="2024-08-07T20:14:35.073" v="7232" actId="478"/>
          <ac:spMkLst>
            <pc:docMk/>
            <pc:sldMk cId="1339647628" sldId="586"/>
            <ac:spMk id="717" creationId="{F1F480BF-82B6-CC0A-6F31-811FFD3E904A}"/>
          </ac:spMkLst>
        </pc:spChg>
        <pc:spChg chg="del">
          <ac:chgData name="Bullinger, Marvin" userId="5b54ce5a-dc89-476f-af33-5abd75d5b1e8" providerId="ADAL" clId="{B18DB96A-0F1B-4B04-B169-68D0DF683527}" dt="2024-08-06T09:48:23.759" v="2336" actId="478"/>
          <ac:spMkLst>
            <pc:docMk/>
            <pc:sldMk cId="1339647628" sldId="586"/>
            <ac:spMk id="718" creationId="{5AB7C5B5-EA7F-65A3-32F3-98B85C95B6AA}"/>
          </ac:spMkLst>
        </pc:spChg>
        <pc:spChg chg="del">
          <ac:chgData name="Bullinger, Marvin" userId="5b54ce5a-dc89-476f-af33-5abd75d5b1e8" providerId="ADAL" clId="{B18DB96A-0F1B-4B04-B169-68D0DF683527}" dt="2024-08-07T20:14:35.073" v="7231" actId="478"/>
          <ac:spMkLst>
            <pc:docMk/>
            <pc:sldMk cId="1339647628" sldId="586"/>
            <ac:spMk id="718" creationId="{EA52A7CD-608E-3727-6E53-774B2801C4C4}"/>
          </ac:spMkLst>
        </pc:spChg>
        <pc:spChg chg="del">
          <ac:chgData name="Bullinger, Marvin" userId="5b54ce5a-dc89-476f-af33-5abd75d5b1e8" providerId="ADAL" clId="{B18DB96A-0F1B-4B04-B169-68D0DF683527}" dt="2024-08-07T20:14:35.073" v="7230" actId="478"/>
          <ac:spMkLst>
            <pc:docMk/>
            <pc:sldMk cId="1339647628" sldId="586"/>
            <ac:spMk id="719" creationId="{86513985-AD1F-E081-8D3C-9AF9B7DD132B}"/>
          </ac:spMkLst>
        </pc:spChg>
        <pc:spChg chg="del">
          <ac:chgData name="Bullinger, Marvin" userId="5b54ce5a-dc89-476f-af33-5abd75d5b1e8" providerId="ADAL" clId="{B18DB96A-0F1B-4B04-B169-68D0DF683527}" dt="2024-08-06T09:48:23.759" v="2335" actId="478"/>
          <ac:spMkLst>
            <pc:docMk/>
            <pc:sldMk cId="1339647628" sldId="586"/>
            <ac:spMk id="719" creationId="{F5CB203D-A9EB-363B-375F-DF07E3D369B2}"/>
          </ac:spMkLst>
        </pc:spChg>
        <pc:spChg chg="del">
          <ac:chgData name="Bullinger, Marvin" userId="5b54ce5a-dc89-476f-af33-5abd75d5b1e8" providerId="ADAL" clId="{B18DB96A-0F1B-4B04-B169-68D0DF683527}" dt="2024-08-07T20:14:35.073" v="7229" actId="478"/>
          <ac:spMkLst>
            <pc:docMk/>
            <pc:sldMk cId="1339647628" sldId="586"/>
            <ac:spMk id="720" creationId="{2644A9A9-7780-0575-B7F4-32DC8A6633C7}"/>
          </ac:spMkLst>
        </pc:spChg>
        <pc:spChg chg="del">
          <ac:chgData name="Bullinger, Marvin" userId="5b54ce5a-dc89-476f-af33-5abd75d5b1e8" providerId="ADAL" clId="{B18DB96A-0F1B-4B04-B169-68D0DF683527}" dt="2024-08-06T09:48:23.759" v="2334" actId="478"/>
          <ac:spMkLst>
            <pc:docMk/>
            <pc:sldMk cId="1339647628" sldId="586"/>
            <ac:spMk id="720" creationId="{6A273B37-6ACB-C441-202D-1D36FA8AACA4}"/>
          </ac:spMkLst>
        </pc:spChg>
        <pc:spChg chg="del">
          <ac:chgData name="Bullinger, Marvin" userId="5b54ce5a-dc89-476f-af33-5abd75d5b1e8" providerId="ADAL" clId="{B18DB96A-0F1B-4B04-B169-68D0DF683527}" dt="2024-08-06T09:48:23.743" v="2333" actId="478"/>
          <ac:spMkLst>
            <pc:docMk/>
            <pc:sldMk cId="1339647628" sldId="586"/>
            <ac:spMk id="721" creationId="{2555F3ED-E871-F0BE-5A8F-CCDF1DD2B4D2}"/>
          </ac:spMkLst>
        </pc:spChg>
        <pc:spChg chg="del">
          <ac:chgData name="Bullinger, Marvin" userId="5b54ce5a-dc89-476f-af33-5abd75d5b1e8" providerId="ADAL" clId="{B18DB96A-0F1B-4B04-B169-68D0DF683527}" dt="2024-08-07T20:14:35.073" v="7228" actId="478"/>
          <ac:spMkLst>
            <pc:docMk/>
            <pc:sldMk cId="1339647628" sldId="586"/>
            <ac:spMk id="721" creationId="{29CC982C-B61A-24E1-6D6B-225BEE37E769}"/>
          </ac:spMkLst>
        </pc:spChg>
        <pc:spChg chg="del">
          <ac:chgData name="Bullinger, Marvin" userId="5b54ce5a-dc89-476f-af33-5abd75d5b1e8" providerId="ADAL" clId="{B18DB96A-0F1B-4B04-B169-68D0DF683527}" dt="2024-08-06T09:48:23.743" v="2330" actId="478"/>
          <ac:spMkLst>
            <pc:docMk/>
            <pc:sldMk cId="1339647628" sldId="586"/>
            <ac:spMk id="722" creationId="{32E12D47-1EA6-13E8-806E-A4196971EF10}"/>
          </ac:spMkLst>
        </pc:spChg>
        <pc:spChg chg="del">
          <ac:chgData name="Bullinger, Marvin" userId="5b54ce5a-dc89-476f-af33-5abd75d5b1e8" providerId="ADAL" clId="{B18DB96A-0F1B-4B04-B169-68D0DF683527}" dt="2024-08-07T20:14:35.073" v="7225" actId="478"/>
          <ac:spMkLst>
            <pc:docMk/>
            <pc:sldMk cId="1339647628" sldId="586"/>
            <ac:spMk id="722" creationId="{D76192FB-3201-AC7F-0A58-71D8B03AD55B}"/>
          </ac:spMkLst>
        </pc:spChg>
        <pc:spChg chg="del">
          <ac:chgData name="Bullinger, Marvin" userId="5b54ce5a-dc89-476f-af33-5abd75d5b1e8" providerId="ADAL" clId="{B18DB96A-0F1B-4B04-B169-68D0DF683527}" dt="2024-08-06T09:48:23.743" v="2329" actId="478"/>
          <ac:spMkLst>
            <pc:docMk/>
            <pc:sldMk cId="1339647628" sldId="586"/>
            <ac:spMk id="723" creationId="{265B1686-3DEA-29B0-ABEB-8448B68FE788}"/>
          </ac:spMkLst>
        </pc:spChg>
        <pc:spChg chg="del">
          <ac:chgData name="Bullinger, Marvin" userId="5b54ce5a-dc89-476f-af33-5abd75d5b1e8" providerId="ADAL" clId="{B18DB96A-0F1B-4B04-B169-68D0DF683527}" dt="2024-08-07T20:14:35.073" v="7224" actId="478"/>
          <ac:spMkLst>
            <pc:docMk/>
            <pc:sldMk cId="1339647628" sldId="586"/>
            <ac:spMk id="723" creationId="{850D6FFA-C957-27B2-0B52-9B9A954B8AD1}"/>
          </ac:spMkLst>
        </pc:spChg>
        <pc:spChg chg="del">
          <ac:chgData name="Bullinger, Marvin" userId="5b54ce5a-dc89-476f-af33-5abd75d5b1e8" providerId="ADAL" clId="{B18DB96A-0F1B-4B04-B169-68D0DF683527}" dt="2024-08-06T09:48:23.743" v="2328" actId="478"/>
          <ac:spMkLst>
            <pc:docMk/>
            <pc:sldMk cId="1339647628" sldId="586"/>
            <ac:spMk id="724" creationId="{C550CC7D-9282-0EDB-5EEA-EBA814DEEC39}"/>
          </ac:spMkLst>
        </pc:spChg>
        <pc:spChg chg="del">
          <ac:chgData name="Bullinger, Marvin" userId="5b54ce5a-dc89-476f-af33-5abd75d5b1e8" providerId="ADAL" clId="{B18DB96A-0F1B-4B04-B169-68D0DF683527}" dt="2024-08-07T20:14:35.073" v="7223" actId="478"/>
          <ac:spMkLst>
            <pc:docMk/>
            <pc:sldMk cId="1339647628" sldId="586"/>
            <ac:spMk id="724" creationId="{F6BA83F4-8F8E-58AA-0C43-B60366E196CC}"/>
          </ac:spMkLst>
        </pc:spChg>
        <pc:spChg chg="del">
          <ac:chgData name="Bullinger, Marvin" userId="5b54ce5a-dc89-476f-af33-5abd75d5b1e8" providerId="ADAL" clId="{B18DB96A-0F1B-4B04-B169-68D0DF683527}" dt="2024-08-06T09:48:23.743" v="2327" actId="478"/>
          <ac:spMkLst>
            <pc:docMk/>
            <pc:sldMk cId="1339647628" sldId="586"/>
            <ac:spMk id="725" creationId="{239E5957-804A-8662-F3C6-26DF9322FDCF}"/>
          </ac:spMkLst>
        </pc:spChg>
        <pc:spChg chg="del">
          <ac:chgData name="Bullinger, Marvin" userId="5b54ce5a-dc89-476f-af33-5abd75d5b1e8" providerId="ADAL" clId="{B18DB96A-0F1B-4B04-B169-68D0DF683527}" dt="2024-08-07T20:14:35.073" v="7222" actId="478"/>
          <ac:spMkLst>
            <pc:docMk/>
            <pc:sldMk cId="1339647628" sldId="586"/>
            <ac:spMk id="725" creationId="{9E1F35DC-CC10-7561-8493-C52C556A4392}"/>
          </ac:spMkLst>
        </pc:spChg>
        <pc:spChg chg="del">
          <ac:chgData name="Bullinger, Marvin" userId="5b54ce5a-dc89-476f-af33-5abd75d5b1e8" providerId="ADAL" clId="{B18DB96A-0F1B-4B04-B169-68D0DF683527}" dt="2024-08-06T09:48:23.711" v="2302" actId="478"/>
          <ac:spMkLst>
            <pc:docMk/>
            <pc:sldMk cId="1339647628" sldId="586"/>
            <ac:spMk id="726" creationId="{5E550985-A775-27F6-5262-D291ED7A68BB}"/>
          </ac:spMkLst>
        </pc:spChg>
        <pc:spChg chg="del">
          <ac:chgData name="Bullinger, Marvin" userId="5b54ce5a-dc89-476f-af33-5abd75d5b1e8" providerId="ADAL" clId="{B18DB96A-0F1B-4B04-B169-68D0DF683527}" dt="2024-08-07T20:14:35.073" v="7221" actId="478"/>
          <ac:spMkLst>
            <pc:docMk/>
            <pc:sldMk cId="1339647628" sldId="586"/>
            <ac:spMk id="726" creationId="{AEA46368-A42C-2FF2-A2DB-C89F61CE70E0}"/>
          </ac:spMkLst>
        </pc:spChg>
        <pc:spChg chg="del">
          <ac:chgData name="Bullinger, Marvin" userId="5b54ce5a-dc89-476f-af33-5abd75d5b1e8" providerId="ADAL" clId="{B18DB96A-0F1B-4B04-B169-68D0DF683527}" dt="2024-08-06T09:48:23.743" v="2326" actId="478"/>
          <ac:spMkLst>
            <pc:docMk/>
            <pc:sldMk cId="1339647628" sldId="586"/>
            <ac:spMk id="727" creationId="{35B57077-2C73-4CB3-0E7F-BD062EE183A7}"/>
          </ac:spMkLst>
        </pc:spChg>
        <pc:spChg chg="del">
          <ac:chgData name="Bullinger, Marvin" userId="5b54ce5a-dc89-476f-af33-5abd75d5b1e8" providerId="ADAL" clId="{B18DB96A-0F1B-4B04-B169-68D0DF683527}" dt="2024-08-07T20:14:35.073" v="7220" actId="478"/>
          <ac:spMkLst>
            <pc:docMk/>
            <pc:sldMk cId="1339647628" sldId="586"/>
            <ac:spMk id="727" creationId="{5E30D24C-CA1D-75C8-C13F-3B273C89A6CE}"/>
          </ac:spMkLst>
        </pc:spChg>
        <pc:spChg chg="del">
          <ac:chgData name="Bullinger, Marvin" userId="5b54ce5a-dc89-476f-af33-5abd75d5b1e8" providerId="ADAL" clId="{B18DB96A-0F1B-4B04-B169-68D0DF683527}" dt="2024-08-06T09:48:23.743" v="2325" actId="478"/>
          <ac:spMkLst>
            <pc:docMk/>
            <pc:sldMk cId="1339647628" sldId="586"/>
            <ac:spMk id="728" creationId="{90B83589-BECF-7A53-1C07-BF695E2223DD}"/>
          </ac:spMkLst>
        </pc:spChg>
        <pc:spChg chg="del">
          <ac:chgData name="Bullinger, Marvin" userId="5b54ce5a-dc89-476f-af33-5abd75d5b1e8" providerId="ADAL" clId="{B18DB96A-0F1B-4B04-B169-68D0DF683527}" dt="2024-08-07T20:14:35.088" v="7241" actId="478"/>
          <ac:spMkLst>
            <pc:docMk/>
            <pc:sldMk cId="1339647628" sldId="586"/>
            <ac:spMk id="728" creationId="{EBBFEFD9-8763-5BBC-7024-AB92AF33477C}"/>
          </ac:spMkLst>
        </pc:spChg>
        <pc:spChg chg="del">
          <ac:chgData name="Bullinger, Marvin" userId="5b54ce5a-dc89-476f-af33-5abd75d5b1e8" providerId="ADAL" clId="{B18DB96A-0F1B-4B04-B169-68D0DF683527}" dt="2024-08-06T09:48:23.759" v="2346" actId="478"/>
          <ac:spMkLst>
            <pc:docMk/>
            <pc:sldMk cId="1339647628" sldId="586"/>
            <ac:spMk id="729" creationId="{49003185-374E-617B-19DB-A039CEC62DF5}"/>
          </ac:spMkLst>
        </pc:spChg>
        <pc:spChg chg="del">
          <ac:chgData name="Bullinger, Marvin" userId="5b54ce5a-dc89-476f-af33-5abd75d5b1e8" providerId="ADAL" clId="{B18DB96A-0F1B-4B04-B169-68D0DF683527}" dt="2024-08-07T20:14:35.073" v="7240" actId="478"/>
          <ac:spMkLst>
            <pc:docMk/>
            <pc:sldMk cId="1339647628" sldId="586"/>
            <ac:spMk id="729" creationId="{4BE27CFB-0947-D38A-9461-B838C1B7E46C}"/>
          </ac:spMkLst>
        </pc:spChg>
        <pc:spChg chg="del">
          <ac:chgData name="Bullinger, Marvin" userId="5b54ce5a-dc89-476f-af33-5abd75d5b1e8" providerId="ADAL" clId="{B18DB96A-0F1B-4B04-B169-68D0DF683527}" dt="2024-08-07T20:14:35.073" v="7239" actId="478"/>
          <ac:spMkLst>
            <pc:docMk/>
            <pc:sldMk cId="1339647628" sldId="586"/>
            <ac:spMk id="730" creationId="{8F3520DB-C5EA-F555-CB20-86A1AB63FFA6}"/>
          </ac:spMkLst>
        </pc:spChg>
        <pc:spChg chg="del">
          <ac:chgData name="Bullinger, Marvin" userId="5b54ce5a-dc89-476f-af33-5abd75d5b1e8" providerId="ADAL" clId="{B18DB96A-0F1B-4B04-B169-68D0DF683527}" dt="2024-08-06T09:48:23.759" v="2345" actId="478"/>
          <ac:spMkLst>
            <pc:docMk/>
            <pc:sldMk cId="1339647628" sldId="586"/>
            <ac:spMk id="730" creationId="{92810B53-97B0-C8FB-A9C7-8029B4ED14F5}"/>
          </ac:spMkLst>
        </pc:spChg>
        <pc:spChg chg="del">
          <ac:chgData name="Bullinger, Marvin" userId="5b54ce5a-dc89-476f-af33-5abd75d5b1e8" providerId="ADAL" clId="{B18DB96A-0F1B-4B04-B169-68D0DF683527}" dt="2024-08-06T09:48:23.759" v="2344" actId="478"/>
          <ac:spMkLst>
            <pc:docMk/>
            <pc:sldMk cId="1339647628" sldId="586"/>
            <ac:spMk id="731" creationId="{03DD0FDF-28EA-EF0E-DC46-D4185D6DAF93}"/>
          </ac:spMkLst>
        </pc:spChg>
        <pc:spChg chg="del">
          <ac:chgData name="Bullinger, Marvin" userId="5b54ce5a-dc89-476f-af33-5abd75d5b1e8" providerId="ADAL" clId="{B18DB96A-0F1B-4B04-B169-68D0DF683527}" dt="2024-08-07T20:14:35.073" v="7238" actId="478"/>
          <ac:spMkLst>
            <pc:docMk/>
            <pc:sldMk cId="1339647628" sldId="586"/>
            <ac:spMk id="731" creationId="{21353B82-D97E-C0F4-D134-34E948BC9A3A}"/>
          </ac:spMkLst>
        </pc:spChg>
        <pc:spChg chg="del">
          <ac:chgData name="Bullinger, Marvin" userId="5b54ce5a-dc89-476f-af33-5abd75d5b1e8" providerId="ADAL" clId="{B18DB96A-0F1B-4B04-B169-68D0DF683527}" dt="2024-08-07T20:14:35.073" v="7237" actId="478"/>
          <ac:spMkLst>
            <pc:docMk/>
            <pc:sldMk cId="1339647628" sldId="586"/>
            <ac:spMk id="732" creationId="{0BE5BF5A-CC47-0E3A-98D1-C168617FEACD}"/>
          </ac:spMkLst>
        </pc:spChg>
        <pc:spChg chg="del">
          <ac:chgData name="Bullinger, Marvin" userId="5b54ce5a-dc89-476f-af33-5abd75d5b1e8" providerId="ADAL" clId="{B18DB96A-0F1B-4B04-B169-68D0DF683527}" dt="2024-08-06T09:48:23.759" v="2343" actId="478"/>
          <ac:spMkLst>
            <pc:docMk/>
            <pc:sldMk cId="1339647628" sldId="586"/>
            <ac:spMk id="732" creationId="{E9BCA5BC-6DBC-CC17-C1C6-D26FB5BE09D7}"/>
          </ac:spMkLst>
        </pc:spChg>
        <pc:spChg chg="del">
          <ac:chgData name="Bullinger, Marvin" userId="5b54ce5a-dc89-476f-af33-5abd75d5b1e8" providerId="ADAL" clId="{B18DB96A-0F1B-4B04-B169-68D0DF683527}" dt="2024-08-06T09:48:23.759" v="2342" actId="478"/>
          <ac:spMkLst>
            <pc:docMk/>
            <pc:sldMk cId="1339647628" sldId="586"/>
            <ac:spMk id="733" creationId="{1A5194DB-D818-AFFA-6146-1CC7EDFC6947}"/>
          </ac:spMkLst>
        </pc:spChg>
        <pc:spChg chg="del">
          <ac:chgData name="Bullinger, Marvin" userId="5b54ce5a-dc89-476f-af33-5abd75d5b1e8" providerId="ADAL" clId="{B18DB96A-0F1B-4B04-B169-68D0DF683527}" dt="2024-08-07T20:14:35.073" v="7236" actId="478"/>
          <ac:spMkLst>
            <pc:docMk/>
            <pc:sldMk cId="1339647628" sldId="586"/>
            <ac:spMk id="733" creationId="{DCC07A17-86C3-A949-A551-FBDD25EB1AB9}"/>
          </ac:spMkLst>
        </pc:spChg>
        <pc:spChg chg="del">
          <ac:chgData name="Bullinger, Marvin" userId="5b54ce5a-dc89-476f-af33-5abd75d5b1e8" providerId="ADAL" clId="{B18DB96A-0F1B-4B04-B169-68D0DF683527}" dt="2024-08-07T20:14:35.073" v="7235" actId="478"/>
          <ac:spMkLst>
            <pc:docMk/>
            <pc:sldMk cId="1339647628" sldId="586"/>
            <ac:spMk id="734" creationId="{13791E19-4126-B37F-D241-301178B8C87E}"/>
          </ac:spMkLst>
        </pc:spChg>
        <pc:spChg chg="del">
          <ac:chgData name="Bullinger, Marvin" userId="5b54ce5a-dc89-476f-af33-5abd75d5b1e8" providerId="ADAL" clId="{B18DB96A-0F1B-4B04-B169-68D0DF683527}" dt="2024-08-06T09:48:23.759" v="2341" actId="478"/>
          <ac:spMkLst>
            <pc:docMk/>
            <pc:sldMk cId="1339647628" sldId="586"/>
            <ac:spMk id="734" creationId="{F757B296-E581-7F02-4021-38ACC3A72633}"/>
          </ac:spMkLst>
        </pc:spChg>
        <pc:spChg chg="del">
          <ac:chgData name="Bullinger, Marvin" userId="5b54ce5a-dc89-476f-af33-5abd75d5b1e8" providerId="ADAL" clId="{B18DB96A-0F1B-4B04-B169-68D0DF683527}" dt="2024-08-06T09:48:23.759" v="2340" actId="478"/>
          <ac:spMkLst>
            <pc:docMk/>
            <pc:sldMk cId="1339647628" sldId="586"/>
            <ac:spMk id="735" creationId="{01595C23-D220-FB8E-AC52-5CACEBE2FD7E}"/>
          </ac:spMkLst>
        </pc:spChg>
        <pc:spChg chg="del">
          <ac:chgData name="Bullinger, Marvin" userId="5b54ce5a-dc89-476f-af33-5abd75d5b1e8" providerId="ADAL" clId="{B18DB96A-0F1B-4B04-B169-68D0DF683527}" dt="2024-08-07T20:14:35.073" v="7234" actId="478"/>
          <ac:spMkLst>
            <pc:docMk/>
            <pc:sldMk cId="1339647628" sldId="586"/>
            <ac:spMk id="735" creationId="{214A3FB5-FD9D-43F0-2C17-9944226AF353}"/>
          </ac:spMkLst>
        </pc:spChg>
        <pc:spChg chg="del">
          <ac:chgData name="Bullinger, Marvin" userId="5b54ce5a-dc89-476f-af33-5abd75d5b1e8" providerId="ADAL" clId="{B18DB96A-0F1B-4B04-B169-68D0DF683527}" dt="2024-08-07T20:14:35.073" v="7226" actId="478"/>
          <ac:spMkLst>
            <pc:docMk/>
            <pc:sldMk cId="1339647628" sldId="586"/>
            <ac:spMk id="736" creationId="{5A08980C-6A73-2150-242C-8076EEEF4B26}"/>
          </ac:spMkLst>
        </pc:spChg>
        <pc:spChg chg="del">
          <ac:chgData name="Bullinger, Marvin" userId="5b54ce5a-dc89-476f-af33-5abd75d5b1e8" providerId="ADAL" clId="{B18DB96A-0F1B-4B04-B169-68D0DF683527}" dt="2024-08-06T09:48:23.759" v="2339" actId="478"/>
          <ac:spMkLst>
            <pc:docMk/>
            <pc:sldMk cId="1339647628" sldId="586"/>
            <ac:spMk id="736" creationId="{6C8B20BA-BBD8-0E0F-4BF5-D32FB5EA3AB0}"/>
          </ac:spMkLst>
        </pc:spChg>
        <pc:spChg chg="del">
          <ac:chgData name="Bullinger, Marvin" userId="5b54ce5a-dc89-476f-af33-5abd75d5b1e8" providerId="ADAL" clId="{B18DB96A-0F1B-4B04-B169-68D0DF683527}" dt="2024-08-07T20:14:35.073" v="7219" actId="478"/>
          <ac:spMkLst>
            <pc:docMk/>
            <pc:sldMk cId="1339647628" sldId="586"/>
            <ac:spMk id="737" creationId="{BFF9DB76-46D2-A18F-D53C-84EAAB158212}"/>
          </ac:spMkLst>
        </pc:spChg>
        <pc:spChg chg="del">
          <ac:chgData name="Bullinger, Marvin" userId="5b54ce5a-dc89-476f-af33-5abd75d5b1e8" providerId="ADAL" clId="{B18DB96A-0F1B-4B04-B169-68D0DF683527}" dt="2024-08-06T09:48:23.743" v="2331" actId="478"/>
          <ac:spMkLst>
            <pc:docMk/>
            <pc:sldMk cId="1339647628" sldId="586"/>
            <ac:spMk id="737" creationId="{CBCAAE08-887C-77B3-3586-AF6713F804CD}"/>
          </ac:spMkLst>
        </pc:spChg>
        <pc:spChg chg="del">
          <ac:chgData name="Bullinger, Marvin" userId="5b54ce5a-dc89-476f-af33-5abd75d5b1e8" providerId="ADAL" clId="{B18DB96A-0F1B-4B04-B169-68D0DF683527}" dt="2024-08-07T20:14:35.073" v="7227" actId="478"/>
          <ac:spMkLst>
            <pc:docMk/>
            <pc:sldMk cId="1339647628" sldId="586"/>
            <ac:spMk id="738" creationId="{AB388882-8051-E9A3-7844-2B638F27B33B}"/>
          </ac:spMkLst>
        </pc:spChg>
        <pc:spChg chg="del">
          <ac:chgData name="Bullinger, Marvin" userId="5b54ce5a-dc89-476f-af33-5abd75d5b1e8" providerId="ADAL" clId="{B18DB96A-0F1B-4B04-B169-68D0DF683527}" dt="2024-08-06T09:48:23.743" v="2324" actId="478"/>
          <ac:spMkLst>
            <pc:docMk/>
            <pc:sldMk cId="1339647628" sldId="586"/>
            <ac:spMk id="738" creationId="{F9238CC2-EA7C-41A8-B99E-4C2FB0C608A8}"/>
          </ac:spMkLst>
        </pc:spChg>
        <pc:spChg chg="del">
          <ac:chgData name="Bullinger, Marvin" userId="5b54ce5a-dc89-476f-af33-5abd75d5b1e8" providerId="ADAL" clId="{B18DB96A-0F1B-4B04-B169-68D0DF683527}" dt="2024-08-06T09:48:23.743" v="2332" actId="478"/>
          <ac:spMkLst>
            <pc:docMk/>
            <pc:sldMk cId="1339647628" sldId="586"/>
            <ac:spMk id="739" creationId="{3ED4472B-3CE9-26FC-F651-831910757FE6}"/>
          </ac:spMkLst>
        </pc:spChg>
        <pc:spChg chg="del">
          <ac:chgData name="Bullinger, Marvin" userId="5b54ce5a-dc89-476f-af33-5abd75d5b1e8" providerId="ADAL" clId="{B18DB96A-0F1B-4B04-B169-68D0DF683527}" dt="2024-08-07T20:14:35.073" v="7218" actId="478"/>
          <ac:spMkLst>
            <pc:docMk/>
            <pc:sldMk cId="1339647628" sldId="586"/>
            <ac:spMk id="739" creationId="{927D9AB1-52C7-50D4-BA3A-101F9B31925E}"/>
          </ac:spMkLst>
        </pc:spChg>
        <pc:spChg chg="del">
          <ac:chgData name="Bullinger, Marvin" userId="5b54ce5a-dc89-476f-af33-5abd75d5b1e8" providerId="ADAL" clId="{B18DB96A-0F1B-4B04-B169-68D0DF683527}" dt="2024-08-06T09:48:23.743" v="2323" actId="478"/>
          <ac:spMkLst>
            <pc:docMk/>
            <pc:sldMk cId="1339647628" sldId="586"/>
            <ac:spMk id="740" creationId="{27F26760-ECC7-4CA8-585E-B1D08400985A}"/>
          </ac:spMkLst>
        </pc:spChg>
        <pc:spChg chg="del">
          <ac:chgData name="Bullinger, Marvin" userId="5b54ce5a-dc89-476f-af33-5abd75d5b1e8" providerId="ADAL" clId="{B18DB96A-0F1B-4B04-B169-68D0DF683527}" dt="2024-08-07T20:14:35.073" v="7217" actId="478"/>
          <ac:spMkLst>
            <pc:docMk/>
            <pc:sldMk cId="1339647628" sldId="586"/>
            <ac:spMk id="740" creationId="{C6F36B51-B3F9-107D-92AE-E27D005B34DC}"/>
          </ac:spMkLst>
        </pc:spChg>
        <pc:spChg chg="del">
          <ac:chgData name="Bullinger, Marvin" userId="5b54ce5a-dc89-476f-af33-5abd75d5b1e8" providerId="ADAL" clId="{B18DB96A-0F1B-4B04-B169-68D0DF683527}" dt="2024-08-06T09:48:23.743" v="2322" actId="478"/>
          <ac:spMkLst>
            <pc:docMk/>
            <pc:sldMk cId="1339647628" sldId="586"/>
            <ac:spMk id="741" creationId="{607232BD-7B58-D736-623F-B02A41CED153}"/>
          </ac:spMkLst>
        </pc:spChg>
        <pc:spChg chg="del">
          <ac:chgData name="Bullinger, Marvin" userId="5b54ce5a-dc89-476f-af33-5abd75d5b1e8" providerId="ADAL" clId="{B18DB96A-0F1B-4B04-B169-68D0DF683527}" dt="2024-08-07T20:14:35.073" v="7216" actId="478"/>
          <ac:spMkLst>
            <pc:docMk/>
            <pc:sldMk cId="1339647628" sldId="586"/>
            <ac:spMk id="741" creationId="{9FC62211-672F-A53D-3E94-14B67B87856C}"/>
          </ac:spMkLst>
        </pc:spChg>
        <pc:spChg chg="del">
          <ac:chgData name="Bullinger, Marvin" userId="5b54ce5a-dc89-476f-af33-5abd75d5b1e8" providerId="ADAL" clId="{B18DB96A-0F1B-4B04-B169-68D0DF683527}" dt="2024-08-07T20:14:35.057" v="7215" actId="478"/>
          <ac:spMkLst>
            <pc:docMk/>
            <pc:sldMk cId="1339647628" sldId="586"/>
            <ac:spMk id="742" creationId="{AEDE4B7D-52B5-956F-CA66-FB9FF0388D15}"/>
          </ac:spMkLst>
        </pc:spChg>
        <pc:spChg chg="del">
          <ac:chgData name="Bullinger, Marvin" userId="5b54ce5a-dc89-476f-af33-5abd75d5b1e8" providerId="ADAL" clId="{B18DB96A-0F1B-4B04-B169-68D0DF683527}" dt="2024-08-06T09:48:23.743" v="2321" actId="478"/>
          <ac:spMkLst>
            <pc:docMk/>
            <pc:sldMk cId="1339647628" sldId="586"/>
            <ac:spMk id="742" creationId="{FE09AA88-36E1-5452-3658-4116063F2F4C}"/>
          </ac:spMkLst>
        </pc:spChg>
        <pc:spChg chg="del">
          <ac:chgData name="Bullinger, Marvin" userId="5b54ce5a-dc89-476f-af33-5abd75d5b1e8" providerId="ADAL" clId="{B18DB96A-0F1B-4B04-B169-68D0DF683527}" dt="2024-08-06T09:48:23.743" v="2320" actId="478"/>
          <ac:spMkLst>
            <pc:docMk/>
            <pc:sldMk cId="1339647628" sldId="586"/>
            <ac:spMk id="743" creationId="{64F2C346-E230-34C1-235C-AFF563D00762}"/>
          </ac:spMkLst>
        </pc:spChg>
        <pc:spChg chg="del">
          <ac:chgData name="Bullinger, Marvin" userId="5b54ce5a-dc89-476f-af33-5abd75d5b1e8" providerId="ADAL" clId="{B18DB96A-0F1B-4B04-B169-68D0DF683527}" dt="2024-08-07T20:14:35.057" v="7214" actId="478"/>
          <ac:spMkLst>
            <pc:docMk/>
            <pc:sldMk cId="1339647628" sldId="586"/>
            <ac:spMk id="743" creationId="{9C2854A5-E881-40F4-5C73-AC69D5EA4F08}"/>
          </ac:spMkLst>
        </pc:spChg>
        <pc:spChg chg="del">
          <ac:chgData name="Bullinger, Marvin" userId="5b54ce5a-dc89-476f-af33-5abd75d5b1e8" providerId="ADAL" clId="{B18DB96A-0F1B-4B04-B169-68D0DF683527}" dt="2024-08-07T20:14:35.057" v="7213" actId="478"/>
          <ac:spMkLst>
            <pc:docMk/>
            <pc:sldMk cId="1339647628" sldId="586"/>
            <ac:spMk id="744" creationId="{0AE57A32-F606-2B60-4A39-DF803188AAE4}"/>
          </ac:spMkLst>
        </pc:spChg>
        <pc:spChg chg="del">
          <ac:chgData name="Bullinger, Marvin" userId="5b54ce5a-dc89-476f-af33-5abd75d5b1e8" providerId="ADAL" clId="{B18DB96A-0F1B-4B04-B169-68D0DF683527}" dt="2024-08-06T09:48:23.743" v="2319" actId="478"/>
          <ac:spMkLst>
            <pc:docMk/>
            <pc:sldMk cId="1339647628" sldId="586"/>
            <ac:spMk id="744" creationId="{98D9563D-C327-6584-CAE3-89D8846CD1C2}"/>
          </ac:spMkLst>
        </pc:spChg>
        <pc:spChg chg="del">
          <ac:chgData name="Bullinger, Marvin" userId="5b54ce5a-dc89-476f-af33-5abd75d5b1e8" providerId="ADAL" clId="{B18DB96A-0F1B-4B04-B169-68D0DF683527}" dt="2024-08-07T20:14:35.057" v="7212" actId="478"/>
          <ac:spMkLst>
            <pc:docMk/>
            <pc:sldMk cId="1339647628" sldId="586"/>
            <ac:spMk id="745" creationId="{15FFDB28-57E1-3F7C-F98F-FEF7404FF9FB}"/>
          </ac:spMkLst>
        </pc:spChg>
        <pc:spChg chg="del">
          <ac:chgData name="Bullinger, Marvin" userId="5b54ce5a-dc89-476f-af33-5abd75d5b1e8" providerId="ADAL" clId="{B18DB96A-0F1B-4B04-B169-68D0DF683527}" dt="2024-08-06T09:48:23.743" v="2318" actId="478"/>
          <ac:spMkLst>
            <pc:docMk/>
            <pc:sldMk cId="1339647628" sldId="586"/>
            <ac:spMk id="745" creationId="{712F4D70-2527-CF95-2F30-ACA03BA18F1F}"/>
          </ac:spMkLst>
        </pc:spChg>
        <pc:spChg chg="del">
          <ac:chgData name="Bullinger, Marvin" userId="5b54ce5a-dc89-476f-af33-5abd75d5b1e8" providerId="ADAL" clId="{B18DB96A-0F1B-4B04-B169-68D0DF683527}" dt="2024-08-06T09:48:23.743" v="2317" actId="478"/>
          <ac:spMkLst>
            <pc:docMk/>
            <pc:sldMk cId="1339647628" sldId="586"/>
            <ac:spMk id="746" creationId="{1AD15B7E-1E53-B4B7-1799-87F6B181E4E0}"/>
          </ac:spMkLst>
        </pc:spChg>
        <pc:spChg chg="del">
          <ac:chgData name="Bullinger, Marvin" userId="5b54ce5a-dc89-476f-af33-5abd75d5b1e8" providerId="ADAL" clId="{B18DB96A-0F1B-4B04-B169-68D0DF683527}" dt="2024-08-07T20:14:35.057" v="7211" actId="478"/>
          <ac:spMkLst>
            <pc:docMk/>
            <pc:sldMk cId="1339647628" sldId="586"/>
            <ac:spMk id="746" creationId="{90970248-1CAD-01F1-5FD9-AB2230996195}"/>
          </ac:spMkLst>
        </pc:spChg>
        <pc:spChg chg="del">
          <ac:chgData name="Bullinger, Marvin" userId="5b54ce5a-dc89-476f-af33-5abd75d5b1e8" providerId="ADAL" clId="{B18DB96A-0F1B-4B04-B169-68D0DF683527}" dt="2024-08-07T20:14:35.057" v="7210" actId="478"/>
          <ac:spMkLst>
            <pc:docMk/>
            <pc:sldMk cId="1339647628" sldId="586"/>
            <ac:spMk id="747" creationId="{5ED6068A-3D5E-68AD-88EF-6D058350310C}"/>
          </ac:spMkLst>
        </pc:spChg>
        <pc:spChg chg="del">
          <ac:chgData name="Bullinger, Marvin" userId="5b54ce5a-dc89-476f-af33-5abd75d5b1e8" providerId="ADAL" clId="{B18DB96A-0F1B-4B04-B169-68D0DF683527}" dt="2024-08-06T09:48:23.743" v="2316" actId="478"/>
          <ac:spMkLst>
            <pc:docMk/>
            <pc:sldMk cId="1339647628" sldId="586"/>
            <ac:spMk id="747" creationId="{6081727D-3E89-5162-2618-7F6B90E0D0B4}"/>
          </ac:spMkLst>
        </pc:spChg>
        <pc:spChg chg="del">
          <ac:chgData name="Bullinger, Marvin" userId="5b54ce5a-dc89-476f-af33-5abd75d5b1e8" providerId="ADAL" clId="{B18DB96A-0F1B-4B04-B169-68D0DF683527}" dt="2024-08-07T20:14:35.057" v="7209" actId="478"/>
          <ac:spMkLst>
            <pc:docMk/>
            <pc:sldMk cId="1339647628" sldId="586"/>
            <ac:spMk id="748" creationId="{24555E33-52F4-D2C2-1BB1-D8CE159FF1BC}"/>
          </ac:spMkLst>
        </pc:spChg>
        <pc:spChg chg="del">
          <ac:chgData name="Bullinger, Marvin" userId="5b54ce5a-dc89-476f-af33-5abd75d5b1e8" providerId="ADAL" clId="{B18DB96A-0F1B-4B04-B169-68D0DF683527}" dt="2024-08-06T09:48:23.743" v="2315" actId="478"/>
          <ac:spMkLst>
            <pc:docMk/>
            <pc:sldMk cId="1339647628" sldId="586"/>
            <ac:spMk id="748" creationId="{DE15D602-3D4F-620E-C87A-261A0DAA92EB}"/>
          </ac:spMkLst>
        </pc:spChg>
        <pc:spChg chg="del">
          <ac:chgData name="Bullinger, Marvin" userId="5b54ce5a-dc89-476f-af33-5abd75d5b1e8" providerId="ADAL" clId="{B18DB96A-0F1B-4B04-B169-68D0DF683527}" dt="2024-08-07T20:14:35.057" v="7208" actId="478"/>
          <ac:spMkLst>
            <pc:docMk/>
            <pc:sldMk cId="1339647628" sldId="586"/>
            <ac:spMk id="749" creationId="{79AD4991-E3C1-0185-2142-E063DBBDEF22}"/>
          </ac:spMkLst>
        </pc:spChg>
        <pc:spChg chg="del">
          <ac:chgData name="Bullinger, Marvin" userId="5b54ce5a-dc89-476f-af33-5abd75d5b1e8" providerId="ADAL" clId="{B18DB96A-0F1B-4B04-B169-68D0DF683527}" dt="2024-08-06T09:48:23.743" v="2314" actId="478"/>
          <ac:spMkLst>
            <pc:docMk/>
            <pc:sldMk cId="1339647628" sldId="586"/>
            <ac:spMk id="749" creationId="{8C1C396A-A7DA-32C4-A210-EFC94430E18A}"/>
          </ac:spMkLst>
        </pc:spChg>
        <pc:spChg chg="del">
          <ac:chgData name="Bullinger, Marvin" userId="5b54ce5a-dc89-476f-af33-5abd75d5b1e8" providerId="ADAL" clId="{B18DB96A-0F1B-4B04-B169-68D0DF683527}" dt="2024-08-07T20:14:35.057" v="7207" actId="478"/>
          <ac:spMkLst>
            <pc:docMk/>
            <pc:sldMk cId="1339647628" sldId="586"/>
            <ac:spMk id="750" creationId="{53D1B26E-80F2-8FED-0A74-F7C21CDB096B}"/>
          </ac:spMkLst>
        </pc:spChg>
        <pc:spChg chg="del">
          <ac:chgData name="Bullinger, Marvin" userId="5b54ce5a-dc89-476f-af33-5abd75d5b1e8" providerId="ADAL" clId="{B18DB96A-0F1B-4B04-B169-68D0DF683527}" dt="2024-08-06T09:48:23.743" v="2313" actId="478"/>
          <ac:spMkLst>
            <pc:docMk/>
            <pc:sldMk cId="1339647628" sldId="586"/>
            <ac:spMk id="750" creationId="{E3771E66-4894-3649-FF32-D38FBC63614D}"/>
          </ac:spMkLst>
        </pc:spChg>
        <pc:spChg chg="del">
          <ac:chgData name="Bullinger, Marvin" userId="5b54ce5a-dc89-476f-af33-5abd75d5b1e8" providerId="ADAL" clId="{B18DB96A-0F1B-4B04-B169-68D0DF683527}" dt="2024-08-06T09:48:23.743" v="2312" actId="478"/>
          <ac:spMkLst>
            <pc:docMk/>
            <pc:sldMk cId="1339647628" sldId="586"/>
            <ac:spMk id="751" creationId="{5B11AF33-7473-307D-A6D7-5497E10321EB}"/>
          </ac:spMkLst>
        </pc:spChg>
        <pc:spChg chg="del">
          <ac:chgData name="Bullinger, Marvin" userId="5b54ce5a-dc89-476f-af33-5abd75d5b1e8" providerId="ADAL" clId="{B18DB96A-0F1B-4B04-B169-68D0DF683527}" dt="2024-08-07T20:14:35.057" v="7206" actId="478"/>
          <ac:spMkLst>
            <pc:docMk/>
            <pc:sldMk cId="1339647628" sldId="586"/>
            <ac:spMk id="751" creationId="{7CD67156-E668-6813-2281-13529D531A99}"/>
          </ac:spMkLst>
        </pc:spChg>
        <pc:spChg chg="del">
          <ac:chgData name="Bullinger, Marvin" userId="5b54ce5a-dc89-476f-af33-5abd75d5b1e8" providerId="ADAL" clId="{B18DB96A-0F1B-4B04-B169-68D0DF683527}" dt="2024-08-07T20:14:35.057" v="7205" actId="478"/>
          <ac:spMkLst>
            <pc:docMk/>
            <pc:sldMk cId="1339647628" sldId="586"/>
            <ac:spMk id="752" creationId="{281EFAAC-A298-070F-D709-61BA36EE3286}"/>
          </ac:spMkLst>
        </pc:spChg>
        <pc:spChg chg="del">
          <ac:chgData name="Bullinger, Marvin" userId="5b54ce5a-dc89-476f-af33-5abd75d5b1e8" providerId="ADAL" clId="{B18DB96A-0F1B-4B04-B169-68D0DF683527}" dt="2024-08-06T09:48:23.743" v="2311" actId="478"/>
          <ac:spMkLst>
            <pc:docMk/>
            <pc:sldMk cId="1339647628" sldId="586"/>
            <ac:spMk id="752" creationId="{A7C7BDFB-FFC8-DB89-0040-65627881E864}"/>
          </ac:spMkLst>
        </pc:spChg>
        <pc:spChg chg="del">
          <ac:chgData name="Bullinger, Marvin" userId="5b54ce5a-dc89-476f-af33-5abd75d5b1e8" providerId="ADAL" clId="{B18DB96A-0F1B-4B04-B169-68D0DF683527}" dt="2024-08-06T09:48:23.743" v="2310" actId="478"/>
          <ac:spMkLst>
            <pc:docMk/>
            <pc:sldMk cId="1339647628" sldId="586"/>
            <ac:spMk id="753" creationId="{6CC345A5-B057-1808-A85F-8E094C5FDE23}"/>
          </ac:spMkLst>
        </pc:spChg>
        <pc:spChg chg="del">
          <ac:chgData name="Bullinger, Marvin" userId="5b54ce5a-dc89-476f-af33-5abd75d5b1e8" providerId="ADAL" clId="{B18DB96A-0F1B-4B04-B169-68D0DF683527}" dt="2024-08-08T22:04:41.014" v="10033" actId="478"/>
          <ac:spMkLst>
            <pc:docMk/>
            <pc:sldMk cId="1339647628" sldId="586"/>
            <ac:spMk id="753" creationId="{875465CC-F073-8BFD-8148-E83504091240}"/>
          </ac:spMkLst>
        </pc:spChg>
        <pc:spChg chg="replST">
          <ac:chgData name="Bullinger, Marvin" userId="5b54ce5a-dc89-476f-af33-5abd75d5b1e8" providerId="ADAL" clId="{B18DB96A-0F1B-4B04-B169-68D0DF683527}" dt="2024-08-06T09:48:23.994" v="2576"/>
          <ac:spMkLst>
            <pc:docMk/>
            <pc:sldMk cId="1339647628" sldId="586"/>
            <ac:spMk id="754" creationId="{463BFC11-3C49-9007-5AF1-6B65ADC5F968}"/>
          </ac:spMkLst>
        </pc:spChg>
        <pc:spChg chg="mod replST">
          <ac:chgData name="Bullinger, Marvin" userId="5b54ce5a-dc89-476f-af33-5abd75d5b1e8" providerId="ADAL" clId="{B18DB96A-0F1B-4B04-B169-68D0DF683527}" dt="2024-08-06T09:48:38.647" v="2889" actId="20577"/>
          <ac:spMkLst>
            <pc:docMk/>
            <pc:sldMk cId="1339647628" sldId="586"/>
            <ac:spMk id="755" creationId="{9D65A6EE-EECC-0349-85E1-9AB667DD0634}"/>
          </ac:spMkLst>
        </pc:spChg>
        <pc:spChg chg="replST">
          <ac:chgData name="Bullinger, Marvin" userId="5b54ce5a-dc89-476f-af33-5abd75d5b1e8" providerId="ADAL" clId="{B18DB96A-0F1B-4B04-B169-68D0DF683527}" dt="2024-08-06T09:48:24.010" v="2583"/>
          <ac:spMkLst>
            <pc:docMk/>
            <pc:sldMk cId="1339647628" sldId="586"/>
            <ac:spMk id="757" creationId="{C8A173E1-A0BA-537E-2239-5F6EAC6AA117}"/>
          </ac:spMkLst>
        </pc:spChg>
        <pc:spChg chg="mod replST">
          <ac:chgData name="Bullinger, Marvin" userId="5b54ce5a-dc89-476f-af33-5abd75d5b1e8" providerId="ADAL" clId="{B18DB96A-0F1B-4B04-B169-68D0DF683527}" dt="2024-08-06T09:48:43.912" v="2893" actId="20577"/>
          <ac:spMkLst>
            <pc:docMk/>
            <pc:sldMk cId="1339647628" sldId="586"/>
            <ac:spMk id="758" creationId="{620867E0-6E25-E090-A8E9-CCE227932BE3}"/>
          </ac:spMkLst>
        </pc:spChg>
        <pc:spChg chg="replST">
          <ac:chgData name="Bullinger, Marvin" userId="5b54ce5a-dc89-476f-af33-5abd75d5b1e8" providerId="ADAL" clId="{B18DB96A-0F1B-4B04-B169-68D0DF683527}" dt="2024-08-06T09:48:24.026" v="2590"/>
          <ac:spMkLst>
            <pc:docMk/>
            <pc:sldMk cId="1339647628" sldId="586"/>
            <ac:spMk id="760" creationId="{1ECA2E1B-7E4C-C031-13EF-601B89D0CBEF}"/>
          </ac:spMkLst>
        </pc:spChg>
        <pc:spChg chg="mod replST">
          <ac:chgData name="Bullinger, Marvin" userId="5b54ce5a-dc89-476f-af33-5abd75d5b1e8" providerId="ADAL" clId="{B18DB96A-0F1B-4B04-B169-68D0DF683527}" dt="2024-08-06T09:48:49.872" v="2897" actId="20577"/>
          <ac:spMkLst>
            <pc:docMk/>
            <pc:sldMk cId="1339647628" sldId="586"/>
            <ac:spMk id="761" creationId="{EE35CA61-EFD0-7959-2ABF-E9FC57CDDC23}"/>
          </ac:spMkLst>
        </pc:spChg>
        <pc:spChg chg="replST">
          <ac:chgData name="Bullinger, Marvin" userId="5b54ce5a-dc89-476f-af33-5abd75d5b1e8" providerId="ADAL" clId="{B18DB96A-0F1B-4B04-B169-68D0DF683527}" dt="2024-08-06T09:48:24.037" v="2597"/>
          <ac:spMkLst>
            <pc:docMk/>
            <pc:sldMk cId="1339647628" sldId="586"/>
            <ac:spMk id="763" creationId="{AEBBAF34-0BF7-25FB-D35E-62942C4B04A4}"/>
          </ac:spMkLst>
        </pc:spChg>
        <pc:spChg chg="mod replST">
          <ac:chgData name="Bullinger, Marvin" userId="5b54ce5a-dc89-476f-af33-5abd75d5b1e8" providerId="ADAL" clId="{B18DB96A-0F1B-4B04-B169-68D0DF683527}" dt="2024-08-08T22:08:06.397" v="10035" actId="207"/>
          <ac:spMkLst>
            <pc:docMk/>
            <pc:sldMk cId="1339647628" sldId="586"/>
            <ac:spMk id="764" creationId="{0557D0EF-29ED-486B-1508-EF406F8D71E7}"/>
          </ac:spMkLst>
        </pc:spChg>
        <pc:spChg chg="mod">
          <ac:chgData name="Bullinger, Marvin" userId="5b54ce5a-dc89-476f-af33-5abd75d5b1e8" providerId="ADAL" clId="{B18DB96A-0F1B-4B04-B169-68D0DF683527}" dt="2024-08-06T09:43:39.113" v="2185" actId="20577"/>
          <ac:spMkLst>
            <pc:docMk/>
            <pc:sldMk cId="1339647628" sldId="586"/>
            <ac:spMk id="765" creationId="{0C567E59-F642-728B-3740-454FE52D6F97}"/>
          </ac:spMkLst>
        </pc:spChg>
        <pc:spChg chg="replST">
          <ac:chgData name="Bullinger, Marvin" userId="5b54ce5a-dc89-476f-af33-5abd75d5b1e8" providerId="ADAL" clId="{B18DB96A-0F1B-4B04-B169-68D0DF683527}" dt="2024-08-07T20:14:35.517" v="7468"/>
          <ac:spMkLst>
            <pc:docMk/>
            <pc:sldMk cId="1339647628" sldId="586"/>
            <ac:spMk id="765" creationId="{6A83ADE9-5350-CD42-9251-16DD5D2E1AD7}"/>
          </ac:spMkLst>
        </pc:spChg>
        <pc:spChg chg="mod replST">
          <ac:chgData name="Bullinger, Marvin" userId="5b54ce5a-dc89-476f-af33-5abd75d5b1e8" providerId="ADAL" clId="{B18DB96A-0F1B-4B04-B169-68D0DF683527}" dt="2024-08-08T22:08:12.227" v="10036" actId="207"/>
          <ac:spMkLst>
            <pc:docMk/>
            <pc:sldMk cId="1339647628" sldId="586"/>
            <ac:spMk id="767" creationId="{87102CD2-9219-93B5-500A-B869516A8C77}"/>
          </ac:spMkLst>
        </pc:spChg>
        <pc:spChg chg="replST">
          <ac:chgData name="Bullinger, Marvin" userId="5b54ce5a-dc89-476f-af33-5abd75d5b1e8" providerId="ADAL" clId="{B18DB96A-0F1B-4B04-B169-68D0DF683527}" dt="2024-08-07T20:14:35.546" v="7475"/>
          <ac:spMkLst>
            <pc:docMk/>
            <pc:sldMk cId="1339647628" sldId="586"/>
            <ac:spMk id="768" creationId="{B08024AF-17D5-FBA3-8776-A3FDAB466049}"/>
          </ac:spMkLst>
        </pc:spChg>
        <pc:spChg chg="mod">
          <ac:chgData name="Bullinger, Marvin" userId="5b54ce5a-dc89-476f-af33-5abd75d5b1e8" providerId="ADAL" clId="{B18DB96A-0F1B-4B04-B169-68D0DF683527}" dt="2024-08-06T09:43:42.104" v="2187" actId="20577"/>
          <ac:spMkLst>
            <pc:docMk/>
            <pc:sldMk cId="1339647628" sldId="586"/>
            <ac:spMk id="768" creationId="{C145651F-E8FA-63DC-621C-E86F06DF35BE}"/>
          </ac:spMkLst>
        </pc:spChg>
        <pc:spChg chg="mod replST">
          <ac:chgData name="Bullinger, Marvin" userId="5b54ce5a-dc89-476f-af33-5abd75d5b1e8" providerId="ADAL" clId="{B18DB96A-0F1B-4B04-B169-68D0DF683527}" dt="2024-08-08T22:08:16.245" v="10037" actId="207"/>
          <ac:spMkLst>
            <pc:docMk/>
            <pc:sldMk cId="1339647628" sldId="586"/>
            <ac:spMk id="770" creationId="{A1D39E47-4DFD-FAFA-61CC-EDE3FD3BF978}"/>
          </ac:spMkLst>
        </pc:spChg>
        <pc:spChg chg="mod">
          <ac:chgData name="Bullinger, Marvin" userId="5b54ce5a-dc89-476f-af33-5abd75d5b1e8" providerId="ADAL" clId="{B18DB96A-0F1B-4B04-B169-68D0DF683527}" dt="2024-08-05T18:35:11.102" v="175" actId="20577"/>
          <ac:spMkLst>
            <pc:docMk/>
            <pc:sldMk cId="1339647628" sldId="586"/>
            <ac:spMk id="771" creationId="{99F4D495-5841-A65D-3395-FE2A339F6528}"/>
          </ac:spMkLst>
        </pc:spChg>
        <pc:spChg chg="replST">
          <ac:chgData name="Bullinger, Marvin" userId="5b54ce5a-dc89-476f-af33-5abd75d5b1e8" providerId="ADAL" clId="{B18DB96A-0F1B-4B04-B169-68D0DF683527}" dt="2024-08-07T20:14:35.562" v="7482"/>
          <ac:spMkLst>
            <pc:docMk/>
            <pc:sldMk cId="1339647628" sldId="586"/>
            <ac:spMk id="771" creationId="{CF9D41D2-0EDA-6A27-1DB5-2EA5C2A65793}"/>
          </ac:spMkLst>
        </pc:spChg>
        <pc:spChg chg="mod replST">
          <ac:chgData name="Bullinger, Marvin" userId="5b54ce5a-dc89-476f-af33-5abd75d5b1e8" providerId="ADAL" clId="{B18DB96A-0F1B-4B04-B169-68D0DF683527}" dt="2024-08-08T22:08:25.563" v="10038" actId="207"/>
          <ac:spMkLst>
            <pc:docMk/>
            <pc:sldMk cId="1339647628" sldId="586"/>
            <ac:spMk id="773" creationId="{53C577CC-BA8B-C4C1-8534-023F422E7B89}"/>
          </ac:spMkLst>
        </pc:spChg>
        <pc:spChg chg="replST">
          <ac:chgData name="Bullinger, Marvin" userId="5b54ce5a-dc89-476f-af33-5abd75d5b1e8" providerId="ADAL" clId="{B18DB96A-0F1B-4B04-B169-68D0DF683527}" dt="2024-08-07T20:14:35.566" v="7489"/>
          <ac:spMkLst>
            <pc:docMk/>
            <pc:sldMk cId="1339647628" sldId="586"/>
            <ac:spMk id="774" creationId="{2A8DCBAD-F540-A595-28F3-EBF4B5633652}"/>
          </ac:spMkLst>
        </pc:spChg>
        <pc:spChg chg="mod">
          <ac:chgData name="Bullinger, Marvin" userId="5b54ce5a-dc89-476f-af33-5abd75d5b1e8" providerId="ADAL" clId="{B18DB96A-0F1B-4B04-B169-68D0DF683527}" dt="2024-08-05T18:35:43.359" v="207" actId="20577"/>
          <ac:spMkLst>
            <pc:docMk/>
            <pc:sldMk cId="1339647628" sldId="586"/>
            <ac:spMk id="774" creationId="{54BEF6D5-8810-73D5-2DC7-28B1A5B00E67}"/>
          </ac:spMkLst>
        </pc:spChg>
        <pc:spChg chg="mod replST">
          <ac:chgData name="Bullinger, Marvin" userId="5b54ce5a-dc89-476f-af33-5abd75d5b1e8" providerId="ADAL" clId="{B18DB96A-0F1B-4B04-B169-68D0DF683527}" dt="2024-08-08T22:08:25.563" v="10038" actId="207"/>
          <ac:spMkLst>
            <pc:docMk/>
            <pc:sldMk cId="1339647628" sldId="586"/>
            <ac:spMk id="776" creationId="{D58ECA23-21ED-5773-5208-8A4AA5BCD7C5}"/>
          </ac:spMkLst>
        </pc:spChg>
        <pc:spChg chg="replST">
          <ac:chgData name="Bullinger, Marvin" userId="5b54ce5a-dc89-476f-af33-5abd75d5b1e8" providerId="ADAL" clId="{B18DB96A-0F1B-4B04-B169-68D0DF683527}" dt="2024-08-07T20:14:35.582" v="7496"/>
          <ac:spMkLst>
            <pc:docMk/>
            <pc:sldMk cId="1339647628" sldId="586"/>
            <ac:spMk id="777" creationId="{6B80AC62-C00A-F47D-3933-B579B9695365}"/>
          </ac:spMkLst>
        </pc:spChg>
        <pc:spChg chg="mod">
          <ac:chgData name="Bullinger, Marvin" userId="5b54ce5a-dc89-476f-af33-5abd75d5b1e8" providerId="ADAL" clId="{B18DB96A-0F1B-4B04-B169-68D0DF683527}" dt="2024-08-05T18:36:12.738" v="225" actId="20577"/>
          <ac:spMkLst>
            <pc:docMk/>
            <pc:sldMk cId="1339647628" sldId="586"/>
            <ac:spMk id="777" creationId="{E441E86C-B183-EE44-C0A7-00FEDAE6105A}"/>
          </ac:spMkLst>
        </pc:spChg>
        <pc:spChg chg="mod replST">
          <ac:chgData name="Bullinger, Marvin" userId="5b54ce5a-dc89-476f-af33-5abd75d5b1e8" providerId="ADAL" clId="{B18DB96A-0F1B-4B04-B169-68D0DF683527}" dt="2024-08-06T09:49:01.448" v="2901" actId="20577"/>
          <ac:spMkLst>
            <pc:docMk/>
            <pc:sldMk cId="1339647628" sldId="586"/>
            <ac:spMk id="780" creationId="{D311ABF8-8600-53AC-3F6D-C1E6E3B5999B}"/>
          </ac:spMkLst>
        </pc:spChg>
        <pc:spChg chg="replST">
          <ac:chgData name="Bullinger, Marvin" userId="5b54ce5a-dc89-476f-af33-5abd75d5b1e8" providerId="ADAL" clId="{B18DB96A-0F1B-4B04-B169-68D0DF683527}" dt="2024-08-06T09:48:24.042" v="2604"/>
          <ac:spMkLst>
            <pc:docMk/>
            <pc:sldMk cId="1339647628" sldId="586"/>
            <ac:spMk id="784" creationId="{9A564839-FA00-5F04-CF68-D2A0D91187DB}"/>
          </ac:spMkLst>
        </pc:spChg>
        <pc:spChg chg="mod replST">
          <ac:chgData name="Bullinger, Marvin" userId="5b54ce5a-dc89-476f-af33-5abd75d5b1e8" providerId="ADAL" clId="{B18DB96A-0F1B-4B04-B169-68D0DF683527}" dt="2024-08-06T09:49:06.049" v="2905" actId="20577"/>
          <ac:spMkLst>
            <pc:docMk/>
            <pc:sldMk cId="1339647628" sldId="586"/>
            <ac:spMk id="785" creationId="{D89D0A5B-3EF9-F914-E60D-2C06F3BD7097}"/>
          </ac:spMkLst>
        </pc:spChg>
        <pc:cxnChg chg="del ord replST">
          <ac:chgData name="Bullinger, Marvin" userId="5b54ce5a-dc89-476f-af33-5abd75d5b1e8" providerId="ADAL" clId="{B18DB96A-0F1B-4B04-B169-68D0DF683527}" dt="2024-08-07T20:14:35.027" v="7199" actId="478"/>
          <ac:cxnSpMkLst>
            <pc:docMk/>
            <pc:sldMk cId="1339647628" sldId="586"/>
            <ac:cxnSpMk id="756" creationId="{EFE2E6F4-88A3-92FE-59BE-11262BC95BAC}"/>
          </ac:cxnSpMkLst>
        </pc:cxnChg>
        <pc:cxnChg chg="del ord replST">
          <ac:chgData name="Bullinger, Marvin" userId="5b54ce5a-dc89-476f-af33-5abd75d5b1e8" providerId="ADAL" clId="{B18DB96A-0F1B-4B04-B169-68D0DF683527}" dt="2024-08-07T20:14:35.027" v="7200" actId="478"/>
          <ac:cxnSpMkLst>
            <pc:docMk/>
            <pc:sldMk cId="1339647628" sldId="586"/>
            <ac:cxnSpMk id="759" creationId="{DCB355BB-C675-CA8B-CCC0-4ADC22A526FB}"/>
          </ac:cxnSpMkLst>
        </pc:cxnChg>
        <pc:cxnChg chg="del ord replST">
          <ac:chgData name="Bullinger, Marvin" userId="5b54ce5a-dc89-476f-af33-5abd75d5b1e8" providerId="ADAL" clId="{B18DB96A-0F1B-4B04-B169-68D0DF683527}" dt="2024-08-07T20:14:35.027" v="7201" actId="478"/>
          <ac:cxnSpMkLst>
            <pc:docMk/>
            <pc:sldMk cId="1339647628" sldId="586"/>
            <ac:cxnSpMk id="762" creationId="{683E795B-67EB-A85F-74B1-5C8998FB31F7}"/>
          </ac:cxnSpMkLst>
        </pc:cxnChg>
        <pc:cxnChg chg="del">
          <ac:chgData name="Bullinger, Marvin" userId="5b54ce5a-dc89-476f-af33-5abd75d5b1e8" providerId="ADAL" clId="{B18DB96A-0F1B-4B04-B169-68D0DF683527}" dt="2024-08-06T09:48:23.711" v="2303" actId="478"/>
          <ac:cxnSpMkLst>
            <pc:docMk/>
            <pc:sldMk cId="1339647628" sldId="586"/>
            <ac:cxnSpMk id="766" creationId="{7DE2EDBA-F0D0-4272-6E64-70198B4698E0}"/>
          </ac:cxnSpMkLst>
        </pc:cxnChg>
        <pc:cxnChg chg="ord replST">
          <ac:chgData name="Bullinger, Marvin" userId="5b54ce5a-dc89-476f-af33-5abd75d5b1e8" providerId="ADAL" clId="{B18DB96A-0F1B-4B04-B169-68D0DF683527}" dt="2024-08-07T20:14:35.598" v="7500"/>
          <ac:cxnSpMkLst>
            <pc:docMk/>
            <pc:sldMk cId="1339647628" sldId="586"/>
            <ac:cxnSpMk id="766" creationId="{B57A919E-8B10-7ADC-49E8-AD743719D6A7}"/>
          </ac:cxnSpMkLst>
        </pc:cxnChg>
        <pc:cxnChg chg="ord replST">
          <ac:chgData name="Bullinger, Marvin" userId="5b54ce5a-dc89-476f-af33-5abd75d5b1e8" providerId="ADAL" clId="{B18DB96A-0F1B-4B04-B169-68D0DF683527}" dt="2024-08-07T20:14:35.598" v="7501"/>
          <ac:cxnSpMkLst>
            <pc:docMk/>
            <pc:sldMk cId="1339647628" sldId="586"/>
            <ac:cxnSpMk id="769" creationId="{45FBE1B1-592D-9C3E-51AE-950E1709357A}"/>
          </ac:cxnSpMkLst>
        </pc:cxnChg>
        <pc:cxnChg chg="del">
          <ac:chgData name="Bullinger, Marvin" userId="5b54ce5a-dc89-476f-af33-5abd75d5b1e8" providerId="ADAL" clId="{B18DB96A-0F1B-4B04-B169-68D0DF683527}" dt="2024-08-06T09:48:23.711" v="2304" actId="478"/>
          <ac:cxnSpMkLst>
            <pc:docMk/>
            <pc:sldMk cId="1339647628" sldId="586"/>
            <ac:cxnSpMk id="769" creationId="{FE22E599-7484-C758-8EA1-1CECDE34FCFC}"/>
          </ac:cxnSpMkLst>
        </pc:cxnChg>
        <pc:cxnChg chg="del">
          <ac:chgData name="Bullinger, Marvin" userId="5b54ce5a-dc89-476f-af33-5abd75d5b1e8" providerId="ADAL" clId="{B18DB96A-0F1B-4B04-B169-68D0DF683527}" dt="2024-08-06T09:48:23.711" v="2305" actId="478"/>
          <ac:cxnSpMkLst>
            <pc:docMk/>
            <pc:sldMk cId="1339647628" sldId="586"/>
            <ac:cxnSpMk id="772" creationId="{0CAF8D33-B5B4-4702-C2EF-9E31C5AD19CD}"/>
          </ac:cxnSpMkLst>
        </pc:cxnChg>
        <pc:cxnChg chg="ord replST">
          <ac:chgData name="Bullinger, Marvin" userId="5b54ce5a-dc89-476f-af33-5abd75d5b1e8" providerId="ADAL" clId="{B18DB96A-0F1B-4B04-B169-68D0DF683527}" dt="2024-08-07T20:14:35.598" v="7502"/>
          <ac:cxnSpMkLst>
            <pc:docMk/>
            <pc:sldMk cId="1339647628" sldId="586"/>
            <ac:cxnSpMk id="772" creationId="{2006804E-7D1C-2690-263D-68BEAA0B29FF}"/>
          </ac:cxnSpMkLst>
        </pc:cxnChg>
        <pc:cxnChg chg="del mod">
          <ac:chgData name="Bullinger, Marvin" userId="5b54ce5a-dc89-476f-af33-5abd75d5b1e8" providerId="ADAL" clId="{B18DB96A-0F1B-4B04-B169-68D0DF683527}" dt="2024-08-06T09:48:23.711" v="2306" actId="478"/>
          <ac:cxnSpMkLst>
            <pc:docMk/>
            <pc:sldMk cId="1339647628" sldId="586"/>
            <ac:cxnSpMk id="775" creationId="{067E36BC-D676-EB6B-DC88-D3ECAA8328C6}"/>
          </ac:cxnSpMkLst>
        </pc:cxnChg>
        <pc:cxnChg chg="ord replST">
          <ac:chgData name="Bullinger, Marvin" userId="5b54ce5a-dc89-476f-af33-5abd75d5b1e8" providerId="ADAL" clId="{B18DB96A-0F1B-4B04-B169-68D0DF683527}" dt="2024-08-07T20:14:35.598" v="7503"/>
          <ac:cxnSpMkLst>
            <pc:docMk/>
            <pc:sldMk cId="1339647628" sldId="586"/>
            <ac:cxnSpMk id="775" creationId="{36EE59B6-7854-F594-EC22-7C3E7F6EACB7}"/>
          </ac:cxnSpMkLst>
        </pc:cxnChg>
        <pc:cxnChg chg="del">
          <ac:chgData name="Bullinger, Marvin" userId="5b54ce5a-dc89-476f-af33-5abd75d5b1e8" providerId="ADAL" clId="{B18DB96A-0F1B-4B04-B169-68D0DF683527}" dt="2024-08-06T09:48:23.711" v="2307" actId="478"/>
          <ac:cxnSpMkLst>
            <pc:docMk/>
            <pc:sldMk cId="1339647628" sldId="586"/>
            <ac:cxnSpMk id="778" creationId="{3897CBA9-FE41-76AA-40F9-0CEFF43B7E3C}"/>
          </ac:cxnSpMkLst>
        </pc:cxnChg>
        <pc:cxnChg chg="ord replST">
          <ac:chgData name="Bullinger, Marvin" userId="5b54ce5a-dc89-476f-af33-5abd75d5b1e8" providerId="ADAL" clId="{B18DB96A-0F1B-4B04-B169-68D0DF683527}" dt="2024-08-07T20:14:35.598" v="7504"/>
          <ac:cxnSpMkLst>
            <pc:docMk/>
            <pc:sldMk cId="1339647628" sldId="586"/>
            <ac:cxnSpMk id="778" creationId="{5CE39268-1B24-8262-DDA7-721BA9AED52A}"/>
          </ac:cxnSpMkLst>
        </pc:cxnChg>
        <pc:cxnChg chg="ord replST">
          <ac:chgData name="Bullinger, Marvin" userId="5b54ce5a-dc89-476f-af33-5abd75d5b1e8" providerId="ADAL" clId="{B18DB96A-0F1B-4B04-B169-68D0DF683527}" dt="2024-08-07T20:14:35.598" v="7505"/>
          <ac:cxnSpMkLst>
            <pc:docMk/>
            <pc:sldMk cId="1339647628" sldId="586"/>
            <ac:cxnSpMk id="779" creationId="{1F22B32D-F06C-D4C6-829D-D99B2D6583E6}"/>
          </ac:cxnSpMkLst>
        </pc:cxnChg>
        <pc:cxnChg chg="del">
          <ac:chgData name="Bullinger, Marvin" userId="5b54ce5a-dc89-476f-af33-5abd75d5b1e8" providerId="ADAL" clId="{B18DB96A-0F1B-4B04-B169-68D0DF683527}" dt="2024-08-06T09:48:23.711" v="2308" actId="478"/>
          <ac:cxnSpMkLst>
            <pc:docMk/>
            <pc:sldMk cId="1339647628" sldId="586"/>
            <ac:cxnSpMk id="781" creationId="{C1BED6E1-50EB-E1F8-CCF0-FB1A1B50553E}"/>
          </ac:cxnSpMkLst>
        </pc:cxnChg>
        <pc:cxnChg chg="del">
          <ac:chgData name="Bullinger, Marvin" userId="5b54ce5a-dc89-476f-af33-5abd75d5b1e8" providerId="ADAL" clId="{B18DB96A-0F1B-4B04-B169-68D0DF683527}" dt="2024-08-06T09:48:23.711" v="2309" actId="478"/>
          <ac:cxnSpMkLst>
            <pc:docMk/>
            <pc:sldMk cId="1339647628" sldId="586"/>
            <ac:cxnSpMk id="782" creationId="{ABB35603-0733-E74A-7861-C2919927E8D1}"/>
          </ac:cxnSpMkLst>
        </pc:cxnChg>
        <pc:cxnChg chg="del ord replST">
          <ac:chgData name="Bullinger, Marvin" userId="5b54ce5a-dc89-476f-af33-5abd75d5b1e8" providerId="ADAL" clId="{B18DB96A-0F1B-4B04-B169-68D0DF683527}" dt="2024-08-07T20:14:35.027" v="7202" actId="478"/>
          <ac:cxnSpMkLst>
            <pc:docMk/>
            <pc:sldMk cId="1339647628" sldId="586"/>
            <ac:cxnSpMk id="783" creationId="{CE7B276A-117D-7379-C738-893FD914459D}"/>
          </ac:cxnSpMkLst>
        </pc:cxnChg>
        <pc:cxnChg chg="del ord replST">
          <ac:chgData name="Bullinger, Marvin" userId="5b54ce5a-dc89-476f-af33-5abd75d5b1e8" providerId="ADAL" clId="{B18DB96A-0F1B-4B04-B169-68D0DF683527}" dt="2024-08-07T20:14:35.027" v="7203" actId="478"/>
          <ac:cxnSpMkLst>
            <pc:docMk/>
            <pc:sldMk cId="1339647628" sldId="586"/>
            <ac:cxnSpMk id="786" creationId="{19B42B2C-3B74-7210-EBB7-3BA3A866D215}"/>
          </ac:cxnSpMkLst>
        </pc:cxnChg>
        <pc:cxnChg chg="del ord replST">
          <ac:chgData name="Bullinger, Marvin" userId="5b54ce5a-dc89-476f-af33-5abd75d5b1e8" providerId="ADAL" clId="{B18DB96A-0F1B-4B04-B169-68D0DF683527}" dt="2024-08-07T20:14:35.027" v="7204" actId="478"/>
          <ac:cxnSpMkLst>
            <pc:docMk/>
            <pc:sldMk cId="1339647628" sldId="586"/>
            <ac:cxnSpMk id="787" creationId="{7E34CD54-322E-B4EF-C702-D002CC053772}"/>
          </ac:cxnSpMkLst>
        </pc:cxnChg>
      </pc:sldChg>
      <pc:sldChg chg="addSp delSp modSp mod">
        <pc:chgData name="Bullinger, Marvin" userId="5b54ce5a-dc89-476f-af33-5abd75d5b1e8" providerId="ADAL" clId="{B18DB96A-0F1B-4B04-B169-68D0DF683527}" dt="2024-08-08T22:17:42.645" v="10157" actId="478"/>
        <pc:sldMkLst>
          <pc:docMk/>
          <pc:sldMk cId="4264639648" sldId="595"/>
        </pc:sldMkLst>
        <pc:spChg chg="del">
          <ac:chgData name="Bullinger, Marvin" userId="5b54ce5a-dc89-476f-af33-5abd75d5b1e8" providerId="ADAL" clId="{B18DB96A-0F1B-4B04-B169-68D0DF683527}" dt="2024-08-08T22:17:42.645" v="10157" actId="478"/>
          <ac:spMkLst>
            <pc:docMk/>
            <pc:sldMk cId="4264639648" sldId="595"/>
            <ac:spMk id="26" creationId="{A8DDB570-541F-FBDF-FB22-6F8F83BBD137}"/>
          </ac:spMkLst>
        </pc:spChg>
        <pc:spChg chg="add mod">
          <ac:chgData name="Bullinger, Marvin" userId="5b54ce5a-dc89-476f-af33-5abd75d5b1e8" providerId="ADAL" clId="{B18DB96A-0F1B-4B04-B169-68D0DF683527}" dt="2024-08-07T20:14:35.419" v="7418" actId="478"/>
          <ac:spMkLst>
            <pc:docMk/>
            <pc:sldMk cId="4264639648" sldId="595"/>
            <ac:spMk id="362" creationId="{FE4EEE9B-331E-17EF-1884-A2B3E4CD6D4B}"/>
          </ac:spMkLst>
        </pc:spChg>
        <pc:spChg chg="add mod">
          <ac:chgData name="Bullinger, Marvin" userId="5b54ce5a-dc89-476f-af33-5abd75d5b1e8" providerId="ADAL" clId="{B18DB96A-0F1B-4B04-B169-68D0DF683527}" dt="2024-08-06T09:48:23.948" v="2527" actId="478"/>
          <ac:spMkLst>
            <pc:docMk/>
            <pc:sldMk cId="4264639648" sldId="595"/>
            <ac:spMk id="362" creationId="{FED2B4D1-0E40-2A47-6271-715FEB915146}"/>
          </ac:spMkLst>
        </pc:spChg>
        <pc:spChg chg="del mod ord replST">
          <ac:chgData name="Bullinger, Marvin" userId="5b54ce5a-dc89-476f-af33-5abd75d5b1e8" providerId="ADAL" clId="{B18DB96A-0F1B-4B04-B169-68D0DF683527}" dt="2024-08-07T20:14:35.419" v="7418" actId="478"/>
          <ac:spMkLst>
            <pc:docMk/>
            <pc:sldMk cId="4264639648" sldId="595"/>
            <ac:spMk id="363" creationId="{814DE89A-E3B4-53A4-B28F-841AE99B9D24}"/>
          </ac:spMkLst>
        </pc:spChg>
        <pc:spChg chg="del">
          <ac:chgData name="Bullinger, Marvin" userId="5b54ce5a-dc89-476f-af33-5abd75d5b1e8" providerId="ADAL" clId="{B18DB96A-0F1B-4B04-B169-68D0DF683527}" dt="2024-08-06T09:48:23.979" v="2563" actId="478"/>
          <ac:spMkLst>
            <pc:docMk/>
            <pc:sldMk cId="4264639648" sldId="595"/>
            <ac:spMk id="364" creationId="{61B54BC6-13BE-0B3D-C2CF-4958D7213B80}"/>
          </ac:spMkLst>
        </pc:spChg>
        <pc:spChg chg="mod ord replST">
          <ac:chgData name="Bullinger, Marvin" userId="5b54ce5a-dc89-476f-af33-5abd75d5b1e8" providerId="ADAL" clId="{B18DB96A-0F1B-4B04-B169-68D0DF683527}" dt="2024-08-07T20:14:36.135" v="7723"/>
          <ac:spMkLst>
            <pc:docMk/>
            <pc:sldMk cId="4264639648" sldId="595"/>
            <ac:spMk id="364" creationId="{91E7EDFE-2BE7-2446-1F40-CDEC88F8AC04}"/>
          </ac:spMkLst>
        </pc:spChg>
        <pc:spChg chg="del">
          <ac:chgData name="Bullinger, Marvin" userId="5b54ce5a-dc89-476f-af33-5abd75d5b1e8" providerId="ADAL" clId="{B18DB96A-0F1B-4B04-B169-68D0DF683527}" dt="2024-08-07T20:14:35.466" v="7452" actId="478"/>
          <ac:spMkLst>
            <pc:docMk/>
            <pc:sldMk cId="4264639648" sldId="595"/>
            <ac:spMk id="365" creationId="{55EBB7D9-D9A8-9EAE-F7B7-8A19CEE5835E}"/>
          </ac:spMkLst>
        </pc:spChg>
        <pc:spChg chg="del">
          <ac:chgData name="Bullinger, Marvin" userId="5b54ce5a-dc89-476f-af33-5abd75d5b1e8" providerId="ADAL" clId="{B18DB96A-0F1B-4B04-B169-68D0DF683527}" dt="2024-08-06T09:48:23.979" v="2562" actId="478"/>
          <ac:spMkLst>
            <pc:docMk/>
            <pc:sldMk cId="4264639648" sldId="595"/>
            <ac:spMk id="365" creationId="{D93776D4-AAF6-1F5F-BB2E-63BD56541C53}"/>
          </ac:spMkLst>
        </pc:spChg>
        <pc:spChg chg="del">
          <ac:chgData name="Bullinger, Marvin" userId="5b54ce5a-dc89-476f-af33-5abd75d5b1e8" providerId="ADAL" clId="{B18DB96A-0F1B-4B04-B169-68D0DF683527}" dt="2024-08-07T20:14:35.466" v="7451" actId="478"/>
          <ac:spMkLst>
            <pc:docMk/>
            <pc:sldMk cId="4264639648" sldId="595"/>
            <ac:spMk id="366" creationId="{7015EE91-74C8-13D0-03DD-48248843F75A}"/>
          </ac:spMkLst>
        </pc:spChg>
        <pc:spChg chg="del">
          <ac:chgData name="Bullinger, Marvin" userId="5b54ce5a-dc89-476f-af33-5abd75d5b1e8" providerId="ADAL" clId="{B18DB96A-0F1B-4B04-B169-68D0DF683527}" dt="2024-08-06T09:48:23.979" v="2561" actId="478"/>
          <ac:spMkLst>
            <pc:docMk/>
            <pc:sldMk cId="4264639648" sldId="595"/>
            <ac:spMk id="366" creationId="{EC005E11-DA93-00D2-129A-6DD436501CE4}"/>
          </ac:spMkLst>
        </pc:spChg>
        <pc:spChg chg="del">
          <ac:chgData name="Bullinger, Marvin" userId="5b54ce5a-dc89-476f-af33-5abd75d5b1e8" providerId="ADAL" clId="{B18DB96A-0F1B-4B04-B169-68D0DF683527}" dt="2024-08-07T20:14:35.466" v="7450" actId="478"/>
          <ac:spMkLst>
            <pc:docMk/>
            <pc:sldMk cId="4264639648" sldId="595"/>
            <ac:spMk id="367" creationId="{20293C65-3BA2-7630-B82A-9F17AA19DA6C}"/>
          </ac:spMkLst>
        </pc:spChg>
        <pc:spChg chg="del">
          <ac:chgData name="Bullinger, Marvin" userId="5b54ce5a-dc89-476f-af33-5abd75d5b1e8" providerId="ADAL" clId="{B18DB96A-0F1B-4B04-B169-68D0DF683527}" dt="2024-08-06T09:48:23.979" v="2560" actId="478"/>
          <ac:spMkLst>
            <pc:docMk/>
            <pc:sldMk cId="4264639648" sldId="595"/>
            <ac:spMk id="367" creationId="{7EF5F1D0-48F2-B57A-C027-0610238E3966}"/>
          </ac:spMkLst>
        </pc:spChg>
        <pc:spChg chg="del">
          <ac:chgData name="Bullinger, Marvin" userId="5b54ce5a-dc89-476f-af33-5abd75d5b1e8" providerId="ADAL" clId="{B18DB96A-0F1B-4B04-B169-68D0DF683527}" dt="2024-08-06T09:48:23.979" v="2559" actId="478"/>
          <ac:spMkLst>
            <pc:docMk/>
            <pc:sldMk cId="4264639648" sldId="595"/>
            <ac:spMk id="368" creationId="{34E5EE7A-3964-FF03-CACB-D4842A099D90}"/>
          </ac:spMkLst>
        </pc:spChg>
        <pc:spChg chg="del">
          <ac:chgData name="Bullinger, Marvin" userId="5b54ce5a-dc89-476f-af33-5abd75d5b1e8" providerId="ADAL" clId="{B18DB96A-0F1B-4B04-B169-68D0DF683527}" dt="2024-08-07T20:14:35.466" v="7449" actId="478"/>
          <ac:spMkLst>
            <pc:docMk/>
            <pc:sldMk cId="4264639648" sldId="595"/>
            <ac:spMk id="368" creationId="{478CE947-67E3-5DE4-FEC7-96E3924480AC}"/>
          </ac:spMkLst>
        </pc:spChg>
        <pc:spChg chg="del">
          <ac:chgData name="Bullinger, Marvin" userId="5b54ce5a-dc89-476f-af33-5abd75d5b1e8" providerId="ADAL" clId="{B18DB96A-0F1B-4B04-B169-68D0DF683527}" dt="2024-08-07T20:14:35.466" v="7448" actId="478"/>
          <ac:spMkLst>
            <pc:docMk/>
            <pc:sldMk cId="4264639648" sldId="595"/>
            <ac:spMk id="369" creationId="{D9365251-C7D6-67BE-1DD2-DDB03B645060}"/>
          </ac:spMkLst>
        </pc:spChg>
        <pc:spChg chg="del">
          <ac:chgData name="Bullinger, Marvin" userId="5b54ce5a-dc89-476f-af33-5abd75d5b1e8" providerId="ADAL" clId="{B18DB96A-0F1B-4B04-B169-68D0DF683527}" dt="2024-08-06T09:48:23.979" v="2558" actId="478"/>
          <ac:spMkLst>
            <pc:docMk/>
            <pc:sldMk cId="4264639648" sldId="595"/>
            <ac:spMk id="369" creationId="{DBDBFA5E-EDB3-3312-A48E-49E4027CF44A}"/>
          </ac:spMkLst>
        </pc:spChg>
        <pc:spChg chg="del">
          <ac:chgData name="Bullinger, Marvin" userId="5b54ce5a-dc89-476f-af33-5abd75d5b1e8" providerId="ADAL" clId="{B18DB96A-0F1B-4B04-B169-68D0DF683527}" dt="2024-08-06T09:48:23.979" v="2555" actId="478"/>
          <ac:spMkLst>
            <pc:docMk/>
            <pc:sldMk cId="4264639648" sldId="595"/>
            <ac:spMk id="370" creationId="{17AF0137-A2ED-401F-9A60-EF15F24279C5}"/>
          </ac:spMkLst>
        </pc:spChg>
        <pc:spChg chg="del">
          <ac:chgData name="Bullinger, Marvin" userId="5b54ce5a-dc89-476f-af33-5abd75d5b1e8" providerId="ADAL" clId="{B18DB96A-0F1B-4B04-B169-68D0DF683527}" dt="2024-08-07T20:14:35.466" v="7447" actId="478"/>
          <ac:spMkLst>
            <pc:docMk/>
            <pc:sldMk cId="4264639648" sldId="595"/>
            <ac:spMk id="370" creationId="{2E803ED5-742F-4DFE-F5D1-1E9915E3D4C8}"/>
          </ac:spMkLst>
        </pc:spChg>
        <pc:spChg chg="del">
          <ac:chgData name="Bullinger, Marvin" userId="5b54ce5a-dc89-476f-af33-5abd75d5b1e8" providerId="ADAL" clId="{B18DB96A-0F1B-4B04-B169-68D0DF683527}" dt="2024-08-06T09:48:23.979" v="2554" actId="478"/>
          <ac:spMkLst>
            <pc:docMk/>
            <pc:sldMk cId="4264639648" sldId="595"/>
            <ac:spMk id="371" creationId="{08D0BA7A-7401-29CA-F88E-E59AD14E2EF9}"/>
          </ac:spMkLst>
        </pc:spChg>
        <pc:spChg chg="del">
          <ac:chgData name="Bullinger, Marvin" userId="5b54ce5a-dc89-476f-af33-5abd75d5b1e8" providerId="ADAL" clId="{B18DB96A-0F1B-4B04-B169-68D0DF683527}" dt="2024-08-07T20:14:35.466" v="7444" actId="478"/>
          <ac:spMkLst>
            <pc:docMk/>
            <pc:sldMk cId="4264639648" sldId="595"/>
            <ac:spMk id="371" creationId="{963F8495-DB1C-4300-02C9-3D51CFAAB3C4}"/>
          </ac:spMkLst>
        </pc:spChg>
        <pc:spChg chg="del">
          <ac:chgData name="Bullinger, Marvin" userId="5b54ce5a-dc89-476f-af33-5abd75d5b1e8" providerId="ADAL" clId="{B18DB96A-0F1B-4B04-B169-68D0DF683527}" dt="2024-08-07T20:14:35.466" v="7443" actId="478"/>
          <ac:spMkLst>
            <pc:docMk/>
            <pc:sldMk cId="4264639648" sldId="595"/>
            <ac:spMk id="372" creationId="{5A799D5B-45F3-24BF-E9C7-5F76D6B12AB4}"/>
          </ac:spMkLst>
        </pc:spChg>
        <pc:spChg chg="del">
          <ac:chgData name="Bullinger, Marvin" userId="5b54ce5a-dc89-476f-af33-5abd75d5b1e8" providerId="ADAL" clId="{B18DB96A-0F1B-4B04-B169-68D0DF683527}" dt="2024-08-06T09:48:23.963" v="2553" actId="478"/>
          <ac:spMkLst>
            <pc:docMk/>
            <pc:sldMk cId="4264639648" sldId="595"/>
            <ac:spMk id="372" creationId="{6738E457-ED31-2920-280C-94083458675A}"/>
          </ac:spMkLst>
        </pc:spChg>
        <pc:spChg chg="del">
          <ac:chgData name="Bullinger, Marvin" userId="5b54ce5a-dc89-476f-af33-5abd75d5b1e8" providerId="ADAL" clId="{B18DB96A-0F1B-4B04-B169-68D0DF683527}" dt="2024-08-07T20:14:35.466" v="7442" actId="478"/>
          <ac:spMkLst>
            <pc:docMk/>
            <pc:sldMk cId="4264639648" sldId="595"/>
            <ac:spMk id="373" creationId="{B135F024-AFB4-F5CF-1127-0642E6D61A80}"/>
          </ac:spMkLst>
        </pc:spChg>
        <pc:spChg chg="del">
          <ac:chgData name="Bullinger, Marvin" userId="5b54ce5a-dc89-476f-af33-5abd75d5b1e8" providerId="ADAL" clId="{B18DB96A-0F1B-4B04-B169-68D0DF683527}" dt="2024-08-06T09:48:23.963" v="2552" actId="478"/>
          <ac:spMkLst>
            <pc:docMk/>
            <pc:sldMk cId="4264639648" sldId="595"/>
            <ac:spMk id="373" creationId="{E54EB8BA-A3B2-A634-C9F1-032642587271}"/>
          </ac:spMkLst>
        </pc:spChg>
        <pc:spChg chg="del">
          <ac:chgData name="Bullinger, Marvin" userId="5b54ce5a-dc89-476f-af33-5abd75d5b1e8" providerId="ADAL" clId="{B18DB96A-0F1B-4B04-B169-68D0DF683527}" dt="2024-08-07T20:14:35.466" v="7441" actId="478"/>
          <ac:spMkLst>
            <pc:docMk/>
            <pc:sldMk cId="4264639648" sldId="595"/>
            <ac:spMk id="374" creationId="{B6772053-8720-ED94-9052-7B5F92C87433}"/>
          </ac:spMkLst>
        </pc:spChg>
        <pc:spChg chg="del">
          <ac:chgData name="Bullinger, Marvin" userId="5b54ce5a-dc89-476f-af33-5abd75d5b1e8" providerId="ADAL" clId="{B18DB96A-0F1B-4B04-B169-68D0DF683527}" dt="2024-08-06T09:48:23.948" v="2527" actId="478"/>
          <ac:spMkLst>
            <pc:docMk/>
            <pc:sldMk cId="4264639648" sldId="595"/>
            <ac:spMk id="374" creationId="{CC1EC0CC-65BF-4ADC-C35F-E0CE74D14BAD}"/>
          </ac:spMkLst>
        </pc:spChg>
        <pc:spChg chg="del">
          <ac:chgData name="Bullinger, Marvin" userId="5b54ce5a-dc89-476f-af33-5abd75d5b1e8" providerId="ADAL" clId="{B18DB96A-0F1B-4B04-B169-68D0DF683527}" dt="2024-08-06T09:48:23.963" v="2551" actId="478"/>
          <ac:spMkLst>
            <pc:docMk/>
            <pc:sldMk cId="4264639648" sldId="595"/>
            <ac:spMk id="375" creationId="{05723001-15A2-9D72-EB40-A61B55F2D7E4}"/>
          </ac:spMkLst>
        </pc:spChg>
        <pc:spChg chg="del">
          <ac:chgData name="Bullinger, Marvin" userId="5b54ce5a-dc89-476f-af33-5abd75d5b1e8" providerId="ADAL" clId="{B18DB96A-0F1B-4B04-B169-68D0DF683527}" dt="2024-08-07T20:14:35.466" v="7440" actId="478"/>
          <ac:spMkLst>
            <pc:docMk/>
            <pc:sldMk cId="4264639648" sldId="595"/>
            <ac:spMk id="375" creationId="{656A4FB4-298E-1538-B7E0-9F139C52F0E4}"/>
          </ac:spMkLst>
        </pc:spChg>
        <pc:spChg chg="del">
          <ac:chgData name="Bullinger, Marvin" userId="5b54ce5a-dc89-476f-af33-5abd75d5b1e8" providerId="ADAL" clId="{B18DB96A-0F1B-4B04-B169-68D0DF683527}" dt="2024-08-06T09:48:23.963" v="2550" actId="478"/>
          <ac:spMkLst>
            <pc:docMk/>
            <pc:sldMk cId="4264639648" sldId="595"/>
            <ac:spMk id="376" creationId="{53641135-2D1B-E0F9-8A97-F268433E0F87}"/>
          </ac:spMkLst>
        </pc:spChg>
        <pc:spChg chg="del">
          <ac:chgData name="Bullinger, Marvin" userId="5b54ce5a-dc89-476f-af33-5abd75d5b1e8" providerId="ADAL" clId="{B18DB96A-0F1B-4B04-B169-68D0DF683527}" dt="2024-08-07T20:14:35.466" v="7439" actId="478"/>
          <ac:spMkLst>
            <pc:docMk/>
            <pc:sldMk cId="4264639648" sldId="595"/>
            <ac:spMk id="376" creationId="{61D98C1B-53DA-05E0-DE72-C8C3CF6AD8D2}"/>
          </ac:spMkLst>
        </pc:spChg>
        <pc:spChg chg="del">
          <ac:chgData name="Bullinger, Marvin" userId="5b54ce5a-dc89-476f-af33-5abd75d5b1e8" providerId="ADAL" clId="{B18DB96A-0F1B-4B04-B169-68D0DF683527}" dt="2024-08-07T20:14:35.482" v="7460" actId="478"/>
          <ac:spMkLst>
            <pc:docMk/>
            <pc:sldMk cId="4264639648" sldId="595"/>
            <ac:spMk id="377" creationId="{386D96B8-3F72-84DC-08BF-07D6052568B3}"/>
          </ac:spMkLst>
        </pc:spChg>
        <pc:spChg chg="del">
          <ac:chgData name="Bullinger, Marvin" userId="5b54ce5a-dc89-476f-af33-5abd75d5b1e8" providerId="ADAL" clId="{B18DB96A-0F1B-4B04-B169-68D0DF683527}" dt="2024-08-06T09:48:23.979" v="2571" actId="478"/>
          <ac:spMkLst>
            <pc:docMk/>
            <pc:sldMk cId="4264639648" sldId="595"/>
            <ac:spMk id="377" creationId="{3968649A-3998-0BAE-9927-30BBC78B3285}"/>
          </ac:spMkLst>
        </pc:spChg>
        <pc:spChg chg="del">
          <ac:chgData name="Bullinger, Marvin" userId="5b54ce5a-dc89-476f-af33-5abd75d5b1e8" providerId="ADAL" clId="{B18DB96A-0F1B-4B04-B169-68D0DF683527}" dt="2024-08-06T09:48:23.979" v="2570" actId="478"/>
          <ac:spMkLst>
            <pc:docMk/>
            <pc:sldMk cId="4264639648" sldId="595"/>
            <ac:spMk id="378" creationId="{3601497F-1EF7-FF61-D36D-DEB4937DBA4B}"/>
          </ac:spMkLst>
        </pc:spChg>
        <pc:spChg chg="del">
          <ac:chgData name="Bullinger, Marvin" userId="5b54ce5a-dc89-476f-af33-5abd75d5b1e8" providerId="ADAL" clId="{B18DB96A-0F1B-4B04-B169-68D0DF683527}" dt="2024-08-07T20:14:35.482" v="7459" actId="478"/>
          <ac:spMkLst>
            <pc:docMk/>
            <pc:sldMk cId="4264639648" sldId="595"/>
            <ac:spMk id="378" creationId="{74332F14-A7CC-6D65-0D3A-2768254D2045}"/>
          </ac:spMkLst>
        </pc:spChg>
        <pc:spChg chg="del">
          <ac:chgData name="Bullinger, Marvin" userId="5b54ce5a-dc89-476f-af33-5abd75d5b1e8" providerId="ADAL" clId="{B18DB96A-0F1B-4B04-B169-68D0DF683527}" dt="2024-08-07T20:14:35.482" v="7458" actId="478"/>
          <ac:spMkLst>
            <pc:docMk/>
            <pc:sldMk cId="4264639648" sldId="595"/>
            <ac:spMk id="379" creationId="{26356C11-CF91-25F2-6BA8-8D9522A72D33}"/>
          </ac:spMkLst>
        </pc:spChg>
        <pc:spChg chg="del">
          <ac:chgData name="Bullinger, Marvin" userId="5b54ce5a-dc89-476f-af33-5abd75d5b1e8" providerId="ADAL" clId="{B18DB96A-0F1B-4B04-B169-68D0DF683527}" dt="2024-08-06T09:48:23.979" v="2569" actId="478"/>
          <ac:spMkLst>
            <pc:docMk/>
            <pc:sldMk cId="4264639648" sldId="595"/>
            <ac:spMk id="379" creationId="{BF491655-049E-2AB9-74F8-F039C299A643}"/>
          </ac:spMkLst>
        </pc:spChg>
        <pc:spChg chg="del">
          <ac:chgData name="Bullinger, Marvin" userId="5b54ce5a-dc89-476f-af33-5abd75d5b1e8" providerId="ADAL" clId="{B18DB96A-0F1B-4B04-B169-68D0DF683527}" dt="2024-08-06T09:48:23.979" v="2568" actId="478"/>
          <ac:spMkLst>
            <pc:docMk/>
            <pc:sldMk cId="4264639648" sldId="595"/>
            <ac:spMk id="380" creationId="{1F456979-693C-9CE6-E9C8-299D3EF0C5EB}"/>
          </ac:spMkLst>
        </pc:spChg>
        <pc:spChg chg="del">
          <ac:chgData name="Bullinger, Marvin" userId="5b54ce5a-dc89-476f-af33-5abd75d5b1e8" providerId="ADAL" clId="{B18DB96A-0F1B-4B04-B169-68D0DF683527}" dt="2024-08-07T20:14:35.482" v="7457" actId="478"/>
          <ac:spMkLst>
            <pc:docMk/>
            <pc:sldMk cId="4264639648" sldId="595"/>
            <ac:spMk id="380" creationId="{3709B8F5-F658-90A6-BFC8-712876B6A91F}"/>
          </ac:spMkLst>
        </pc:spChg>
        <pc:spChg chg="del">
          <ac:chgData name="Bullinger, Marvin" userId="5b54ce5a-dc89-476f-af33-5abd75d5b1e8" providerId="ADAL" clId="{B18DB96A-0F1B-4B04-B169-68D0DF683527}" dt="2024-08-06T09:48:23.979" v="2567" actId="478"/>
          <ac:spMkLst>
            <pc:docMk/>
            <pc:sldMk cId="4264639648" sldId="595"/>
            <ac:spMk id="381" creationId="{AD4673AF-76D8-F3D2-7273-4B242790F5D1}"/>
          </ac:spMkLst>
        </pc:spChg>
        <pc:spChg chg="del">
          <ac:chgData name="Bullinger, Marvin" userId="5b54ce5a-dc89-476f-af33-5abd75d5b1e8" providerId="ADAL" clId="{B18DB96A-0F1B-4B04-B169-68D0DF683527}" dt="2024-08-07T20:14:35.466" v="7456" actId="478"/>
          <ac:spMkLst>
            <pc:docMk/>
            <pc:sldMk cId="4264639648" sldId="595"/>
            <ac:spMk id="381" creationId="{FE3B818C-B551-5CA3-F423-1B2FF36237F3}"/>
          </ac:spMkLst>
        </pc:spChg>
        <pc:spChg chg="del">
          <ac:chgData name="Bullinger, Marvin" userId="5b54ce5a-dc89-476f-af33-5abd75d5b1e8" providerId="ADAL" clId="{B18DB96A-0F1B-4B04-B169-68D0DF683527}" dt="2024-08-06T09:48:23.979" v="2566" actId="478"/>
          <ac:spMkLst>
            <pc:docMk/>
            <pc:sldMk cId="4264639648" sldId="595"/>
            <ac:spMk id="382" creationId="{98DC5337-8D1B-A3C3-353E-2179AA1C062D}"/>
          </ac:spMkLst>
        </pc:spChg>
        <pc:spChg chg="del">
          <ac:chgData name="Bullinger, Marvin" userId="5b54ce5a-dc89-476f-af33-5abd75d5b1e8" providerId="ADAL" clId="{B18DB96A-0F1B-4B04-B169-68D0DF683527}" dt="2024-08-07T20:14:35.466" v="7455" actId="478"/>
          <ac:spMkLst>
            <pc:docMk/>
            <pc:sldMk cId="4264639648" sldId="595"/>
            <ac:spMk id="382" creationId="{BA63225E-A504-6827-3380-81B170360D9B}"/>
          </ac:spMkLst>
        </pc:spChg>
        <pc:spChg chg="del">
          <ac:chgData name="Bullinger, Marvin" userId="5b54ce5a-dc89-476f-af33-5abd75d5b1e8" providerId="ADAL" clId="{B18DB96A-0F1B-4B04-B169-68D0DF683527}" dt="2024-08-06T09:48:23.979" v="2565" actId="478"/>
          <ac:spMkLst>
            <pc:docMk/>
            <pc:sldMk cId="4264639648" sldId="595"/>
            <ac:spMk id="383" creationId="{B3D02FB5-37B2-5AE5-A7EB-436AC4149BFB}"/>
          </ac:spMkLst>
        </pc:spChg>
        <pc:spChg chg="del">
          <ac:chgData name="Bullinger, Marvin" userId="5b54ce5a-dc89-476f-af33-5abd75d5b1e8" providerId="ADAL" clId="{B18DB96A-0F1B-4B04-B169-68D0DF683527}" dt="2024-08-07T20:14:35.466" v="7454" actId="478"/>
          <ac:spMkLst>
            <pc:docMk/>
            <pc:sldMk cId="4264639648" sldId="595"/>
            <ac:spMk id="383" creationId="{BC7C1E0C-F72F-A2BD-49C7-599108011FF4}"/>
          </ac:spMkLst>
        </pc:spChg>
        <pc:spChg chg="del">
          <ac:chgData name="Bullinger, Marvin" userId="5b54ce5a-dc89-476f-af33-5abd75d5b1e8" providerId="ADAL" clId="{B18DB96A-0F1B-4B04-B169-68D0DF683527}" dt="2024-08-07T20:14:35.466" v="7453" actId="478"/>
          <ac:spMkLst>
            <pc:docMk/>
            <pc:sldMk cId="4264639648" sldId="595"/>
            <ac:spMk id="384" creationId="{D8650882-CEBA-64BE-C656-8082E7ED0EDC}"/>
          </ac:spMkLst>
        </pc:spChg>
        <pc:spChg chg="del">
          <ac:chgData name="Bullinger, Marvin" userId="5b54ce5a-dc89-476f-af33-5abd75d5b1e8" providerId="ADAL" clId="{B18DB96A-0F1B-4B04-B169-68D0DF683527}" dt="2024-08-06T09:48:23.979" v="2564" actId="478"/>
          <ac:spMkLst>
            <pc:docMk/>
            <pc:sldMk cId="4264639648" sldId="595"/>
            <ac:spMk id="384" creationId="{F160D491-159A-D04F-D550-0E6C6327F806}"/>
          </ac:spMkLst>
        </pc:spChg>
        <pc:spChg chg="del">
          <ac:chgData name="Bullinger, Marvin" userId="5b54ce5a-dc89-476f-af33-5abd75d5b1e8" providerId="ADAL" clId="{B18DB96A-0F1B-4B04-B169-68D0DF683527}" dt="2024-08-07T20:14:35.466" v="7445" actId="478"/>
          <ac:spMkLst>
            <pc:docMk/>
            <pc:sldMk cId="4264639648" sldId="595"/>
            <ac:spMk id="385" creationId="{72FFE563-67B0-6AEA-58DC-BC1381C87E31}"/>
          </ac:spMkLst>
        </pc:spChg>
        <pc:spChg chg="del">
          <ac:chgData name="Bullinger, Marvin" userId="5b54ce5a-dc89-476f-af33-5abd75d5b1e8" providerId="ADAL" clId="{B18DB96A-0F1B-4B04-B169-68D0DF683527}" dt="2024-08-06T09:48:23.979" v="2556" actId="478"/>
          <ac:spMkLst>
            <pc:docMk/>
            <pc:sldMk cId="4264639648" sldId="595"/>
            <ac:spMk id="385" creationId="{96444FF3-8777-C634-F878-9AF668D6FF96}"/>
          </ac:spMkLst>
        </pc:spChg>
        <pc:spChg chg="del">
          <ac:chgData name="Bullinger, Marvin" userId="5b54ce5a-dc89-476f-af33-5abd75d5b1e8" providerId="ADAL" clId="{B18DB96A-0F1B-4B04-B169-68D0DF683527}" dt="2024-08-07T20:14:35.466" v="7438" actId="478"/>
          <ac:spMkLst>
            <pc:docMk/>
            <pc:sldMk cId="4264639648" sldId="595"/>
            <ac:spMk id="386" creationId="{178AC9CC-16FC-C7E8-186B-DAF9BDCB6E7E}"/>
          </ac:spMkLst>
        </pc:spChg>
        <pc:spChg chg="del">
          <ac:chgData name="Bullinger, Marvin" userId="5b54ce5a-dc89-476f-af33-5abd75d5b1e8" providerId="ADAL" clId="{B18DB96A-0F1B-4B04-B169-68D0DF683527}" dt="2024-08-06T09:48:23.963" v="2549" actId="478"/>
          <ac:spMkLst>
            <pc:docMk/>
            <pc:sldMk cId="4264639648" sldId="595"/>
            <ac:spMk id="386" creationId="{36F7BF60-4952-2D22-D171-63C442496015}"/>
          </ac:spMkLst>
        </pc:spChg>
        <pc:spChg chg="del">
          <ac:chgData name="Bullinger, Marvin" userId="5b54ce5a-dc89-476f-af33-5abd75d5b1e8" providerId="ADAL" clId="{B18DB96A-0F1B-4B04-B169-68D0DF683527}" dt="2024-08-07T20:14:35.466" v="7446" actId="478"/>
          <ac:spMkLst>
            <pc:docMk/>
            <pc:sldMk cId="4264639648" sldId="595"/>
            <ac:spMk id="387" creationId="{BCF9B4EF-5384-B89F-F952-C3ED063C377C}"/>
          </ac:spMkLst>
        </pc:spChg>
        <pc:spChg chg="del">
          <ac:chgData name="Bullinger, Marvin" userId="5b54ce5a-dc89-476f-af33-5abd75d5b1e8" providerId="ADAL" clId="{B18DB96A-0F1B-4B04-B169-68D0DF683527}" dt="2024-08-06T09:48:23.979" v="2557" actId="478"/>
          <ac:spMkLst>
            <pc:docMk/>
            <pc:sldMk cId="4264639648" sldId="595"/>
            <ac:spMk id="387" creationId="{C4F93B59-D51D-5E57-55FA-40AE87F8BD16}"/>
          </ac:spMkLst>
        </pc:spChg>
        <pc:spChg chg="del">
          <ac:chgData name="Bullinger, Marvin" userId="5b54ce5a-dc89-476f-af33-5abd75d5b1e8" providerId="ADAL" clId="{B18DB96A-0F1B-4B04-B169-68D0DF683527}" dt="2024-08-06T09:48:23.963" v="2548" actId="478"/>
          <ac:spMkLst>
            <pc:docMk/>
            <pc:sldMk cId="4264639648" sldId="595"/>
            <ac:spMk id="388" creationId="{74E8951F-53D0-79C3-3CF7-83D474BAC562}"/>
          </ac:spMkLst>
        </pc:spChg>
        <pc:spChg chg="del">
          <ac:chgData name="Bullinger, Marvin" userId="5b54ce5a-dc89-476f-af33-5abd75d5b1e8" providerId="ADAL" clId="{B18DB96A-0F1B-4B04-B169-68D0DF683527}" dt="2024-08-07T20:14:35.466" v="7437" actId="478"/>
          <ac:spMkLst>
            <pc:docMk/>
            <pc:sldMk cId="4264639648" sldId="595"/>
            <ac:spMk id="388" creationId="{CEAD701D-3F7E-C3E1-88FC-EF323C607519}"/>
          </ac:spMkLst>
        </pc:spChg>
        <pc:spChg chg="del">
          <ac:chgData name="Bullinger, Marvin" userId="5b54ce5a-dc89-476f-af33-5abd75d5b1e8" providerId="ADAL" clId="{B18DB96A-0F1B-4B04-B169-68D0DF683527}" dt="2024-08-07T20:14:35.466" v="7436" actId="478"/>
          <ac:spMkLst>
            <pc:docMk/>
            <pc:sldMk cId="4264639648" sldId="595"/>
            <ac:spMk id="389" creationId="{34BC8694-2A5D-6EB9-77A3-9D31C8639484}"/>
          </ac:spMkLst>
        </pc:spChg>
        <pc:spChg chg="del">
          <ac:chgData name="Bullinger, Marvin" userId="5b54ce5a-dc89-476f-af33-5abd75d5b1e8" providerId="ADAL" clId="{B18DB96A-0F1B-4B04-B169-68D0DF683527}" dt="2024-08-06T09:48:23.963" v="2547" actId="478"/>
          <ac:spMkLst>
            <pc:docMk/>
            <pc:sldMk cId="4264639648" sldId="595"/>
            <ac:spMk id="389" creationId="{58FBB09A-0445-969F-BF66-7D17F45A1672}"/>
          </ac:spMkLst>
        </pc:spChg>
        <pc:spChg chg="del">
          <ac:chgData name="Bullinger, Marvin" userId="5b54ce5a-dc89-476f-af33-5abd75d5b1e8" providerId="ADAL" clId="{B18DB96A-0F1B-4B04-B169-68D0DF683527}" dt="2024-08-07T20:14:35.466" v="7435" actId="478"/>
          <ac:spMkLst>
            <pc:docMk/>
            <pc:sldMk cId="4264639648" sldId="595"/>
            <ac:spMk id="390" creationId="{00C1F649-2DF4-F696-F14A-5BC73DCF00FE}"/>
          </ac:spMkLst>
        </pc:spChg>
        <pc:spChg chg="del">
          <ac:chgData name="Bullinger, Marvin" userId="5b54ce5a-dc89-476f-af33-5abd75d5b1e8" providerId="ADAL" clId="{B18DB96A-0F1B-4B04-B169-68D0DF683527}" dt="2024-08-06T09:48:23.963" v="2546" actId="478"/>
          <ac:spMkLst>
            <pc:docMk/>
            <pc:sldMk cId="4264639648" sldId="595"/>
            <ac:spMk id="390" creationId="{45841660-34DE-C14C-31C9-B256B7655F1E}"/>
          </ac:spMkLst>
        </pc:spChg>
        <pc:spChg chg="del">
          <ac:chgData name="Bullinger, Marvin" userId="5b54ce5a-dc89-476f-af33-5abd75d5b1e8" providerId="ADAL" clId="{B18DB96A-0F1B-4B04-B169-68D0DF683527}" dt="2024-08-06T09:48:23.963" v="2545" actId="478"/>
          <ac:spMkLst>
            <pc:docMk/>
            <pc:sldMk cId="4264639648" sldId="595"/>
            <ac:spMk id="391" creationId="{0AE62541-C550-1F36-38C8-180EA43FD6DE}"/>
          </ac:spMkLst>
        </pc:spChg>
        <pc:spChg chg="del">
          <ac:chgData name="Bullinger, Marvin" userId="5b54ce5a-dc89-476f-af33-5abd75d5b1e8" providerId="ADAL" clId="{B18DB96A-0F1B-4B04-B169-68D0DF683527}" dt="2024-08-07T20:14:35.451" v="7434" actId="478"/>
          <ac:spMkLst>
            <pc:docMk/>
            <pc:sldMk cId="4264639648" sldId="595"/>
            <ac:spMk id="391" creationId="{836E9086-B1C3-3091-0851-1724E4E3C524}"/>
          </ac:spMkLst>
        </pc:spChg>
        <pc:spChg chg="del">
          <ac:chgData name="Bullinger, Marvin" userId="5b54ce5a-dc89-476f-af33-5abd75d5b1e8" providerId="ADAL" clId="{B18DB96A-0F1B-4B04-B169-68D0DF683527}" dt="2024-08-06T09:48:23.963" v="2544" actId="478"/>
          <ac:spMkLst>
            <pc:docMk/>
            <pc:sldMk cId="4264639648" sldId="595"/>
            <ac:spMk id="392" creationId="{884800CD-296B-FD09-BA3B-497F4CD15A4F}"/>
          </ac:spMkLst>
        </pc:spChg>
        <pc:spChg chg="del">
          <ac:chgData name="Bullinger, Marvin" userId="5b54ce5a-dc89-476f-af33-5abd75d5b1e8" providerId="ADAL" clId="{B18DB96A-0F1B-4B04-B169-68D0DF683527}" dt="2024-08-07T20:14:35.451" v="7433" actId="478"/>
          <ac:spMkLst>
            <pc:docMk/>
            <pc:sldMk cId="4264639648" sldId="595"/>
            <ac:spMk id="392" creationId="{EAB59655-3C42-ACCB-8881-09A9B106ACB6}"/>
          </ac:spMkLst>
        </pc:spChg>
        <pc:spChg chg="del">
          <ac:chgData name="Bullinger, Marvin" userId="5b54ce5a-dc89-476f-af33-5abd75d5b1e8" providerId="ADAL" clId="{B18DB96A-0F1B-4B04-B169-68D0DF683527}" dt="2024-08-07T20:14:35.451" v="7432" actId="478"/>
          <ac:spMkLst>
            <pc:docMk/>
            <pc:sldMk cId="4264639648" sldId="595"/>
            <ac:spMk id="393" creationId="{0CE8B5BD-AF81-421F-70A9-68DD0E79A97E}"/>
          </ac:spMkLst>
        </pc:spChg>
        <pc:spChg chg="del">
          <ac:chgData name="Bullinger, Marvin" userId="5b54ce5a-dc89-476f-af33-5abd75d5b1e8" providerId="ADAL" clId="{B18DB96A-0F1B-4B04-B169-68D0DF683527}" dt="2024-08-06T09:48:23.963" v="2543" actId="478"/>
          <ac:spMkLst>
            <pc:docMk/>
            <pc:sldMk cId="4264639648" sldId="595"/>
            <ac:spMk id="393" creationId="{5A4F04C1-72CF-CE03-D7DE-25ADC38844FE}"/>
          </ac:spMkLst>
        </pc:spChg>
        <pc:spChg chg="del">
          <ac:chgData name="Bullinger, Marvin" userId="5b54ce5a-dc89-476f-af33-5abd75d5b1e8" providerId="ADAL" clId="{B18DB96A-0F1B-4B04-B169-68D0DF683527}" dt="2024-08-06T09:48:23.963" v="2542" actId="478"/>
          <ac:spMkLst>
            <pc:docMk/>
            <pc:sldMk cId="4264639648" sldId="595"/>
            <ac:spMk id="394" creationId="{62E9EF61-5361-C5C6-CEE3-D78472291624}"/>
          </ac:spMkLst>
        </pc:spChg>
        <pc:spChg chg="del">
          <ac:chgData name="Bullinger, Marvin" userId="5b54ce5a-dc89-476f-af33-5abd75d5b1e8" providerId="ADAL" clId="{B18DB96A-0F1B-4B04-B169-68D0DF683527}" dt="2024-08-07T20:14:35.451" v="7431" actId="478"/>
          <ac:spMkLst>
            <pc:docMk/>
            <pc:sldMk cId="4264639648" sldId="595"/>
            <ac:spMk id="394" creationId="{E0BDD129-C986-F3CB-F117-ECA3D59E27BF}"/>
          </ac:spMkLst>
        </pc:spChg>
        <pc:spChg chg="del">
          <ac:chgData name="Bullinger, Marvin" userId="5b54ce5a-dc89-476f-af33-5abd75d5b1e8" providerId="ADAL" clId="{B18DB96A-0F1B-4B04-B169-68D0DF683527}" dt="2024-08-06T09:48:23.963" v="2541" actId="478"/>
          <ac:spMkLst>
            <pc:docMk/>
            <pc:sldMk cId="4264639648" sldId="595"/>
            <ac:spMk id="395" creationId="{A8E42C24-A771-4268-A89B-F86F0A6CF01D}"/>
          </ac:spMkLst>
        </pc:spChg>
        <pc:spChg chg="del">
          <ac:chgData name="Bullinger, Marvin" userId="5b54ce5a-dc89-476f-af33-5abd75d5b1e8" providerId="ADAL" clId="{B18DB96A-0F1B-4B04-B169-68D0DF683527}" dt="2024-08-07T20:14:35.451" v="7430" actId="478"/>
          <ac:spMkLst>
            <pc:docMk/>
            <pc:sldMk cId="4264639648" sldId="595"/>
            <ac:spMk id="395" creationId="{E1092264-93A8-5FB3-C936-9103AEC8D938}"/>
          </ac:spMkLst>
        </pc:spChg>
        <pc:spChg chg="del">
          <ac:chgData name="Bullinger, Marvin" userId="5b54ce5a-dc89-476f-af33-5abd75d5b1e8" providerId="ADAL" clId="{B18DB96A-0F1B-4B04-B169-68D0DF683527}" dt="2024-08-06T09:48:23.963" v="2540" actId="478"/>
          <ac:spMkLst>
            <pc:docMk/>
            <pc:sldMk cId="4264639648" sldId="595"/>
            <ac:spMk id="396" creationId="{19C42C0C-71F5-9B7D-C3A5-995A7687E3C9}"/>
          </ac:spMkLst>
        </pc:spChg>
        <pc:spChg chg="del">
          <ac:chgData name="Bullinger, Marvin" userId="5b54ce5a-dc89-476f-af33-5abd75d5b1e8" providerId="ADAL" clId="{B18DB96A-0F1B-4B04-B169-68D0DF683527}" dt="2024-08-07T20:14:35.451" v="7429" actId="478"/>
          <ac:spMkLst>
            <pc:docMk/>
            <pc:sldMk cId="4264639648" sldId="595"/>
            <ac:spMk id="396" creationId="{74546960-B316-8095-E81D-F76BC0FACD4F}"/>
          </ac:spMkLst>
        </pc:spChg>
        <pc:spChg chg="del">
          <ac:chgData name="Bullinger, Marvin" userId="5b54ce5a-dc89-476f-af33-5abd75d5b1e8" providerId="ADAL" clId="{B18DB96A-0F1B-4B04-B169-68D0DF683527}" dt="2024-08-06T09:48:23.963" v="2539" actId="478"/>
          <ac:spMkLst>
            <pc:docMk/>
            <pc:sldMk cId="4264639648" sldId="595"/>
            <ac:spMk id="397" creationId="{1B95FE9D-9823-8824-B4BE-F97DA564979C}"/>
          </ac:spMkLst>
        </pc:spChg>
        <pc:spChg chg="del">
          <ac:chgData name="Bullinger, Marvin" userId="5b54ce5a-dc89-476f-af33-5abd75d5b1e8" providerId="ADAL" clId="{B18DB96A-0F1B-4B04-B169-68D0DF683527}" dt="2024-08-07T20:14:35.451" v="7428" actId="478"/>
          <ac:spMkLst>
            <pc:docMk/>
            <pc:sldMk cId="4264639648" sldId="595"/>
            <ac:spMk id="397" creationId="{54AE78FD-F4B5-F1A7-3856-CCA8D8B7D41C}"/>
          </ac:spMkLst>
        </pc:spChg>
        <pc:spChg chg="del">
          <ac:chgData name="Bullinger, Marvin" userId="5b54ce5a-dc89-476f-af33-5abd75d5b1e8" providerId="ADAL" clId="{B18DB96A-0F1B-4B04-B169-68D0DF683527}" dt="2024-08-06T09:48:23.963" v="2538" actId="478"/>
          <ac:spMkLst>
            <pc:docMk/>
            <pc:sldMk cId="4264639648" sldId="595"/>
            <ac:spMk id="398" creationId="{DC423402-60F7-CA78-BC84-C93EE2B8170B}"/>
          </ac:spMkLst>
        </pc:spChg>
        <pc:spChg chg="del">
          <ac:chgData name="Bullinger, Marvin" userId="5b54ce5a-dc89-476f-af33-5abd75d5b1e8" providerId="ADAL" clId="{B18DB96A-0F1B-4B04-B169-68D0DF683527}" dt="2024-08-07T20:14:35.451" v="7427" actId="478"/>
          <ac:spMkLst>
            <pc:docMk/>
            <pc:sldMk cId="4264639648" sldId="595"/>
            <ac:spMk id="398" creationId="{EEB2DCB5-ACF1-8CC6-5824-0DA0E5225A5F}"/>
          </ac:spMkLst>
        </pc:spChg>
        <pc:spChg chg="del">
          <ac:chgData name="Bullinger, Marvin" userId="5b54ce5a-dc89-476f-af33-5abd75d5b1e8" providerId="ADAL" clId="{B18DB96A-0F1B-4B04-B169-68D0DF683527}" dt="2024-08-07T20:14:35.451" v="7426" actId="478"/>
          <ac:spMkLst>
            <pc:docMk/>
            <pc:sldMk cId="4264639648" sldId="595"/>
            <ac:spMk id="399" creationId="{A4FA240E-615A-EE41-0C8F-B0E7331B779B}"/>
          </ac:spMkLst>
        </pc:spChg>
        <pc:spChg chg="del">
          <ac:chgData name="Bullinger, Marvin" userId="5b54ce5a-dc89-476f-af33-5abd75d5b1e8" providerId="ADAL" clId="{B18DB96A-0F1B-4B04-B169-68D0DF683527}" dt="2024-08-06T09:48:23.963" v="2537" actId="478"/>
          <ac:spMkLst>
            <pc:docMk/>
            <pc:sldMk cId="4264639648" sldId="595"/>
            <ac:spMk id="399" creationId="{F3BA2E6F-CC96-46FC-3124-9F9A62DC0C3A}"/>
          </ac:spMkLst>
        </pc:spChg>
        <pc:spChg chg="del">
          <ac:chgData name="Bullinger, Marvin" userId="5b54ce5a-dc89-476f-af33-5abd75d5b1e8" providerId="ADAL" clId="{B18DB96A-0F1B-4B04-B169-68D0DF683527}" dt="2024-08-07T20:14:35.451" v="7425" actId="478"/>
          <ac:spMkLst>
            <pc:docMk/>
            <pc:sldMk cId="4264639648" sldId="595"/>
            <ac:spMk id="400" creationId="{4264C005-4371-8542-D0AB-24F65D1321AB}"/>
          </ac:spMkLst>
        </pc:spChg>
        <pc:spChg chg="del">
          <ac:chgData name="Bullinger, Marvin" userId="5b54ce5a-dc89-476f-af33-5abd75d5b1e8" providerId="ADAL" clId="{B18DB96A-0F1B-4B04-B169-68D0DF683527}" dt="2024-08-06T09:48:23.963" v="2536" actId="478"/>
          <ac:spMkLst>
            <pc:docMk/>
            <pc:sldMk cId="4264639648" sldId="595"/>
            <ac:spMk id="400" creationId="{DCA21BFE-73E9-9A32-7B85-EA0DED27B7CC}"/>
          </ac:spMkLst>
        </pc:spChg>
        <pc:spChg chg="del">
          <ac:chgData name="Bullinger, Marvin" userId="5b54ce5a-dc89-476f-af33-5abd75d5b1e8" providerId="ADAL" clId="{B18DB96A-0F1B-4B04-B169-68D0DF683527}" dt="2024-08-06T09:48:23.963" v="2535" actId="478"/>
          <ac:spMkLst>
            <pc:docMk/>
            <pc:sldMk cId="4264639648" sldId="595"/>
            <ac:spMk id="401" creationId="{E0B207D6-1754-7C5F-0BBD-0D6822498450}"/>
          </ac:spMkLst>
        </pc:spChg>
        <pc:spChg chg="del">
          <ac:chgData name="Bullinger, Marvin" userId="5b54ce5a-dc89-476f-af33-5abd75d5b1e8" providerId="ADAL" clId="{B18DB96A-0F1B-4B04-B169-68D0DF683527}" dt="2024-08-07T20:14:35.451" v="7424" actId="478"/>
          <ac:spMkLst>
            <pc:docMk/>
            <pc:sldMk cId="4264639648" sldId="595"/>
            <ac:spMk id="401" creationId="{F7593B9A-9B70-1E7B-9D5A-6B90397F814B}"/>
          </ac:spMkLst>
        </pc:spChg>
        <pc:spChg chg="replST">
          <ac:chgData name="Bullinger, Marvin" userId="5b54ce5a-dc89-476f-af33-5abd75d5b1e8" providerId="ADAL" clId="{B18DB96A-0F1B-4B04-B169-68D0DF683527}" dt="2024-08-06T09:48:24.403" v="2801"/>
          <ac:spMkLst>
            <pc:docMk/>
            <pc:sldMk cId="4264639648" sldId="595"/>
            <ac:spMk id="402" creationId="{E9A94699-727E-037B-7FD9-CC247F986D00}"/>
          </ac:spMkLst>
        </pc:spChg>
        <pc:spChg chg="replST">
          <ac:chgData name="Bullinger, Marvin" userId="5b54ce5a-dc89-476f-af33-5abd75d5b1e8" providerId="ADAL" clId="{B18DB96A-0F1B-4B04-B169-68D0DF683527}" dt="2024-08-06T09:48:24.419" v="2804"/>
          <ac:spMkLst>
            <pc:docMk/>
            <pc:sldMk cId="4264639648" sldId="595"/>
            <ac:spMk id="403" creationId="{75D4B88D-30A7-AE32-980E-06D771A10DF8}"/>
          </ac:spMkLst>
        </pc:spChg>
        <pc:spChg chg="replST">
          <ac:chgData name="Bullinger, Marvin" userId="5b54ce5a-dc89-476f-af33-5abd75d5b1e8" providerId="ADAL" clId="{B18DB96A-0F1B-4B04-B169-68D0DF683527}" dt="2024-08-06T09:48:24.419" v="2808"/>
          <ac:spMkLst>
            <pc:docMk/>
            <pc:sldMk cId="4264639648" sldId="595"/>
            <ac:spMk id="405" creationId="{6F8087FC-6854-9A66-277D-DD5E45012766}"/>
          </ac:spMkLst>
        </pc:spChg>
        <pc:spChg chg="replST">
          <ac:chgData name="Bullinger, Marvin" userId="5b54ce5a-dc89-476f-af33-5abd75d5b1e8" providerId="ADAL" clId="{B18DB96A-0F1B-4B04-B169-68D0DF683527}" dt="2024-08-06T09:48:24.419" v="2811"/>
          <ac:spMkLst>
            <pc:docMk/>
            <pc:sldMk cId="4264639648" sldId="595"/>
            <ac:spMk id="406" creationId="{F4793418-4EFA-8FAF-C595-23E2568532EF}"/>
          </ac:spMkLst>
        </pc:spChg>
        <pc:spChg chg="replST">
          <ac:chgData name="Bullinger, Marvin" userId="5b54ce5a-dc89-476f-af33-5abd75d5b1e8" providerId="ADAL" clId="{B18DB96A-0F1B-4B04-B169-68D0DF683527}" dt="2024-08-06T09:48:24.437" v="2815"/>
          <ac:spMkLst>
            <pc:docMk/>
            <pc:sldMk cId="4264639648" sldId="595"/>
            <ac:spMk id="408" creationId="{9C087302-CBE0-A4DC-B160-951A021329C2}"/>
          </ac:spMkLst>
        </pc:spChg>
        <pc:spChg chg="replST">
          <ac:chgData name="Bullinger, Marvin" userId="5b54ce5a-dc89-476f-af33-5abd75d5b1e8" providerId="ADAL" clId="{B18DB96A-0F1B-4B04-B169-68D0DF683527}" dt="2024-08-06T09:48:24.437" v="2818"/>
          <ac:spMkLst>
            <pc:docMk/>
            <pc:sldMk cId="4264639648" sldId="595"/>
            <ac:spMk id="409" creationId="{097942BD-880D-C24D-B8ED-374F39ECD220}"/>
          </ac:spMkLst>
        </pc:spChg>
        <pc:spChg chg="replST">
          <ac:chgData name="Bullinger, Marvin" userId="5b54ce5a-dc89-476f-af33-5abd75d5b1e8" providerId="ADAL" clId="{B18DB96A-0F1B-4B04-B169-68D0DF683527}" dt="2024-08-06T09:48:24.437" v="2822"/>
          <ac:spMkLst>
            <pc:docMk/>
            <pc:sldMk cId="4264639648" sldId="595"/>
            <ac:spMk id="411" creationId="{AF3EFF7B-69E1-2D46-7442-F2C818F9125B}"/>
          </ac:spMkLst>
        </pc:spChg>
        <pc:spChg chg="mod replST">
          <ac:chgData name="Bullinger, Marvin" userId="5b54ce5a-dc89-476f-af33-5abd75d5b1e8" providerId="ADAL" clId="{B18DB96A-0F1B-4B04-B169-68D0DF683527}" dt="2024-08-08T22:12:29.292" v="10075" actId="207"/>
          <ac:spMkLst>
            <pc:docMk/>
            <pc:sldMk cId="4264639648" sldId="595"/>
            <ac:spMk id="412" creationId="{8A4B8A32-4B09-E7EA-A505-D26702B59998}"/>
          </ac:spMkLst>
        </pc:spChg>
        <pc:spChg chg="replST">
          <ac:chgData name="Bullinger, Marvin" userId="5b54ce5a-dc89-476f-af33-5abd75d5b1e8" providerId="ADAL" clId="{B18DB96A-0F1B-4B04-B169-68D0DF683527}" dt="2024-08-07T20:14:36.072" v="7693"/>
          <ac:spMkLst>
            <pc:docMk/>
            <pc:sldMk cId="4264639648" sldId="595"/>
            <ac:spMk id="413" creationId="{AB7A29A8-48C7-CBEF-AAB2-5F50596E7615}"/>
          </ac:spMkLst>
        </pc:spChg>
        <pc:spChg chg="mod replST">
          <ac:chgData name="Bullinger, Marvin" userId="5b54ce5a-dc89-476f-af33-5abd75d5b1e8" providerId="ADAL" clId="{B18DB96A-0F1B-4B04-B169-68D0DF683527}" dt="2024-08-08T22:12:29.292" v="10075" actId="207"/>
          <ac:spMkLst>
            <pc:docMk/>
            <pc:sldMk cId="4264639648" sldId="595"/>
            <ac:spMk id="415" creationId="{3E02E4AE-68BC-3AD0-E8E2-19E12042EF4D}"/>
          </ac:spMkLst>
        </pc:spChg>
        <pc:spChg chg="replST">
          <ac:chgData name="Bullinger, Marvin" userId="5b54ce5a-dc89-476f-af33-5abd75d5b1e8" providerId="ADAL" clId="{B18DB96A-0F1B-4B04-B169-68D0DF683527}" dt="2024-08-07T20:14:36.088" v="7700"/>
          <ac:spMkLst>
            <pc:docMk/>
            <pc:sldMk cId="4264639648" sldId="595"/>
            <ac:spMk id="416" creationId="{4F984713-5CE5-70C6-1B9F-D6C2585C52C0}"/>
          </ac:spMkLst>
        </pc:spChg>
        <pc:spChg chg="mod replST">
          <ac:chgData name="Bullinger, Marvin" userId="5b54ce5a-dc89-476f-af33-5abd75d5b1e8" providerId="ADAL" clId="{B18DB96A-0F1B-4B04-B169-68D0DF683527}" dt="2024-08-08T22:12:29.292" v="10075" actId="207"/>
          <ac:spMkLst>
            <pc:docMk/>
            <pc:sldMk cId="4264639648" sldId="595"/>
            <ac:spMk id="418" creationId="{2F19967F-AE28-493B-A1EA-88FA5C7EEFE6}"/>
          </ac:spMkLst>
        </pc:spChg>
        <pc:spChg chg="replST">
          <ac:chgData name="Bullinger, Marvin" userId="5b54ce5a-dc89-476f-af33-5abd75d5b1e8" providerId="ADAL" clId="{B18DB96A-0F1B-4B04-B169-68D0DF683527}" dt="2024-08-07T20:14:36.103" v="7707"/>
          <ac:spMkLst>
            <pc:docMk/>
            <pc:sldMk cId="4264639648" sldId="595"/>
            <ac:spMk id="419" creationId="{0D51152C-171B-416F-B14E-86911109DA7C}"/>
          </ac:spMkLst>
        </pc:spChg>
        <pc:spChg chg="mod replST">
          <ac:chgData name="Bullinger, Marvin" userId="5b54ce5a-dc89-476f-af33-5abd75d5b1e8" providerId="ADAL" clId="{B18DB96A-0F1B-4B04-B169-68D0DF683527}" dt="2024-08-08T22:12:29.292" v="10075" actId="207"/>
          <ac:spMkLst>
            <pc:docMk/>
            <pc:sldMk cId="4264639648" sldId="595"/>
            <ac:spMk id="421" creationId="{4160C19C-F871-0F7D-3485-AC5C592E9BFB}"/>
          </ac:spMkLst>
        </pc:spChg>
        <pc:spChg chg="replST">
          <ac:chgData name="Bullinger, Marvin" userId="5b54ce5a-dc89-476f-af33-5abd75d5b1e8" providerId="ADAL" clId="{B18DB96A-0F1B-4B04-B169-68D0DF683527}" dt="2024-08-07T20:14:36.120" v="7714"/>
          <ac:spMkLst>
            <pc:docMk/>
            <pc:sldMk cId="4264639648" sldId="595"/>
            <ac:spMk id="422" creationId="{5391CA31-045E-8948-AA32-C1446DD5781A}"/>
          </ac:spMkLst>
        </pc:spChg>
        <pc:spChg chg="mod replST">
          <ac:chgData name="Bullinger, Marvin" userId="5b54ce5a-dc89-476f-af33-5abd75d5b1e8" providerId="ADAL" clId="{B18DB96A-0F1B-4B04-B169-68D0DF683527}" dt="2024-08-08T22:12:10.591" v="10070" actId="20577"/>
          <ac:spMkLst>
            <pc:docMk/>
            <pc:sldMk cId="4264639648" sldId="595"/>
            <ac:spMk id="424" creationId="{F950FFCC-821E-9A1A-9033-8A63C558FFE0}"/>
          </ac:spMkLst>
        </pc:spChg>
        <pc:spChg chg="replST">
          <ac:chgData name="Bullinger, Marvin" userId="5b54ce5a-dc89-476f-af33-5abd75d5b1e8" providerId="ADAL" clId="{B18DB96A-0F1B-4B04-B169-68D0DF683527}" dt="2024-08-07T20:14:36.135" v="7721"/>
          <ac:spMkLst>
            <pc:docMk/>
            <pc:sldMk cId="4264639648" sldId="595"/>
            <ac:spMk id="425" creationId="{0EF2D7C9-E229-A4D5-494C-1DF2E652DAA0}"/>
          </ac:spMkLst>
        </pc:spChg>
        <pc:spChg chg="del">
          <ac:chgData name="Bullinger, Marvin" userId="5b54ce5a-dc89-476f-af33-5abd75d5b1e8" providerId="ADAL" clId="{B18DB96A-0F1B-4B04-B169-68D0DF683527}" dt="2024-08-06T09:48:23.948" v="2532" actId="478"/>
          <ac:spMkLst>
            <pc:docMk/>
            <pc:sldMk cId="4264639648" sldId="595"/>
            <ac:spMk id="426" creationId="{29A17045-8EF8-4407-73F7-824BFEC56D9E}"/>
          </ac:spMkLst>
        </pc:spChg>
        <pc:spChg chg="mod ord replST">
          <ac:chgData name="Bullinger, Marvin" userId="5b54ce5a-dc89-476f-af33-5abd75d5b1e8" providerId="ADAL" clId="{B18DB96A-0F1B-4B04-B169-68D0DF683527}" dt="2024-08-08T22:17:35.440" v="10156" actId="207"/>
          <ac:spMkLst>
            <pc:docMk/>
            <pc:sldMk cId="4264639648" sldId="595"/>
            <ac:spMk id="426" creationId="{A586CCE2-C785-5B10-A836-A1EC98EC146B}"/>
          </ac:spMkLst>
        </pc:spChg>
        <pc:spChg chg="replST">
          <ac:chgData name="Bullinger, Marvin" userId="5b54ce5a-dc89-476f-af33-5abd75d5b1e8" providerId="ADAL" clId="{B18DB96A-0F1B-4B04-B169-68D0DF683527}" dt="2024-08-06T09:48:24.450" v="2825"/>
          <ac:spMkLst>
            <pc:docMk/>
            <pc:sldMk cId="4264639648" sldId="595"/>
            <ac:spMk id="431" creationId="{CA50CEE9-0249-0DC5-1B09-7804B78CF716}"/>
          </ac:spMkLst>
        </pc:spChg>
        <pc:spChg chg="replST">
          <ac:chgData name="Bullinger, Marvin" userId="5b54ce5a-dc89-476f-af33-5abd75d5b1e8" providerId="ADAL" clId="{B18DB96A-0F1B-4B04-B169-68D0DF683527}" dt="2024-08-06T09:48:24.450" v="2829"/>
          <ac:spMkLst>
            <pc:docMk/>
            <pc:sldMk cId="4264639648" sldId="595"/>
            <ac:spMk id="433" creationId="{6FD5831B-9085-8C29-F4EB-D26E70977BA3}"/>
          </ac:spMkLst>
        </pc:spChg>
        <pc:spChg chg="replST">
          <ac:chgData name="Bullinger, Marvin" userId="5b54ce5a-dc89-476f-af33-5abd75d5b1e8" providerId="ADAL" clId="{B18DB96A-0F1B-4B04-B169-68D0DF683527}" dt="2024-08-06T09:48:24.450" v="2832"/>
          <ac:spMkLst>
            <pc:docMk/>
            <pc:sldMk cId="4264639648" sldId="595"/>
            <ac:spMk id="434" creationId="{8F69D6E5-36B4-0D78-20A9-49DB3D3E16B8}"/>
          </ac:spMkLst>
        </pc:spChg>
        <pc:spChg chg="del ord replST">
          <ac:chgData name="Bullinger, Marvin" userId="5b54ce5a-dc89-476f-af33-5abd75d5b1e8" providerId="ADAL" clId="{B18DB96A-0F1B-4B04-B169-68D0DF683527}" dt="2024-08-07T20:14:35.435" v="7423" actId="478"/>
          <ac:spMkLst>
            <pc:docMk/>
            <pc:sldMk cId="4264639648" sldId="595"/>
            <ac:spMk id="435" creationId="{90789857-7EE6-BC2A-2075-9D1244C25219}"/>
          </ac:spMkLst>
        </pc:spChg>
        <pc:cxnChg chg="del ord replST">
          <ac:chgData name="Bullinger, Marvin" userId="5b54ce5a-dc89-476f-af33-5abd75d5b1e8" providerId="ADAL" clId="{B18DB96A-0F1B-4B04-B169-68D0DF683527}" dt="2024-08-07T20:14:35.419" v="7419" actId="478"/>
          <ac:cxnSpMkLst>
            <pc:docMk/>
            <pc:sldMk cId="4264639648" sldId="595"/>
            <ac:cxnSpMk id="404" creationId="{67FFAD5D-E3F0-A358-80B8-583E2A47562D}"/>
          </ac:cxnSpMkLst>
        </pc:cxnChg>
        <pc:cxnChg chg="del ord replST">
          <ac:chgData name="Bullinger, Marvin" userId="5b54ce5a-dc89-476f-af33-5abd75d5b1e8" providerId="ADAL" clId="{B18DB96A-0F1B-4B04-B169-68D0DF683527}" dt="2024-08-07T20:14:35.419" v="7420" actId="478"/>
          <ac:cxnSpMkLst>
            <pc:docMk/>
            <pc:sldMk cId="4264639648" sldId="595"/>
            <ac:cxnSpMk id="407" creationId="{790CCD2F-DB43-3C02-8ADC-21C663352102}"/>
          </ac:cxnSpMkLst>
        </pc:cxnChg>
        <pc:cxnChg chg="del ord replST">
          <ac:chgData name="Bullinger, Marvin" userId="5b54ce5a-dc89-476f-af33-5abd75d5b1e8" providerId="ADAL" clId="{B18DB96A-0F1B-4B04-B169-68D0DF683527}" dt="2024-08-07T20:14:35.435" v="7421" actId="478"/>
          <ac:cxnSpMkLst>
            <pc:docMk/>
            <pc:sldMk cId="4264639648" sldId="595"/>
            <ac:cxnSpMk id="410" creationId="{19292A24-7899-C0AF-7D79-CFABEBD69734}"/>
          </ac:cxnSpMkLst>
        </pc:cxnChg>
        <pc:cxnChg chg="del">
          <ac:chgData name="Bullinger, Marvin" userId="5b54ce5a-dc89-476f-af33-5abd75d5b1e8" providerId="ADAL" clId="{B18DB96A-0F1B-4B04-B169-68D0DF683527}" dt="2024-08-06T09:48:23.948" v="2528" actId="478"/>
          <ac:cxnSpMkLst>
            <pc:docMk/>
            <pc:sldMk cId="4264639648" sldId="595"/>
            <ac:cxnSpMk id="414" creationId="{AE944282-5DD2-53F4-C9E0-1009E0211E10}"/>
          </ac:cxnSpMkLst>
        </pc:cxnChg>
        <pc:cxnChg chg="ord replST">
          <ac:chgData name="Bullinger, Marvin" userId="5b54ce5a-dc89-476f-af33-5abd75d5b1e8" providerId="ADAL" clId="{B18DB96A-0F1B-4B04-B169-68D0DF683527}" dt="2024-08-07T20:14:36.135" v="7724"/>
          <ac:cxnSpMkLst>
            <pc:docMk/>
            <pc:sldMk cId="4264639648" sldId="595"/>
            <ac:cxnSpMk id="414" creationId="{D500843E-ED76-3E8D-9E18-F6A8AB20CEC7}"/>
          </ac:cxnSpMkLst>
        </pc:cxnChg>
        <pc:cxnChg chg="ord replST">
          <ac:chgData name="Bullinger, Marvin" userId="5b54ce5a-dc89-476f-af33-5abd75d5b1e8" providerId="ADAL" clId="{B18DB96A-0F1B-4B04-B169-68D0DF683527}" dt="2024-08-07T20:14:36.135" v="7725"/>
          <ac:cxnSpMkLst>
            <pc:docMk/>
            <pc:sldMk cId="4264639648" sldId="595"/>
            <ac:cxnSpMk id="417" creationId="{48DE5C32-04FD-3EC5-18D8-466A642AC946}"/>
          </ac:cxnSpMkLst>
        </pc:cxnChg>
        <pc:cxnChg chg="del">
          <ac:chgData name="Bullinger, Marvin" userId="5b54ce5a-dc89-476f-af33-5abd75d5b1e8" providerId="ADAL" clId="{B18DB96A-0F1B-4B04-B169-68D0DF683527}" dt="2024-08-06T09:48:23.948" v="2529" actId="478"/>
          <ac:cxnSpMkLst>
            <pc:docMk/>
            <pc:sldMk cId="4264639648" sldId="595"/>
            <ac:cxnSpMk id="417" creationId="{8B065923-BEDD-316F-3961-724673B83D80}"/>
          </ac:cxnSpMkLst>
        </pc:cxnChg>
        <pc:cxnChg chg="ord replST">
          <ac:chgData name="Bullinger, Marvin" userId="5b54ce5a-dc89-476f-af33-5abd75d5b1e8" providerId="ADAL" clId="{B18DB96A-0F1B-4B04-B169-68D0DF683527}" dt="2024-08-07T20:14:36.135" v="7726"/>
          <ac:cxnSpMkLst>
            <pc:docMk/>
            <pc:sldMk cId="4264639648" sldId="595"/>
            <ac:cxnSpMk id="420" creationId="{A1B78BFD-DE26-5EF0-968C-E6C11D2B2F03}"/>
          </ac:cxnSpMkLst>
        </pc:cxnChg>
        <pc:cxnChg chg="del">
          <ac:chgData name="Bullinger, Marvin" userId="5b54ce5a-dc89-476f-af33-5abd75d5b1e8" providerId="ADAL" clId="{B18DB96A-0F1B-4B04-B169-68D0DF683527}" dt="2024-08-06T09:48:23.948" v="2530" actId="478"/>
          <ac:cxnSpMkLst>
            <pc:docMk/>
            <pc:sldMk cId="4264639648" sldId="595"/>
            <ac:cxnSpMk id="420" creationId="{DE593499-7E2E-1E8E-4231-C656E94F75EF}"/>
          </ac:cxnSpMkLst>
        </pc:cxnChg>
        <pc:cxnChg chg="del">
          <ac:chgData name="Bullinger, Marvin" userId="5b54ce5a-dc89-476f-af33-5abd75d5b1e8" providerId="ADAL" clId="{B18DB96A-0F1B-4B04-B169-68D0DF683527}" dt="2024-08-06T09:48:23.948" v="2531" actId="478"/>
          <ac:cxnSpMkLst>
            <pc:docMk/>
            <pc:sldMk cId="4264639648" sldId="595"/>
            <ac:cxnSpMk id="423" creationId="{9B80A7D2-C79D-1067-EB1C-607B826EF22B}"/>
          </ac:cxnSpMkLst>
        </pc:cxnChg>
        <pc:cxnChg chg="ord replST">
          <ac:chgData name="Bullinger, Marvin" userId="5b54ce5a-dc89-476f-af33-5abd75d5b1e8" providerId="ADAL" clId="{B18DB96A-0F1B-4B04-B169-68D0DF683527}" dt="2024-08-07T20:14:36.151" v="7727"/>
          <ac:cxnSpMkLst>
            <pc:docMk/>
            <pc:sldMk cId="4264639648" sldId="595"/>
            <ac:cxnSpMk id="423" creationId="{E671B0CD-2C51-71A9-C9D8-74CE9C88E010}"/>
          </ac:cxnSpMkLst>
        </pc:cxnChg>
        <pc:cxnChg chg="del">
          <ac:chgData name="Bullinger, Marvin" userId="5b54ce5a-dc89-476f-af33-5abd75d5b1e8" providerId="ADAL" clId="{B18DB96A-0F1B-4B04-B169-68D0DF683527}" dt="2024-08-06T09:48:23.948" v="2533" actId="478"/>
          <ac:cxnSpMkLst>
            <pc:docMk/>
            <pc:sldMk cId="4264639648" sldId="595"/>
            <ac:cxnSpMk id="429" creationId="{58C776ED-9C37-BBC5-3CA3-7475ECFE3ACB}"/>
          </ac:cxnSpMkLst>
        </pc:cxnChg>
        <pc:cxnChg chg="del">
          <ac:chgData name="Bullinger, Marvin" userId="5b54ce5a-dc89-476f-af33-5abd75d5b1e8" providerId="ADAL" clId="{B18DB96A-0F1B-4B04-B169-68D0DF683527}" dt="2024-08-06T09:48:23.948" v="2534" actId="478"/>
          <ac:cxnSpMkLst>
            <pc:docMk/>
            <pc:sldMk cId="4264639648" sldId="595"/>
            <ac:cxnSpMk id="430" creationId="{A5234AC8-E01B-0FD7-7297-2B40FCF07B43}"/>
          </ac:cxnSpMkLst>
        </pc:cxnChg>
        <pc:cxnChg chg="del ord replST">
          <ac:chgData name="Bullinger, Marvin" userId="5b54ce5a-dc89-476f-af33-5abd75d5b1e8" providerId="ADAL" clId="{B18DB96A-0F1B-4B04-B169-68D0DF683527}" dt="2024-08-07T20:14:35.435" v="7422" actId="478"/>
          <ac:cxnSpMkLst>
            <pc:docMk/>
            <pc:sldMk cId="4264639648" sldId="595"/>
            <ac:cxnSpMk id="432" creationId="{19856A7A-579B-4682-3596-B65E9F1AB852}"/>
          </ac:cxnSpMkLst>
        </pc:cxnChg>
      </pc:sldChg>
      <pc:sldChg chg="delSp del mod delAnim">
        <pc:chgData name="Bullinger, Marvin" userId="5b54ce5a-dc89-476f-af33-5abd75d5b1e8" providerId="ADAL" clId="{B18DB96A-0F1B-4B04-B169-68D0DF683527}" dt="2024-08-05T18:38:25.414" v="282" actId="47"/>
        <pc:sldMkLst>
          <pc:docMk/>
          <pc:sldMk cId="1733906716" sldId="600"/>
        </pc:sldMkLst>
        <pc:spChg chg="del">
          <ac:chgData name="Bullinger, Marvin" userId="5b54ce5a-dc89-476f-af33-5abd75d5b1e8" providerId="ADAL" clId="{B18DB96A-0F1B-4B04-B169-68D0DF683527}" dt="2024-08-05T18:38:03.404" v="251" actId="478"/>
          <ac:spMkLst>
            <pc:docMk/>
            <pc:sldMk cId="1733906716" sldId="600"/>
            <ac:spMk id="4" creationId="{D680C008-9009-9960-CDA4-8C89244CA424}"/>
          </ac:spMkLst>
        </pc:spChg>
        <pc:spChg chg="del">
          <ac:chgData name="Bullinger, Marvin" userId="5b54ce5a-dc89-476f-af33-5abd75d5b1e8" providerId="ADAL" clId="{B18DB96A-0F1B-4B04-B169-68D0DF683527}" dt="2024-08-05T18:38:03.404" v="251" actId="478"/>
          <ac:spMkLst>
            <pc:docMk/>
            <pc:sldMk cId="1733906716" sldId="600"/>
            <ac:spMk id="5" creationId="{1249D918-6D16-4B51-5DCD-8802501E8B9E}"/>
          </ac:spMkLst>
        </pc:spChg>
        <pc:spChg chg="del">
          <ac:chgData name="Bullinger, Marvin" userId="5b54ce5a-dc89-476f-af33-5abd75d5b1e8" providerId="ADAL" clId="{B18DB96A-0F1B-4B04-B169-68D0DF683527}" dt="2024-08-05T18:38:09.269" v="252" actId="478"/>
          <ac:spMkLst>
            <pc:docMk/>
            <pc:sldMk cId="1733906716" sldId="600"/>
            <ac:spMk id="10" creationId="{42035EA0-1C79-9EAC-D477-752FCF1797F8}"/>
          </ac:spMkLst>
        </pc:spChg>
        <pc:spChg chg="del">
          <ac:chgData name="Bullinger, Marvin" userId="5b54ce5a-dc89-476f-af33-5abd75d5b1e8" providerId="ADAL" clId="{B18DB96A-0F1B-4B04-B169-68D0DF683527}" dt="2024-08-05T18:38:03.404" v="251" actId="478"/>
          <ac:spMkLst>
            <pc:docMk/>
            <pc:sldMk cId="1733906716" sldId="600"/>
            <ac:spMk id="11" creationId="{885AB151-DBBF-C316-9D31-8056D96079BC}"/>
          </ac:spMkLst>
        </pc:spChg>
        <pc:spChg chg="del">
          <ac:chgData name="Bullinger, Marvin" userId="5b54ce5a-dc89-476f-af33-5abd75d5b1e8" providerId="ADAL" clId="{B18DB96A-0F1B-4B04-B169-68D0DF683527}" dt="2024-08-05T18:38:09.269" v="252" actId="478"/>
          <ac:spMkLst>
            <pc:docMk/>
            <pc:sldMk cId="1733906716" sldId="600"/>
            <ac:spMk id="24" creationId="{84E2FE63-BEED-909E-6D3E-DCD851A0BD7B}"/>
          </ac:spMkLst>
        </pc:spChg>
        <pc:picChg chg="del">
          <ac:chgData name="Bullinger, Marvin" userId="5b54ce5a-dc89-476f-af33-5abd75d5b1e8" providerId="ADAL" clId="{B18DB96A-0F1B-4B04-B169-68D0DF683527}" dt="2024-08-05T18:38:03.404" v="251" actId="478"/>
          <ac:picMkLst>
            <pc:docMk/>
            <pc:sldMk cId="1733906716" sldId="600"/>
            <ac:picMk id="3" creationId="{04F08180-F5F2-5A0C-1F3B-4E506516A914}"/>
          </ac:picMkLst>
        </pc:picChg>
        <pc:picChg chg="del">
          <ac:chgData name="Bullinger, Marvin" userId="5b54ce5a-dc89-476f-af33-5abd75d5b1e8" providerId="ADAL" clId="{B18DB96A-0F1B-4B04-B169-68D0DF683527}" dt="2024-08-05T18:38:03.404" v="251" actId="478"/>
          <ac:picMkLst>
            <pc:docMk/>
            <pc:sldMk cId="1733906716" sldId="600"/>
            <ac:picMk id="13" creationId="{AFDA3AE4-A94E-926A-9581-9FD4B831B3AC}"/>
          </ac:picMkLst>
        </pc:picChg>
        <pc:picChg chg="del">
          <ac:chgData name="Bullinger, Marvin" userId="5b54ce5a-dc89-476f-af33-5abd75d5b1e8" providerId="ADAL" clId="{B18DB96A-0F1B-4B04-B169-68D0DF683527}" dt="2024-08-05T18:38:03.404" v="251" actId="478"/>
          <ac:picMkLst>
            <pc:docMk/>
            <pc:sldMk cId="1733906716" sldId="600"/>
            <ac:picMk id="14" creationId="{C5B35A35-B02A-696B-98ED-147FBDABB6ED}"/>
          </ac:picMkLst>
        </pc:picChg>
        <pc:picChg chg="del">
          <ac:chgData name="Bullinger, Marvin" userId="5b54ce5a-dc89-476f-af33-5abd75d5b1e8" providerId="ADAL" clId="{B18DB96A-0F1B-4B04-B169-68D0DF683527}" dt="2024-08-05T18:38:03.404" v="251" actId="478"/>
          <ac:picMkLst>
            <pc:docMk/>
            <pc:sldMk cId="1733906716" sldId="600"/>
            <ac:picMk id="15" creationId="{E91A9643-1963-2247-F5F7-035A0FA8D8F7}"/>
          </ac:picMkLst>
        </pc:picChg>
        <pc:picChg chg="del">
          <ac:chgData name="Bullinger, Marvin" userId="5b54ce5a-dc89-476f-af33-5abd75d5b1e8" providerId="ADAL" clId="{B18DB96A-0F1B-4B04-B169-68D0DF683527}" dt="2024-08-05T18:38:03.404" v="251" actId="478"/>
          <ac:picMkLst>
            <pc:docMk/>
            <pc:sldMk cId="1733906716" sldId="600"/>
            <ac:picMk id="16" creationId="{352C7CEF-533B-777B-ADFD-CD922BD8C5F0}"/>
          </ac:picMkLst>
        </pc:picChg>
        <pc:picChg chg="del">
          <ac:chgData name="Bullinger, Marvin" userId="5b54ce5a-dc89-476f-af33-5abd75d5b1e8" providerId="ADAL" clId="{B18DB96A-0F1B-4B04-B169-68D0DF683527}" dt="2024-08-05T18:38:03.404" v="251" actId="478"/>
          <ac:picMkLst>
            <pc:docMk/>
            <pc:sldMk cId="1733906716" sldId="600"/>
            <ac:picMk id="17" creationId="{01FC87DD-2EA1-D1B7-A756-1F26C2D372DE}"/>
          </ac:picMkLst>
        </pc:picChg>
        <pc:picChg chg="del">
          <ac:chgData name="Bullinger, Marvin" userId="5b54ce5a-dc89-476f-af33-5abd75d5b1e8" providerId="ADAL" clId="{B18DB96A-0F1B-4B04-B169-68D0DF683527}" dt="2024-08-05T18:38:03.404" v="251" actId="478"/>
          <ac:picMkLst>
            <pc:docMk/>
            <pc:sldMk cId="1733906716" sldId="600"/>
            <ac:picMk id="18" creationId="{BEAB1D3E-0AEA-8BB2-EEC1-E87AA964E668}"/>
          </ac:picMkLst>
        </pc:picChg>
        <pc:picChg chg="del">
          <ac:chgData name="Bullinger, Marvin" userId="5b54ce5a-dc89-476f-af33-5abd75d5b1e8" providerId="ADAL" clId="{B18DB96A-0F1B-4B04-B169-68D0DF683527}" dt="2024-08-05T18:38:03.404" v="251" actId="478"/>
          <ac:picMkLst>
            <pc:docMk/>
            <pc:sldMk cId="1733906716" sldId="600"/>
            <ac:picMk id="1034" creationId="{D47E58D7-5EC2-B771-44BA-7B5C61757179}"/>
          </ac:picMkLst>
        </pc:picChg>
        <pc:cxnChg chg="del">
          <ac:chgData name="Bullinger, Marvin" userId="5b54ce5a-dc89-476f-af33-5abd75d5b1e8" providerId="ADAL" clId="{B18DB96A-0F1B-4B04-B169-68D0DF683527}" dt="2024-08-05T18:38:03.404" v="251" actId="478"/>
          <ac:cxnSpMkLst>
            <pc:docMk/>
            <pc:sldMk cId="1733906716" sldId="600"/>
            <ac:cxnSpMk id="19" creationId="{6EEBA051-A506-E6F6-6CCE-18C17434A077}"/>
          </ac:cxnSpMkLst>
        </pc:cxnChg>
        <pc:cxnChg chg="del">
          <ac:chgData name="Bullinger, Marvin" userId="5b54ce5a-dc89-476f-af33-5abd75d5b1e8" providerId="ADAL" clId="{B18DB96A-0F1B-4B04-B169-68D0DF683527}" dt="2024-08-05T18:38:03.404" v="251" actId="478"/>
          <ac:cxnSpMkLst>
            <pc:docMk/>
            <pc:sldMk cId="1733906716" sldId="600"/>
            <ac:cxnSpMk id="21" creationId="{BD49AFCD-C012-6D22-95B7-D69F7E0671B3}"/>
          </ac:cxnSpMkLst>
        </pc:cxnChg>
      </pc:sldChg>
      <pc:sldChg chg="addSp delSp modSp mod modNotesTx">
        <pc:chgData name="Bullinger, Marvin" userId="5b54ce5a-dc89-476f-af33-5abd75d5b1e8" providerId="ADAL" clId="{B18DB96A-0F1B-4B04-B169-68D0DF683527}" dt="2024-08-13T15:16:45.652" v="26555" actId="478"/>
        <pc:sldMkLst>
          <pc:docMk/>
          <pc:sldMk cId="1803820397" sldId="604"/>
        </pc:sldMkLst>
        <pc:spChg chg="del">
          <ac:chgData name="Bullinger, Marvin" userId="5b54ce5a-dc89-476f-af33-5abd75d5b1e8" providerId="ADAL" clId="{B18DB96A-0F1B-4B04-B169-68D0DF683527}" dt="2024-08-07T08:35:42.508" v="6027" actId="478"/>
          <ac:spMkLst>
            <pc:docMk/>
            <pc:sldMk cId="1803820397" sldId="604"/>
            <ac:spMk id="26" creationId="{E1E4479F-33E4-ABED-16A9-960F404203CC}"/>
          </ac:spMkLst>
        </pc:spChg>
        <pc:spChg chg="del">
          <ac:chgData name="Bullinger, Marvin" userId="5b54ce5a-dc89-476f-af33-5abd75d5b1e8" providerId="ADAL" clId="{B18DB96A-0F1B-4B04-B169-68D0DF683527}" dt="2024-08-06T09:48:23.866" v="2437" actId="478"/>
          <ac:spMkLst>
            <pc:docMk/>
            <pc:sldMk cId="1803820397" sldId="604"/>
            <ac:spMk id="97" creationId="{42AD95ED-5018-D37D-7C6D-2840F18C6155}"/>
          </ac:spMkLst>
        </pc:spChg>
        <pc:spChg chg="add mod">
          <ac:chgData name="Bullinger, Marvin" userId="5b54ce5a-dc89-476f-af33-5abd75d5b1e8" providerId="ADAL" clId="{B18DB96A-0F1B-4B04-B169-68D0DF683527}" dt="2024-08-07T20:14:35.246" v="7330" actId="478"/>
          <ac:spMkLst>
            <pc:docMk/>
            <pc:sldMk cId="1803820397" sldId="604"/>
            <ac:spMk id="105" creationId="{70177C95-1942-2A52-AFCA-C726EFD25F8F}"/>
          </ac:spMkLst>
        </pc:spChg>
        <pc:spChg chg="mod ord replST">
          <ac:chgData name="Bullinger, Marvin" userId="5b54ce5a-dc89-476f-af33-5abd75d5b1e8" providerId="ADAL" clId="{B18DB96A-0F1B-4B04-B169-68D0DF683527}" dt="2024-08-07T20:14:35.954" v="7634"/>
          <ac:spMkLst>
            <pc:docMk/>
            <pc:sldMk cId="1803820397" sldId="604"/>
            <ac:spMk id="106" creationId="{096419D8-C840-76C1-7A12-6839167D2CCC}"/>
          </ac:spMkLst>
        </pc:spChg>
        <pc:spChg chg="add mod">
          <ac:chgData name="Bullinger, Marvin" userId="5b54ce5a-dc89-476f-af33-5abd75d5b1e8" providerId="ADAL" clId="{B18DB96A-0F1B-4B04-B169-68D0DF683527}" dt="2024-08-06T09:48:23.866" v="2437" actId="478"/>
          <ac:spMkLst>
            <pc:docMk/>
            <pc:sldMk cId="1803820397" sldId="604"/>
            <ac:spMk id="107" creationId="{3AF8109D-8648-6C3D-52E0-7CED7FDF5F1D}"/>
          </ac:spMkLst>
        </pc:spChg>
        <pc:spChg chg="del">
          <ac:chgData name="Bullinger, Marvin" userId="5b54ce5a-dc89-476f-af33-5abd75d5b1e8" providerId="ADAL" clId="{B18DB96A-0F1B-4B04-B169-68D0DF683527}" dt="2024-08-07T20:14:35.294" v="7365" actId="478"/>
          <ac:spMkLst>
            <pc:docMk/>
            <pc:sldMk cId="1803820397" sldId="604"/>
            <ac:spMk id="107" creationId="{AEBB71FD-E556-90A5-18A0-05A9CD38A318}"/>
          </ac:spMkLst>
        </pc:spChg>
        <pc:spChg chg="del mod ord replST">
          <ac:chgData name="Bullinger, Marvin" userId="5b54ce5a-dc89-476f-af33-5abd75d5b1e8" providerId="ADAL" clId="{B18DB96A-0F1B-4B04-B169-68D0DF683527}" dt="2024-08-07T20:14:35.246" v="7330" actId="478"/>
          <ac:spMkLst>
            <pc:docMk/>
            <pc:sldMk cId="1803820397" sldId="604"/>
            <ac:spMk id="108" creationId="{6FB8B4EA-F4CF-9717-FC90-6FC63825C7C1}"/>
          </ac:spMkLst>
        </pc:spChg>
        <pc:spChg chg="del">
          <ac:chgData name="Bullinger, Marvin" userId="5b54ce5a-dc89-476f-af33-5abd75d5b1e8" providerId="ADAL" clId="{B18DB96A-0F1B-4B04-B169-68D0DF683527}" dt="2024-08-06T09:48:23.884" v="2473" actId="478"/>
          <ac:spMkLst>
            <pc:docMk/>
            <pc:sldMk cId="1803820397" sldId="604"/>
            <ac:spMk id="109" creationId="{13A32B6F-1A62-068D-39EB-085C1F3BC06C}"/>
          </ac:spMkLst>
        </pc:spChg>
        <pc:spChg chg="del">
          <ac:chgData name="Bullinger, Marvin" userId="5b54ce5a-dc89-476f-af33-5abd75d5b1e8" providerId="ADAL" clId="{B18DB96A-0F1B-4B04-B169-68D0DF683527}" dt="2024-08-07T20:14:35.294" v="7364" actId="478"/>
          <ac:spMkLst>
            <pc:docMk/>
            <pc:sldMk cId="1803820397" sldId="604"/>
            <ac:spMk id="109" creationId="{D8CD908D-AEF0-3E89-3DFB-73DF2913E8C5}"/>
          </ac:spMkLst>
        </pc:spChg>
        <pc:spChg chg="del">
          <ac:chgData name="Bullinger, Marvin" userId="5b54ce5a-dc89-476f-af33-5abd75d5b1e8" providerId="ADAL" clId="{B18DB96A-0F1B-4B04-B169-68D0DF683527}" dt="2024-08-06T09:48:23.884" v="2472" actId="478"/>
          <ac:spMkLst>
            <pc:docMk/>
            <pc:sldMk cId="1803820397" sldId="604"/>
            <ac:spMk id="110" creationId="{4EB0AAB2-4481-426F-5D87-46734795C318}"/>
          </ac:spMkLst>
        </pc:spChg>
        <pc:spChg chg="del">
          <ac:chgData name="Bullinger, Marvin" userId="5b54ce5a-dc89-476f-af33-5abd75d5b1e8" providerId="ADAL" clId="{B18DB96A-0F1B-4B04-B169-68D0DF683527}" dt="2024-08-07T20:14:35.294" v="7363" actId="478"/>
          <ac:spMkLst>
            <pc:docMk/>
            <pc:sldMk cId="1803820397" sldId="604"/>
            <ac:spMk id="110" creationId="{D48BD495-4F48-86DC-12F3-22F3145918A9}"/>
          </ac:spMkLst>
        </pc:spChg>
        <pc:spChg chg="del">
          <ac:chgData name="Bullinger, Marvin" userId="5b54ce5a-dc89-476f-af33-5abd75d5b1e8" providerId="ADAL" clId="{B18DB96A-0F1B-4B04-B169-68D0DF683527}" dt="2024-08-07T20:14:35.294" v="7362" actId="478"/>
          <ac:spMkLst>
            <pc:docMk/>
            <pc:sldMk cId="1803820397" sldId="604"/>
            <ac:spMk id="111" creationId="{26018D0A-6162-12D2-EBC6-CEA15CD81B62}"/>
          </ac:spMkLst>
        </pc:spChg>
        <pc:spChg chg="del">
          <ac:chgData name="Bullinger, Marvin" userId="5b54ce5a-dc89-476f-af33-5abd75d5b1e8" providerId="ADAL" clId="{B18DB96A-0F1B-4B04-B169-68D0DF683527}" dt="2024-08-06T09:48:23.884" v="2471" actId="478"/>
          <ac:spMkLst>
            <pc:docMk/>
            <pc:sldMk cId="1803820397" sldId="604"/>
            <ac:spMk id="111" creationId="{9C0CC979-9C79-A7DF-E79F-97F04A338643}"/>
          </ac:spMkLst>
        </pc:spChg>
        <pc:spChg chg="del">
          <ac:chgData name="Bullinger, Marvin" userId="5b54ce5a-dc89-476f-af33-5abd75d5b1e8" providerId="ADAL" clId="{B18DB96A-0F1B-4B04-B169-68D0DF683527}" dt="2024-08-06T09:48:23.884" v="2470" actId="478"/>
          <ac:spMkLst>
            <pc:docMk/>
            <pc:sldMk cId="1803820397" sldId="604"/>
            <ac:spMk id="112" creationId="{379A8D85-108C-F0AE-C479-8140A7A51AF4}"/>
          </ac:spMkLst>
        </pc:spChg>
        <pc:spChg chg="del">
          <ac:chgData name="Bullinger, Marvin" userId="5b54ce5a-dc89-476f-af33-5abd75d5b1e8" providerId="ADAL" clId="{B18DB96A-0F1B-4B04-B169-68D0DF683527}" dt="2024-08-07T20:14:35.294" v="7361" actId="478"/>
          <ac:spMkLst>
            <pc:docMk/>
            <pc:sldMk cId="1803820397" sldId="604"/>
            <ac:spMk id="112" creationId="{F8A24023-C73C-501D-86FA-0C6578733394}"/>
          </ac:spMkLst>
        </pc:spChg>
        <pc:spChg chg="del">
          <ac:chgData name="Bullinger, Marvin" userId="5b54ce5a-dc89-476f-af33-5abd75d5b1e8" providerId="ADAL" clId="{B18DB96A-0F1B-4B04-B169-68D0DF683527}" dt="2024-08-07T20:14:35.294" v="7360" actId="478"/>
          <ac:spMkLst>
            <pc:docMk/>
            <pc:sldMk cId="1803820397" sldId="604"/>
            <ac:spMk id="113" creationId="{264A41E9-B9FD-F084-DBA9-342D39910B7A}"/>
          </ac:spMkLst>
        </pc:spChg>
        <pc:spChg chg="del">
          <ac:chgData name="Bullinger, Marvin" userId="5b54ce5a-dc89-476f-af33-5abd75d5b1e8" providerId="ADAL" clId="{B18DB96A-0F1B-4B04-B169-68D0DF683527}" dt="2024-08-06T09:48:23.884" v="2469" actId="478"/>
          <ac:spMkLst>
            <pc:docMk/>
            <pc:sldMk cId="1803820397" sldId="604"/>
            <ac:spMk id="113" creationId="{745DAF1E-C826-6DFF-9977-6BECD78FC06F}"/>
          </ac:spMkLst>
        </pc:spChg>
        <pc:spChg chg="del">
          <ac:chgData name="Bullinger, Marvin" userId="5b54ce5a-dc89-476f-af33-5abd75d5b1e8" providerId="ADAL" clId="{B18DB96A-0F1B-4B04-B169-68D0DF683527}" dt="2024-08-06T09:48:23.884" v="2468" actId="478"/>
          <ac:spMkLst>
            <pc:docMk/>
            <pc:sldMk cId="1803820397" sldId="604"/>
            <ac:spMk id="114" creationId="{20311ADA-EF52-45C0-3C3D-214CF8FA56EF}"/>
          </ac:spMkLst>
        </pc:spChg>
        <pc:spChg chg="del">
          <ac:chgData name="Bullinger, Marvin" userId="5b54ce5a-dc89-476f-af33-5abd75d5b1e8" providerId="ADAL" clId="{B18DB96A-0F1B-4B04-B169-68D0DF683527}" dt="2024-08-07T20:14:35.294" v="7357" actId="478"/>
          <ac:spMkLst>
            <pc:docMk/>
            <pc:sldMk cId="1803820397" sldId="604"/>
            <ac:spMk id="114" creationId="{5206D863-0BB3-6138-1A38-668B1E14BEE0}"/>
          </ac:spMkLst>
        </pc:spChg>
        <pc:spChg chg="del">
          <ac:chgData name="Bullinger, Marvin" userId="5b54ce5a-dc89-476f-af33-5abd75d5b1e8" providerId="ADAL" clId="{B18DB96A-0F1B-4B04-B169-68D0DF683527}" dt="2024-08-06T09:48:23.884" v="2465" actId="478"/>
          <ac:spMkLst>
            <pc:docMk/>
            <pc:sldMk cId="1803820397" sldId="604"/>
            <ac:spMk id="115" creationId="{2E91BF31-EE79-7D8C-ACA2-867298527EC0}"/>
          </ac:spMkLst>
        </pc:spChg>
        <pc:spChg chg="del">
          <ac:chgData name="Bullinger, Marvin" userId="5b54ce5a-dc89-476f-af33-5abd75d5b1e8" providerId="ADAL" clId="{B18DB96A-0F1B-4B04-B169-68D0DF683527}" dt="2024-08-07T20:14:35.294" v="7356" actId="478"/>
          <ac:spMkLst>
            <pc:docMk/>
            <pc:sldMk cId="1803820397" sldId="604"/>
            <ac:spMk id="115" creationId="{7DF20426-8DFE-0514-01D9-3C15A66448B7}"/>
          </ac:spMkLst>
        </pc:spChg>
        <pc:spChg chg="del">
          <ac:chgData name="Bullinger, Marvin" userId="5b54ce5a-dc89-476f-af33-5abd75d5b1e8" providerId="ADAL" clId="{B18DB96A-0F1B-4B04-B169-68D0DF683527}" dt="2024-08-06T09:48:23.884" v="2464" actId="478"/>
          <ac:spMkLst>
            <pc:docMk/>
            <pc:sldMk cId="1803820397" sldId="604"/>
            <ac:spMk id="116" creationId="{7AE0C654-6E69-26D3-0974-8FF1905AB284}"/>
          </ac:spMkLst>
        </pc:spChg>
        <pc:spChg chg="del">
          <ac:chgData name="Bullinger, Marvin" userId="5b54ce5a-dc89-476f-af33-5abd75d5b1e8" providerId="ADAL" clId="{B18DB96A-0F1B-4B04-B169-68D0DF683527}" dt="2024-08-07T20:14:35.294" v="7355" actId="478"/>
          <ac:spMkLst>
            <pc:docMk/>
            <pc:sldMk cId="1803820397" sldId="604"/>
            <ac:spMk id="116" creationId="{81DAD537-4A54-B347-93E9-DC630B93C096}"/>
          </ac:spMkLst>
        </pc:spChg>
        <pc:spChg chg="del">
          <ac:chgData name="Bullinger, Marvin" userId="5b54ce5a-dc89-476f-af33-5abd75d5b1e8" providerId="ADAL" clId="{B18DB96A-0F1B-4B04-B169-68D0DF683527}" dt="2024-08-06T09:48:23.884" v="2463" actId="478"/>
          <ac:spMkLst>
            <pc:docMk/>
            <pc:sldMk cId="1803820397" sldId="604"/>
            <ac:spMk id="117" creationId="{684E4850-69DF-0C43-8308-9DDE8600D2C9}"/>
          </ac:spMkLst>
        </pc:spChg>
        <pc:spChg chg="del">
          <ac:chgData name="Bullinger, Marvin" userId="5b54ce5a-dc89-476f-af33-5abd75d5b1e8" providerId="ADAL" clId="{B18DB96A-0F1B-4B04-B169-68D0DF683527}" dt="2024-08-07T20:14:35.294" v="7354" actId="478"/>
          <ac:spMkLst>
            <pc:docMk/>
            <pc:sldMk cId="1803820397" sldId="604"/>
            <ac:spMk id="117" creationId="{C4095ADD-8B18-CB97-A956-BCBC174B2471}"/>
          </ac:spMkLst>
        </pc:spChg>
        <pc:spChg chg="del">
          <ac:chgData name="Bullinger, Marvin" userId="5b54ce5a-dc89-476f-af33-5abd75d5b1e8" providerId="ADAL" clId="{B18DB96A-0F1B-4B04-B169-68D0DF683527}" dt="2024-08-06T09:48:23.884" v="2462" actId="478"/>
          <ac:spMkLst>
            <pc:docMk/>
            <pc:sldMk cId="1803820397" sldId="604"/>
            <ac:spMk id="118" creationId="{44823109-9487-A258-2245-21C39164F745}"/>
          </ac:spMkLst>
        </pc:spChg>
        <pc:spChg chg="del">
          <ac:chgData name="Bullinger, Marvin" userId="5b54ce5a-dc89-476f-af33-5abd75d5b1e8" providerId="ADAL" clId="{B18DB96A-0F1B-4B04-B169-68D0DF683527}" dt="2024-08-07T20:14:35.294" v="7353" actId="478"/>
          <ac:spMkLst>
            <pc:docMk/>
            <pc:sldMk cId="1803820397" sldId="604"/>
            <ac:spMk id="118" creationId="{A2EE47C6-0F4D-93A8-4E66-D119C00B9D69}"/>
          </ac:spMkLst>
        </pc:spChg>
        <pc:spChg chg="del">
          <ac:chgData name="Bullinger, Marvin" userId="5b54ce5a-dc89-476f-af33-5abd75d5b1e8" providerId="ADAL" clId="{B18DB96A-0F1B-4B04-B169-68D0DF683527}" dt="2024-08-07T20:14:35.294" v="7352" actId="478"/>
          <ac:spMkLst>
            <pc:docMk/>
            <pc:sldMk cId="1803820397" sldId="604"/>
            <ac:spMk id="119" creationId="{CD8C003A-2F0B-E80B-EF3D-744E58F5EBBB}"/>
          </ac:spMkLst>
        </pc:spChg>
        <pc:spChg chg="del">
          <ac:chgData name="Bullinger, Marvin" userId="5b54ce5a-dc89-476f-af33-5abd75d5b1e8" providerId="ADAL" clId="{B18DB96A-0F1B-4B04-B169-68D0DF683527}" dt="2024-08-06T09:48:23.884" v="2461" actId="478"/>
          <ac:spMkLst>
            <pc:docMk/>
            <pc:sldMk cId="1803820397" sldId="604"/>
            <ac:spMk id="119" creationId="{DFA22F74-61C9-67E3-0806-DB98C499FBAB}"/>
          </ac:spMkLst>
        </pc:spChg>
        <pc:spChg chg="del">
          <ac:chgData name="Bullinger, Marvin" userId="5b54ce5a-dc89-476f-af33-5abd75d5b1e8" providerId="ADAL" clId="{B18DB96A-0F1B-4B04-B169-68D0DF683527}" dt="2024-08-07T20:14:35.316" v="7373" actId="478"/>
          <ac:spMkLst>
            <pc:docMk/>
            <pc:sldMk cId="1803820397" sldId="604"/>
            <ac:spMk id="120" creationId="{153D9C56-4845-B692-371E-4318E6F0EA3B}"/>
          </ac:spMkLst>
        </pc:spChg>
        <pc:spChg chg="del">
          <ac:chgData name="Bullinger, Marvin" userId="5b54ce5a-dc89-476f-af33-5abd75d5b1e8" providerId="ADAL" clId="{B18DB96A-0F1B-4B04-B169-68D0DF683527}" dt="2024-08-06T09:48:23.884" v="2460" actId="478"/>
          <ac:spMkLst>
            <pc:docMk/>
            <pc:sldMk cId="1803820397" sldId="604"/>
            <ac:spMk id="120" creationId="{B5D72DF9-C2A2-E3C6-E2E4-9ED9019C7C38}"/>
          </ac:spMkLst>
        </pc:spChg>
        <pc:spChg chg="del">
          <ac:chgData name="Bullinger, Marvin" userId="5b54ce5a-dc89-476f-af33-5abd75d5b1e8" providerId="ADAL" clId="{B18DB96A-0F1B-4B04-B169-68D0DF683527}" dt="2024-08-06T09:48:23.884" v="2481" actId="478"/>
          <ac:spMkLst>
            <pc:docMk/>
            <pc:sldMk cId="1803820397" sldId="604"/>
            <ac:spMk id="121" creationId="{27212BB7-96E4-CE86-6CFD-6107CE4E8E95}"/>
          </ac:spMkLst>
        </pc:spChg>
        <pc:spChg chg="del">
          <ac:chgData name="Bullinger, Marvin" userId="5b54ce5a-dc89-476f-af33-5abd75d5b1e8" providerId="ADAL" clId="{B18DB96A-0F1B-4B04-B169-68D0DF683527}" dt="2024-08-07T20:14:35.309" v="7372" actId="478"/>
          <ac:spMkLst>
            <pc:docMk/>
            <pc:sldMk cId="1803820397" sldId="604"/>
            <ac:spMk id="121" creationId="{EC1F86A2-87BD-ED79-80C7-BDA97ED0B36A}"/>
          </ac:spMkLst>
        </pc:spChg>
        <pc:spChg chg="del">
          <ac:chgData name="Bullinger, Marvin" userId="5b54ce5a-dc89-476f-af33-5abd75d5b1e8" providerId="ADAL" clId="{B18DB96A-0F1B-4B04-B169-68D0DF683527}" dt="2024-08-06T09:48:23.884" v="2480" actId="478"/>
          <ac:spMkLst>
            <pc:docMk/>
            <pc:sldMk cId="1803820397" sldId="604"/>
            <ac:spMk id="122" creationId="{72A3F2F3-0AB4-11DC-FE2D-99093502E661}"/>
          </ac:spMkLst>
        </pc:spChg>
        <pc:spChg chg="del">
          <ac:chgData name="Bullinger, Marvin" userId="5b54ce5a-dc89-476f-af33-5abd75d5b1e8" providerId="ADAL" clId="{B18DB96A-0F1B-4B04-B169-68D0DF683527}" dt="2024-08-07T20:14:35.309" v="7371" actId="478"/>
          <ac:spMkLst>
            <pc:docMk/>
            <pc:sldMk cId="1803820397" sldId="604"/>
            <ac:spMk id="122" creationId="{DB67E72D-B22D-B8AC-C320-1932B9D09105}"/>
          </ac:spMkLst>
        </pc:spChg>
        <pc:spChg chg="del">
          <ac:chgData name="Bullinger, Marvin" userId="5b54ce5a-dc89-476f-af33-5abd75d5b1e8" providerId="ADAL" clId="{B18DB96A-0F1B-4B04-B169-68D0DF683527}" dt="2024-08-06T09:48:23.884" v="2479" actId="478"/>
          <ac:spMkLst>
            <pc:docMk/>
            <pc:sldMk cId="1803820397" sldId="604"/>
            <ac:spMk id="123" creationId="{A71E90A3-5819-E48C-C0A6-51E41B819DC3}"/>
          </ac:spMkLst>
        </pc:spChg>
        <pc:spChg chg="del">
          <ac:chgData name="Bullinger, Marvin" userId="5b54ce5a-dc89-476f-af33-5abd75d5b1e8" providerId="ADAL" clId="{B18DB96A-0F1B-4B04-B169-68D0DF683527}" dt="2024-08-07T20:14:35.309" v="7370" actId="478"/>
          <ac:spMkLst>
            <pc:docMk/>
            <pc:sldMk cId="1803820397" sldId="604"/>
            <ac:spMk id="123" creationId="{AE82D2E2-91AF-4597-F30F-8D546EAB7A85}"/>
          </ac:spMkLst>
        </pc:spChg>
        <pc:spChg chg="del">
          <ac:chgData name="Bullinger, Marvin" userId="5b54ce5a-dc89-476f-af33-5abd75d5b1e8" providerId="ADAL" clId="{B18DB96A-0F1B-4B04-B169-68D0DF683527}" dt="2024-08-07T20:14:35.309" v="7369" actId="478"/>
          <ac:spMkLst>
            <pc:docMk/>
            <pc:sldMk cId="1803820397" sldId="604"/>
            <ac:spMk id="124" creationId="{0312D2E8-D205-561A-5D5F-2B943998DF8A}"/>
          </ac:spMkLst>
        </pc:spChg>
        <pc:spChg chg="del">
          <ac:chgData name="Bullinger, Marvin" userId="5b54ce5a-dc89-476f-af33-5abd75d5b1e8" providerId="ADAL" clId="{B18DB96A-0F1B-4B04-B169-68D0DF683527}" dt="2024-08-06T09:48:23.884" v="2478" actId="478"/>
          <ac:spMkLst>
            <pc:docMk/>
            <pc:sldMk cId="1803820397" sldId="604"/>
            <ac:spMk id="124" creationId="{CD7C93F7-69AB-326C-C6B8-4FF5A8D90677}"/>
          </ac:spMkLst>
        </pc:spChg>
        <pc:spChg chg="del">
          <ac:chgData name="Bullinger, Marvin" userId="5b54ce5a-dc89-476f-af33-5abd75d5b1e8" providerId="ADAL" clId="{B18DB96A-0F1B-4B04-B169-68D0DF683527}" dt="2024-08-06T09:48:23.884" v="2477" actId="478"/>
          <ac:spMkLst>
            <pc:docMk/>
            <pc:sldMk cId="1803820397" sldId="604"/>
            <ac:spMk id="125" creationId="{AF98E1A5-C606-2CCE-C9E6-5641E345A561}"/>
          </ac:spMkLst>
        </pc:spChg>
        <pc:spChg chg="del">
          <ac:chgData name="Bullinger, Marvin" userId="5b54ce5a-dc89-476f-af33-5abd75d5b1e8" providerId="ADAL" clId="{B18DB96A-0F1B-4B04-B169-68D0DF683527}" dt="2024-08-07T20:14:35.309" v="7368" actId="478"/>
          <ac:spMkLst>
            <pc:docMk/>
            <pc:sldMk cId="1803820397" sldId="604"/>
            <ac:spMk id="125" creationId="{B4EF3E9E-1329-95F0-DF00-7858CA839637}"/>
          </ac:spMkLst>
        </pc:spChg>
        <pc:spChg chg="del">
          <ac:chgData name="Bullinger, Marvin" userId="5b54ce5a-dc89-476f-af33-5abd75d5b1e8" providerId="ADAL" clId="{B18DB96A-0F1B-4B04-B169-68D0DF683527}" dt="2024-08-07T20:14:35.309" v="7367" actId="478"/>
          <ac:spMkLst>
            <pc:docMk/>
            <pc:sldMk cId="1803820397" sldId="604"/>
            <ac:spMk id="126" creationId="{295DB913-73F1-CEB3-7D9D-9E8F8F85543F}"/>
          </ac:spMkLst>
        </pc:spChg>
        <pc:spChg chg="del">
          <ac:chgData name="Bullinger, Marvin" userId="5b54ce5a-dc89-476f-af33-5abd75d5b1e8" providerId="ADAL" clId="{B18DB96A-0F1B-4B04-B169-68D0DF683527}" dt="2024-08-06T09:48:23.884" v="2476" actId="478"/>
          <ac:spMkLst>
            <pc:docMk/>
            <pc:sldMk cId="1803820397" sldId="604"/>
            <ac:spMk id="126" creationId="{3D262DFB-5505-FB87-A37D-3BA80CD8E755}"/>
          </ac:spMkLst>
        </pc:spChg>
        <pc:spChg chg="del">
          <ac:chgData name="Bullinger, Marvin" userId="5b54ce5a-dc89-476f-af33-5abd75d5b1e8" providerId="ADAL" clId="{B18DB96A-0F1B-4B04-B169-68D0DF683527}" dt="2024-08-06T09:48:23.884" v="2475" actId="478"/>
          <ac:spMkLst>
            <pc:docMk/>
            <pc:sldMk cId="1803820397" sldId="604"/>
            <ac:spMk id="127" creationId="{88EAFAB3-C2DE-56C7-6EE5-D97EFF086CE3}"/>
          </ac:spMkLst>
        </pc:spChg>
        <pc:spChg chg="del">
          <ac:chgData name="Bullinger, Marvin" userId="5b54ce5a-dc89-476f-af33-5abd75d5b1e8" providerId="ADAL" clId="{B18DB96A-0F1B-4B04-B169-68D0DF683527}" dt="2024-08-07T20:14:35.294" v="7366" actId="478"/>
          <ac:spMkLst>
            <pc:docMk/>
            <pc:sldMk cId="1803820397" sldId="604"/>
            <ac:spMk id="127" creationId="{8FF89277-3B0A-FEFE-E48D-DB7743C57695}"/>
          </ac:spMkLst>
        </pc:spChg>
        <pc:spChg chg="del">
          <ac:chgData name="Bullinger, Marvin" userId="5b54ce5a-dc89-476f-af33-5abd75d5b1e8" providerId="ADAL" clId="{B18DB96A-0F1B-4B04-B169-68D0DF683527}" dt="2024-08-06T09:48:23.884" v="2474" actId="478"/>
          <ac:spMkLst>
            <pc:docMk/>
            <pc:sldMk cId="1803820397" sldId="604"/>
            <ac:spMk id="128" creationId="{6E549D04-494F-9C37-62E5-21195CFC206F}"/>
          </ac:spMkLst>
        </pc:spChg>
        <pc:spChg chg="del">
          <ac:chgData name="Bullinger, Marvin" userId="5b54ce5a-dc89-476f-af33-5abd75d5b1e8" providerId="ADAL" clId="{B18DB96A-0F1B-4B04-B169-68D0DF683527}" dt="2024-08-06T09:48:23.884" v="2466" actId="478"/>
          <ac:spMkLst>
            <pc:docMk/>
            <pc:sldMk cId="1803820397" sldId="604"/>
            <ac:spMk id="129" creationId="{EA89A64E-3201-542E-FA39-CD3B47276F52}"/>
          </ac:spMkLst>
        </pc:spChg>
        <pc:spChg chg="del">
          <ac:chgData name="Bullinger, Marvin" userId="5b54ce5a-dc89-476f-af33-5abd75d5b1e8" providerId="ADAL" clId="{B18DB96A-0F1B-4B04-B169-68D0DF683527}" dt="2024-08-06T09:48:23.884" v="2459" actId="478"/>
          <ac:spMkLst>
            <pc:docMk/>
            <pc:sldMk cId="1803820397" sldId="604"/>
            <ac:spMk id="130" creationId="{344A0F47-090E-C8CD-1635-88E1505C8916}"/>
          </ac:spMkLst>
        </pc:spChg>
        <pc:spChg chg="del">
          <ac:chgData name="Bullinger, Marvin" userId="5b54ce5a-dc89-476f-af33-5abd75d5b1e8" providerId="ADAL" clId="{B18DB96A-0F1B-4B04-B169-68D0DF683527}" dt="2024-08-06T09:48:23.884" v="2467" actId="478"/>
          <ac:spMkLst>
            <pc:docMk/>
            <pc:sldMk cId="1803820397" sldId="604"/>
            <ac:spMk id="131" creationId="{3133765A-32FE-6CB2-E9FF-1B8C04EC825C}"/>
          </ac:spMkLst>
        </pc:spChg>
        <pc:spChg chg="del">
          <ac:chgData name="Bullinger, Marvin" userId="5b54ce5a-dc89-476f-af33-5abd75d5b1e8" providerId="ADAL" clId="{B18DB96A-0F1B-4B04-B169-68D0DF683527}" dt="2024-08-06T09:48:23.884" v="2458" actId="478"/>
          <ac:spMkLst>
            <pc:docMk/>
            <pc:sldMk cId="1803820397" sldId="604"/>
            <ac:spMk id="132" creationId="{ADB049D9-4F10-462E-4CAC-D9F607A91CD9}"/>
          </ac:spMkLst>
        </pc:spChg>
        <pc:spChg chg="del">
          <ac:chgData name="Bullinger, Marvin" userId="5b54ce5a-dc89-476f-af33-5abd75d5b1e8" providerId="ADAL" clId="{B18DB96A-0F1B-4B04-B169-68D0DF683527}" dt="2024-08-06T09:48:23.884" v="2457" actId="478"/>
          <ac:spMkLst>
            <pc:docMk/>
            <pc:sldMk cId="1803820397" sldId="604"/>
            <ac:spMk id="133" creationId="{7798179C-A726-E090-A85D-4E74B121EB04}"/>
          </ac:spMkLst>
        </pc:spChg>
        <pc:spChg chg="del">
          <ac:chgData name="Bullinger, Marvin" userId="5b54ce5a-dc89-476f-af33-5abd75d5b1e8" providerId="ADAL" clId="{B18DB96A-0F1B-4B04-B169-68D0DF683527}" dt="2024-08-06T09:48:23.884" v="2456" actId="478"/>
          <ac:spMkLst>
            <pc:docMk/>
            <pc:sldMk cId="1803820397" sldId="604"/>
            <ac:spMk id="134" creationId="{181C935C-1EC4-3182-859E-7ACD282C51EC}"/>
          </ac:spMkLst>
        </pc:spChg>
        <pc:spChg chg="del">
          <ac:chgData name="Bullinger, Marvin" userId="5b54ce5a-dc89-476f-af33-5abd75d5b1e8" providerId="ADAL" clId="{B18DB96A-0F1B-4B04-B169-68D0DF683527}" dt="2024-08-06T09:48:23.869" v="2440" actId="478"/>
          <ac:spMkLst>
            <pc:docMk/>
            <pc:sldMk cId="1803820397" sldId="604"/>
            <ac:spMk id="143" creationId="{3DF0F9CF-C0CD-764F-859D-DA72E0033333}"/>
          </ac:spMkLst>
        </pc:spChg>
        <pc:spChg chg="del">
          <ac:chgData name="Bullinger, Marvin" userId="5b54ce5a-dc89-476f-af33-5abd75d5b1e8" providerId="ADAL" clId="{B18DB96A-0F1B-4B04-B169-68D0DF683527}" dt="2024-08-06T09:48:23.884" v="2455" actId="478"/>
          <ac:spMkLst>
            <pc:docMk/>
            <pc:sldMk cId="1803820397" sldId="604"/>
            <ac:spMk id="154" creationId="{A4740237-EFA6-E054-F3B8-A3550E8CACB7}"/>
          </ac:spMkLst>
        </pc:spChg>
        <pc:spChg chg="del">
          <ac:chgData name="Bullinger, Marvin" userId="5b54ce5a-dc89-476f-af33-5abd75d5b1e8" providerId="ADAL" clId="{B18DB96A-0F1B-4B04-B169-68D0DF683527}" dt="2024-08-06T09:48:23.884" v="2454" actId="478"/>
          <ac:spMkLst>
            <pc:docMk/>
            <pc:sldMk cId="1803820397" sldId="604"/>
            <ac:spMk id="155" creationId="{5385B691-6C70-2C7C-749D-C9A16A2378A6}"/>
          </ac:spMkLst>
        </pc:spChg>
        <pc:spChg chg="del">
          <ac:chgData name="Bullinger, Marvin" userId="5b54ce5a-dc89-476f-af33-5abd75d5b1e8" providerId="ADAL" clId="{B18DB96A-0F1B-4B04-B169-68D0DF683527}" dt="2024-08-06T09:48:23.884" v="2453" actId="478"/>
          <ac:spMkLst>
            <pc:docMk/>
            <pc:sldMk cId="1803820397" sldId="604"/>
            <ac:spMk id="156" creationId="{4A7AB59B-42C0-5FAF-211B-A4DD64C955E9}"/>
          </ac:spMkLst>
        </pc:spChg>
        <pc:spChg chg="del">
          <ac:chgData name="Bullinger, Marvin" userId="5b54ce5a-dc89-476f-af33-5abd75d5b1e8" providerId="ADAL" clId="{B18DB96A-0F1B-4B04-B169-68D0DF683527}" dt="2024-08-06T09:48:23.884" v="2452" actId="478"/>
          <ac:spMkLst>
            <pc:docMk/>
            <pc:sldMk cId="1803820397" sldId="604"/>
            <ac:spMk id="157" creationId="{74F42159-2A69-B25A-7505-FBF37223CE66}"/>
          </ac:spMkLst>
        </pc:spChg>
        <pc:spChg chg="del">
          <ac:chgData name="Bullinger, Marvin" userId="5b54ce5a-dc89-476f-af33-5abd75d5b1e8" providerId="ADAL" clId="{B18DB96A-0F1B-4B04-B169-68D0DF683527}" dt="2024-08-06T09:48:23.884" v="2451" actId="478"/>
          <ac:spMkLst>
            <pc:docMk/>
            <pc:sldMk cId="1803820397" sldId="604"/>
            <ac:spMk id="158" creationId="{BB6CDD4A-0FF4-3403-D4C8-34282ACB71EF}"/>
          </ac:spMkLst>
        </pc:spChg>
        <pc:spChg chg="del">
          <ac:chgData name="Bullinger, Marvin" userId="5b54ce5a-dc89-476f-af33-5abd75d5b1e8" providerId="ADAL" clId="{B18DB96A-0F1B-4B04-B169-68D0DF683527}" dt="2024-08-06T09:48:23.884" v="2450" actId="478"/>
          <ac:spMkLst>
            <pc:docMk/>
            <pc:sldMk cId="1803820397" sldId="604"/>
            <ac:spMk id="159" creationId="{FAA18BE7-3C32-9861-00B8-A7F05DC7691E}"/>
          </ac:spMkLst>
        </pc:spChg>
        <pc:spChg chg="del">
          <ac:chgData name="Bullinger, Marvin" userId="5b54ce5a-dc89-476f-af33-5abd75d5b1e8" providerId="ADAL" clId="{B18DB96A-0F1B-4B04-B169-68D0DF683527}" dt="2024-08-07T20:14:35.294" v="7358" actId="478"/>
          <ac:spMkLst>
            <pc:docMk/>
            <pc:sldMk cId="1803820397" sldId="604"/>
            <ac:spMk id="160" creationId="{0F8F1ECA-1883-57F9-03D9-A5A9AC62EC10}"/>
          </ac:spMkLst>
        </pc:spChg>
        <pc:spChg chg="del">
          <ac:chgData name="Bullinger, Marvin" userId="5b54ce5a-dc89-476f-af33-5abd75d5b1e8" providerId="ADAL" clId="{B18DB96A-0F1B-4B04-B169-68D0DF683527}" dt="2024-08-06T09:48:23.884" v="2449" actId="478"/>
          <ac:spMkLst>
            <pc:docMk/>
            <pc:sldMk cId="1803820397" sldId="604"/>
            <ac:spMk id="160" creationId="{FD00A848-F2F0-4DEB-7483-091A737A2E93}"/>
          </ac:spMkLst>
        </pc:spChg>
        <pc:spChg chg="del">
          <ac:chgData name="Bullinger, Marvin" userId="5b54ce5a-dc89-476f-af33-5abd75d5b1e8" providerId="ADAL" clId="{B18DB96A-0F1B-4B04-B169-68D0DF683527}" dt="2024-08-06T09:48:23.884" v="2448" actId="478"/>
          <ac:spMkLst>
            <pc:docMk/>
            <pc:sldMk cId="1803820397" sldId="604"/>
            <ac:spMk id="161" creationId="{071A8FA7-9036-678E-2E6E-AF3CAD6C89BA}"/>
          </ac:spMkLst>
        </pc:spChg>
        <pc:spChg chg="del">
          <ac:chgData name="Bullinger, Marvin" userId="5b54ce5a-dc89-476f-af33-5abd75d5b1e8" providerId="ADAL" clId="{B18DB96A-0F1B-4B04-B169-68D0DF683527}" dt="2024-08-07T20:14:35.294" v="7351" actId="478"/>
          <ac:spMkLst>
            <pc:docMk/>
            <pc:sldMk cId="1803820397" sldId="604"/>
            <ac:spMk id="161" creationId="{E5499D6B-9539-FB53-4F94-40F42B79E4B2}"/>
          </ac:spMkLst>
        </pc:spChg>
        <pc:spChg chg="del">
          <ac:chgData name="Bullinger, Marvin" userId="5b54ce5a-dc89-476f-af33-5abd75d5b1e8" providerId="ADAL" clId="{B18DB96A-0F1B-4B04-B169-68D0DF683527}" dt="2024-08-06T09:48:23.884" v="2447" actId="478"/>
          <ac:spMkLst>
            <pc:docMk/>
            <pc:sldMk cId="1803820397" sldId="604"/>
            <ac:spMk id="162" creationId="{188402B7-AEE6-10E7-F37A-28C953DDD309}"/>
          </ac:spMkLst>
        </pc:spChg>
        <pc:spChg chg="del">
          <ac:chgData name="Bullinger, Marvin" userId="5b54ce5a-dc89-476f-af33-5abd75d5b1e8" providerId="ADAL" clId="{B18DB96A-0F1B-4B04-B169-68D0DF683527}" dt="2024-08-07T20:14:35.294" v="7359" actId="478"/>
          <ac:spMkLst>
            <pc:docMk/>
            <pc:sldMk cId="1803820397" sldId="604"/>
            <ac:spMk id="162" creationId="{4AB88C58-C2BF-F22E-3B7E-ACDA4A5A685C}"/>
          </ac:spMkLst>
        </pc:spChg>
        <pc:spChg chg="del">
          <ac:chgData name="Bullinger, Marvin" userId="5b54ce5a-dc89-476f-af33-5abd75d5b1e8" providerId="ADAL" clId="{B18DB96A-0F1B-4B04-B169-68D0DF683527}" dt="2024-08-06T09:48:23.884" v="2446" actId="478"/>
          <ac:spMkLst>
            <pc:docMk/>
            <pc:sldMk cId="1803820397" sldId="604"/>
            <ac:spMk id="163" creationId="{07E0A7AF-BEC2-39CF-9BAF-D174E12228C4}"/>
          </ac:spMkLst>
        </pc:spChg>
        <pc:spChg chg="del">
          <ac:chgData name="Bullinger, Marvin" userId="5b54ce5a-dc89-476f-af33-5abd75d5b1e8" providerId="ADAL" clId="{B18DB96A-0F1B-4B04-B169-68D0DF683527}" dt="2024-08-07T20:14:35.294" v="7350" actId="478"/>
          <ac:spMkLst>
            <pc:docMk/>
            <pc:sldMk cId="1803820397" sldId="604"/>
            <ac:spMk id="163" creationId="{CCBD68E0-75D9-C9DD-89C5-B48EEA72DA01}"/>
          </ac:spMkLst>
        </pc:spChg>
        <pc:spChg chg="del">
          <ac:chgData name="Bullinger, Marvin" userId="5b54ce5a-dc89-476f-af33-5abd75d5b1e8" providerId="ADAL" clId="{B18DB96A-0F1B-4B04-B169-68D0DF683527}" dt="2024-08-06T09:48:23.884" v="2445" actId="478"/>
          <ac:spMkLst>
            <pc:docMk/>
            <pc:sldMk cId="1803820397" sldId="604"/>
            <ac:spMk id="164" creationId="{26364CA1-646F-A5B2-C35B-7E89331CB296}"/>
          </ac:spMkLst>
        </pc:spChg>
        <pc:spChg chg="del">
          <ac:chgData name="Bullinger, Marvin" userId="5b54ce5a-dc89-476f-af33-5abd75d5b1e8" providerId="ADAL" clId="{B18DB96A-0F1B-4B04-B169-68D0DF683527}" dt="2024-08-07T20:14:35.293" v="7349" actId="478"/>
          <ac:spMkLst>
            <pc:docMk/>
            <pc:sldMk cId="1803820397" sldId="604"/>
            <ac:spMk id="164" creationId="{A2A09D2D-F394-7A07-0712-F04A9B8D8A10}"/>
          </ac:spMkLst>
        </pc:spChg>
        <pc:spChg chg="replST">
          <ac:chgData name="Bullinger, Marvin" userId="5b54ce5a-dc89-476f-af33-5abd75d5b1e8" providerId="ADAL" clId="{B18DB96A-0F1B-4B04-B169-68D0DF683527}" dt="2024-08-06T09:48:24.249" v="2711"/>
          <ac:spMkLst>
            <pc:docMk/>
            <pc:sldMk cId="1803820397" sldId="604"/>
            <ac:spMk id="165" creationId="{F4B82823-6E99-D951-8800-CAB068A02EC5}"/>
          </ac:spMkLst>
        </pc:spChg>
        <pc:spChg chg="replST">
          <ac:chgData name="Bullinger, Marvin" userId="5b54ce5a-dc89-476f-af33-5abd75d5b1e8" providerId="ADAL" clId="{B18DB96A-0F1B-4B04-B169-68D0DF683527}" dt="2024-08-06T09:48:24.264" v="2714"/>
          <ac:spMkLst>
            <pc:docMk/>
            <pc:sldMk cId="1803820397" sldId="604"/>
            <ac:spMk id="166" creationId="{54D5CE12-3DE1-F91A-3701-FF96D5CC54DE}"/>
          </ac:spMkLst>
        </pc:spChg>
        <pc:spChg chg="replST">
          <ac:chgData name="Bullinger, Marvin" userId="5b54ce5a-dc89-476f-af33-5abd75d5b1e8" providerId="ADAL" clId="{B18DB96A-0F1B-4B04-B169-68D0DF683527}" dt="2024-08-06T09:48:24.264" v="2718"/>
          <ac:spMkLst>
            <pc:docMk/>
            <pc:sldMk cId="1803820397" sldId="604"/>
            <ac:spMk id="168" creationId="{E4DA01AD-295B-531E-7136-53443C988D5A}"/>
          </ac:spMkLst>
        </pc:spChg>
        <pc:spChg chg="replST">
          <ac:chgData name="Bullinger, Marvin" userId="5b54ce5a-dc89-476f-af33-5abd75d5b1e8" providerId="ADAL" clId="{B18DB96A-0F1B-4B04-B169-68D0DF683527}" dt="2024-08-06T09:48:24.280" v="2721"/>
          <ac:spMkLst>
            <pc:docMk/>
            <pc:sldMk cId="1803820397" sldId="604"/>
            <ac:spMk id="169" creationId="{56F5C3B7-B03B-8FF2-3A19-886E6E521F93}"/>
          </ac:spMkLst>
        </pc:spChg>
        <pc:spChg chg="replST">
          <ac:chgData name="Bullinger, Marvin" userId="5b54ce5a-dc89-476f-af33-5abd75d5b1e8" providerId="ADAL" clId="{B18DB96A-0F1B-4B04-B169-68D0DF683527}" dt="2024-08-06T09:48:24.280" v="2725"/>
          <ac:spMkLst>
            <pc:docMk/>
            <pc:sldMk cId="1803820397" sldId="604"/>
            <ac:spMk id="171" creationId="{1202E307-3583-5E13-6DC3-803503F71AD3}"/>
          </ac:spMkLst>
        </pc:spChg>
        <pc:spChg chg="replST">
          <ac:chgData name="Bullinger, Marvin" userId="5b54ce5a-dc89-476f-af33-5abd75d5b1e8" providerId="ADAL" clId="{B18DB96A-0F1B-4B04-B169-68D0DF683527}" dt="2024-08-06T09:48:24.280" v="2728"/>
          <ac:spMkLst>
            <pc:docMk/>
            <pc:sldMk cId="1803820397" sldId="604"/>
            <ac:spMk id="172" creationId="{0D57CDFF-DC36-C04B-4F63-AD818445E75C}"/>
          </ac:spMkLst>
        </pc:spChg>
        <pc:spChg chg="del ord replST">
          <ac:chgData name="Bullinger, Marvin" userId="5b54ce5a-dc89-476f-af33-5abd75d5b1e8" providerId="ADAL" clId="{B18DB96A-0F1B-4B04-B169-68D0DF683527}" dt="2024-08-07T20:14:35.246" v="7333" actId="478"/>
          <ac:spMkLst>
            <pc:docMk/>
            <pc:sldMk cId="1803820397" sldId="604"/>
            <ac:spMk id="173" creationId="{372A34B6-9F26-89ED-B6AC-46C398EDFF4D}"/>
          </ac:spMkLst>
        </pc:spChg>
        <pc:spChg chg="replST">
          <ac:chgData name="Bullinger, Marvin" userId="5b54ce5a-dc89-476f-af33-5abd75d5b1e8" providerId="ADAL" clId="{B18DB96A-0F1B-4B04-B169-68D0DF683527}" dt="2024-08-06T09:48:24.296" v="2732"/>
          <ac:spMkLst>
            <pc:docMk/>
            <pc:sldMk cId="1803820397" sldId="604"/>
            <ac:spMk id="174" creationId="{A9024A75-C401-0DD7-B92A-547A68595B86}"/>
          </ac:spMkLst>
        </pc:spChg>
        <pc:spChg chg="replST">
          <ac:chgData name="Bullinger, Marvin" userId="5b54ce5a-dc89-476f-af33-5abd75d5b1e8" providerId="ADAL" clId="{B18DB96A-0F1B-4B04-B169-68D0DF683527}" dt="2024-08-06T09:48:24.296" v="2735"/>
          <ac:spMkLst>
            <pc:docMk/>
            <pc:sldMk cId="1803820397" sldId="604"/>
            <ac:spMk id="175" creationId="{D739FA5C-4E6F-CF40-E3B9-8B3C000E6B4B}"/>
          </ac:spMkLst>
        </pc:spChg>
        <pc:spChg chg="replST">
          <ac:chgData name="Bullinger, Marvin" userId="5b54ce5a-dc89-476f-af33-5abd75d5b1e8" providerId="ADAL" clId="{B18DB96A-0F1B-4B04-B169-68D0DF683527}" dt="2024-08-06T09:48:24.296" v="2739"/>
          <ac:spMkLst>
            <pc:docMk/>
            <pc:sldMk cId="1803820397" sldId="604"/>
            <ac:spMk id="177" creationId="{6189598E-DC3B-F16D-BA83-829BCBD85EA1}"/>
          </ac:spMkLst>
        </pc:spChg>
        <pc:spChg chg="replST">
          <ac:chgData name="Bullinger, Marvin" userId="5b54ce5a-dc89-476f-af33-5abd75d5b1e8" providerId="ADAL" clId="{B18DB96A-0F1B-4B04-B169-68D0DF683527}" dt="2024-08-06T09:48:24.311" v="2742"/>
          <ac:spMkLst>
            <pc:docMk/>
            <pc:sldMk cId="1803820397" sldId="604"/>
            <ac:spMk id="178" creationId="{7E2C4C8F-50C0-D996-F5B1-3C2AF9989C58}"/>
          </ac:spMkLst>
        </pc:spChg>
        <pc:spChg chg="del">
          <ac:chgData name="Bullinger, Marvin" userId="5b54ce5a-dc89-476f-af33-5abd75d5b1e8" providerId="ADAL" clId="{B18DB96A-0F1B-4B04-B169-68D0DF683527}" dt="2024-08-07T20:14:35.277" v="7348" actId="478"/>
          <ac:spMkLst>
            <pc:docMk/>
            <pc:sldMk cId="1803820397" sldId="604"/>
            <ac:spMk id="181" creationId="{DB6DC6DE-E650-202E-4CD0-A30609C815ED}"/>
          </ac:spMkLst>
        </pc:spChg>
        <pc:spChg chg="del">
          <ac:chgData name="Bullinger, Marvin" userId="5b54ce5a-dc89-476f-af33-5abd75d5b1e8" providerId="ADAL" clId="{B18DB96A-0F1B-4B04-B169-68D0DF683527}" dt="2024-08-07T20:14:35.277" v="7347" actId="478"/>
          <ac:spMkLst>
            <pc:docMk/>
            <pc:sldMk cId="1803820397" sldId="604"/>
            <ac:spMk id="182" creationId="{9EF546E7-523C-E053-C7F7-CC582815C3F5}"/>
          </ac:spMkLst>
        </pc:spChg>
        <pc:spChg chg="del">
          <ac:chgData name="Bullinger, Marvin" userId="5b54ce5a-dc89-476f-af33-5abd75d5b1e8" providerId="ADAL" clId="{B18DB96A-0F1B-4B04-B169-68D0DF683527}" dt="2024-08-07T20:14:35.277" v="7346" actId="478"/>
          <ac:spMkLst>
            <pc:docMk/>
            <pc:sldMk cId="1803820397" sldId="604"/>
            <ac:spMk id="183" creationId="{614D2311-9E92-B8BF-70D3-783CF9046952}"/>
          </ac:spMkLst>
        </pc:spChg>
        <pc:spChg chg="del">
          <ac:chgData name="Bullinger, Marvin" userId="5b54ce5a-dc89-476f-af33-5abd75d5b1e8" providerId="ADAL" clId="{B18DB96A-0F1B-4B04-B169-68D0DF683527}" dt="2024-08-07T20:14:35.277" v="7345" actId="478"/>
          <ac:spMkLst>
            <pc:docMk/>
            <pc:sldMk cId="1803820397" sldId="604"/>
            <ac:spMk id="184" creationId="{C5E486A7-5E30-998B-55DA-52B99271089D}"/>
          </ac:spMkLst>
        </pc:spChg>
        <pc:spChg chg="del">
          <ac:chgData name="Bullinger, Marvin" userId="5b54ce5a-dc89-476f-af33-5abd75d5b1e8" providerId="ADAL" clId="{B18DB96A-0F1B-4B04-B169-68D0DF683527}" dt="2024-08-07T20:14:35.277" v="7344" actId="478"/>
          <ac:spMkLst>
            <pc:docMk/>
            <pc:sldMk cId="1803820397" sldId="604"/>
            <ac:spMk id="185" creationId="{0CDA5F0F-8123-FAE2-2A36-9BA3A6DB9071}"/>
          </ac:spMkLst>
        </pc:spChg>
        <pc:spChg chg="del">
          <ac:chgData name="Bullinger, Marvin" userId="5b54ce5a-dc89-476f-af33-5abd75d5b1e8" providerId="ADAL" clId="{B18DB96A-0F1B-4B04-B169-68D0DF683527}" dt="2024-08-07T20:14:35.277" v="7343" actId="478"/>
          <ac:spMkLst>
            <pc:docMk/>
            <pc:sldMk cId="1803820397" sldId="604"/>
            <ac:spMk id="186" creationId="{DCAEB787-E507-467C-3E32-B701B92A0957}"/>
          </ac:spMkLst>
        </pc:spChg>
        <pc:spChg chg="del">
          <ac:chgData name="Bullinger, Marvin" userId="5b54ce5a-dc89-476f-af33-5abd75d5b1e8" providerId="ADAL" clId="{B18DB96A-0F1B-4B04-B169-68D0DF683527}" dt="2024-08-07T20:14:35.277" v="7342" actId="478"/>
          <ac:spMkLst>
            <pc:docMk/>
            <pc:sldMk cId="1803820397" sldId="604"/>
            <ac:spMk id="187" creationId="{FE91D998-03CC-314E-0AFD-6D3EB5AA514A}"/>
          </ac:spMkLst>
        </pc:spChg>
        <pc:spChg chg="del">
          <ac:chgData name="Bullinger, Marvin" userId="5b54ce5a-dc89-476f-af33-5abd75d5b1e8" providerId="ADAL" clId="{B18DB96A-0F1B-4B04-B169-68D0DF683527}" dt="2024-08-07T20:14:35.277" v="7341" actId="478"/>
          <ac:spMkLst>
            <pc:docMk/>
            <pc:sldMk cId="1803820397" sldId="604"/>
            <ac:spMk id="188" creationId="{ABEF6A74-1B04-21BD-7A71-F8CE46A4D489}"/>
          </ac:spMkLst>
        </pc:spChg>
        <pc:spChg chg="del">
          <ac:chgData name="Bullinger, Marvin" userId="5b54ce5a-dc89-476f-af33-5abd75d5b1e8" providerId="ADAL" clId="{B18DB96A-0F1B-4B04-B169-68D0DF683527}" dt="2024-08-07T20:14:35.277" v="7340" actId="478"/>
          <ac:spMkLst>
            <pc:docMk/>
            <pc:sldMk cId="1803820397" sldId="604"/>
            <ac:spMk id="189" creationId="{E0F8DD62-670E-EFF0-BF68-1C21F7207D7A}"/>
          </ac:spMkLst>
        </pc:spChg>
        <pc:spChg chg="del">
          <ac:chgData name="Bullinger, Marvin" userId="5b54ce5a-dc89-476f-af33-5abd75d5b1e8" providerId="ADAL" clId="{B18DB96A-0F1B-4B04-B169-68D0DF683527}" dt="2024-08-07T20:14:35.277" v="7339" actId="478"/>
          <ac:spMkLst>
            <pc:docMk/>
            <pc:sldMk cId="1803820397" sldId="604"/>
            <ac:spMk id="190" creationId="{2C5631F0-A2F6-76DA-ADD9-61B3BBEF32D5}"/>
          </ac:spMkLst>
        </pc:spChg>
        <pc:spChg chg="del">
          <ac:chgData name="Bullinger, Marvin" userId="5b54ce5a-dc89-476f-af33-5abd75d5b1e8" providerId="ADAL" clId="{B18DB96A-0F1B-4B04-B169-68D0DF683527}" dt="2024-08-07T20:14:35.277" v="7338" actId="478"/>
          <ac:spMkLst>
            <pc:docMk/>
            <pc:sldMk cId="1803820397" sldId="604"/>
            <ac:spMk id="191" creationId="{6E2A7989-BF64-2622-6786-07BA5F90F0D1}"/>
          </ac:spMkLst>
        </pc:spChg>
        <pc:spChg chg="del">
          <ac:chgData name="Bullinger, Marvin" userId="5b54ce5a-dc89-476f-af33-5abd75d5b1e8" providerId="ADAL" clId="{B18DB96A-0F1B-4B04-B169-68D0DF683527}" dt="2024-08-07T20:14:35.277" v="7337" actId="478"/>
          <ac:spMkLst>
            <pc:docMk/>
            <pc:sldMk cId="1803820397" sldId="604"/>
            <ac:spMk id="192" creationId="{0CF7ED7F-2B40-37C4-66E3-5F71EECFB86A}"/>
          </ac:spMkLst>
        </pc:spChg>
        <pc:spChg chg="del">
          <ac:chgData name="Bullinger, Marvin" userId="5b54ce5a-dc89-476f-af33-5abd75d5b1e8" providerId="ADAL" clId="{B18DB96A-0F1B-4B04-B169-68D0DF683527}" dt="2024-08-13T15:16:45.652" v="26555" actId="478"/>
          <ac:spMkLst>
            <pc:docMk/>
            <pc:sldMk cId="1803820397" sldId="604"/>
            <ac:spMk id="193" creationId="{AEA6C9B4-D692-621B-4F80-D5618075B650}"/>
          </ac:spMkLst>
        </pc:spChg>
        <pc:spChg chg="mod replST">
          <ac:chgData name="Bullinger, Marvin" userId="5b54ce5a-dc89-476f-af33-5abd75d5b1e8" providerId="ADAL" clId="{B18DB96A-0F1B-4B04-B169-68D0DF683527}" dt="2024-08-08T22:10:49.854" v="10061" actId="207"/>
          <ac:spMkLst>
            <pc:docMk/>
            <pc:sldMk cId="1803820397" sldId="604"/>
            <ac:spMk id="194" creationId="{1CC172AD-4545-5DA0-B7A2-72333D487C2B}"/>
          </ac:spMkLst>
        </pc:spChg>
        <pc:spChg chg="replST">
          <ac:chgData name="Bullinger, Marvin" userId="5b54ce5a-dc89-476f-af33-5abd75d5b1e8" providerId="ADAL" clId="{B18DB96A-0F1B-4B04-B169-68D0DF683527}" dt="2024-08-07T20:14:35.882" v="7603"/>
          <ac:spMkLst>
            <pc:docMk/>
            <pc:sldMk cId="1803820397" sldId="604"/>
            <ac:spMk id="195" creationId="{B5D8C20A-396E-5EB9-4241-D4E84C873630}"/>
          </ac:spMkLst>
        </pc:spChg>
        <pc:spChg chg="mod replST">
          <ac:chgData name="Bullinger, Marvin" userId="5b54ce5a-dc89-476f-af33-5abd75d5b1e8" providerId="ADAL" clId="{B18DB96A-0F1B-4B04-B169-68D0DF683527}" dt="2024-08-08T22:10:49.854" v="10061" actId="207"/>
          <ac:spMkLst>
            <pc:docMk/>
            <pc:sldMk cId="1803820397" sldId="604"/>
            <ac:spMk id="197" creationId="{DF5D1663-64CC-E722-6528-9492407C52BE}"/>
          </ac:spMkLst>
        </pc:spChg>
        <pc:spChg chg="replST">
          <ac:chgData name="Bullinger, Marvin" userId="5b54ce5a-dc89-476f-af33-5abd75d5b1e8" providerId="ADAL" clId="{B18DB96A-0F1B-4B04-B169-68D0DF683527}" dt="2024-08-07T20:14:35.898" v="7610"/>
          <ac:spMkLst>
            <pc:docMk/>
            <pc:sldMk cId="1803820397" sldId="604"/>
            <ac:spMk id="198" creationId="{71ED127B-8D60-7CB0-A339-E704630D46AD}"/>
          </ac:spMkLst>
        </pc:spChg>
        <pc:spChg chg="mod replST">
          <ac:chgData name="Bullinger, Marvin" userId="5b54ce5a-dc89-476f-af33-5abd75d5b1e8" providerId="ADAL" clId="{B18DB96A-0F1B-4B04-B169-68D0DF683527}" dt="2024-08-08T22:10:36.191" v="10060" actId="20577"/>
          <ac:spMkLst>
            <pc:docMk/>
            <pc:sldMk cId="1803820397" sldId="604"/>
            <ac:spMk id="200" creationId="{E360893A-42AD-76A2-F0C0-74250AD9895A}"/>
          </ac:spMkLst>
        </pc:spChg>
        <pc:spChg chg="replST">
          <ac:chgData name="Bullinger, Marvin" userId="5b54ce5a-dc89-476f-af33-5abd75d5b1e8" providerId="ADAL" clId="{B18DB96A-0F1B-4B04-B169-68D0DF683527}" dt="2024-08-07T20:14:35.917" v="7617"/>
          <ac:spMkLst>
            <pc:docMk/>
            <pc:sldMk cId="1803820397" sldId="604"/>
            <ac:spMk id="201" creationId="{58FFA312-4872-D78E-8A69-89D3B86132B0}"/>
          </ac:spMkLst>
        </pc:spChg>
        <pc:spChg chg="mod ord replST">
          <ac:chgData name="Bullinger, Marvin" userId="5b54ce5a-dc89-476f-af33-5abd75d5b1e8" providerId="ADAL" clId="{B18DB96A-0F1B-4B04-B169-68D0DF683527}" dt="2024-08-08T22:10:55.335" v="10062" actId="207"/>
          <ac:spMkLst>
            <pc:docMk/>
            <pc:sldMk cId="1803820397" sldId="604"/>
            <ac:spMk id="202" creationId="{26134BD5-AD00-D16B-5C7B-BC1513FF87E9}"/>
          </ac:spMkLst>
        </pc:spChg>
        <pc:spChg chg="mod replST">
          <ac:chgData name="Bullinger, Marvin" userId="5b54ce5a-dc89-476f-af33-5abd75d5b1e8" providerId="ADAL" clId="{B18DB96A-0F1B-4B04-B169-68D0DF683527}" dt="2024-08-08T22:10:49.854" v="10061" actId="207"/>
          <ac:spMkLst>
            <pc:docMk/>
            <pc:sldMk cId="1803820397" sldId="604"/>
            <ac:spMk id="203" creationId="{17939B2F-28B8-5024-CDE7-39EE9C9F9598}"/>
          </ac:spMkLst>
        </pc:spChg>
        <pc:spChg chg="replST">
          <ac:chgData name="Bullinger, Marvin" userId="5b54ce5a-dc89-476f-af33-5abd75d5b1e8" providerId="ADAL" clId="{B18DB96A-0F1B-4B04-B169-68D0DF683527}" dt="2024-08-07T20:14:35.930" v="7624"/>
          <ac:spMkLst>
            <pc:docMk/>
            <pc:sldMk cId="1803820397" sldId="604"/>
            <ac:spMk id="204" creationId="{1CDCAC7F-D27E-D811-C1F7-6A49387D3D8C}"/>
          </ac:spMkLst>
        </pc:spChg>
        <pc:spChg chg="mod replST">
          <ac:chgData name="Bullinger, Marvin" userId="5b54ce5a-dc89-476f-af33-5abd75d5b1e8" providerId="ADAL" clId="{B18DB96A-0F1B-4B04-B169-68D0DF683527}" dt="2024-08-08T22:10:49.854" v="10061" actId="207"/>
          <ac:spMkLst>
            <pc:docMk/>
            <pc:sldMk cId="1803820397" sldId="604"/>
            <ac:spMk id="206" creationId="{DEC13E6D-750E-8DED-F449-EEAECC8F1133}"/>
          </ac:spMkLst>
        </pc:spChg>
        <pc:spChg chg="replST">
          <ac:chgData name="Bullinger, Marvin" userId="5b54ce5a-dc89-476f-af33-5abd75d5b1e8" providerId="ADAL" clId="{B18DB96A-0F1B-4B04-B169-68D0DF683527}" dt="2024-08-07T20:14:35.946" v="7631"/>
          <ac:spMkLst>
            <pc:docMk/>
            <pc:sldMk cId="1803820397" sldId="604"/>
            <ac:spMk id="207" creationId="{A0EB7BCE-E040-5222-BD45-2ABD267F99F4}"/>
          </ac:spMkLst>
        </pc:spChg>
        <pc:cxnChg chg="del">
          <ac:chgData name="Bullinger, Marvin" userId="5b54ce5a-dc89-476f-af33-5abd75d5b1e8" providerId="ADAL" clId="{B18DB96A-0F1B-4B04-B169-68D0DF683527}" dt="2024-08-06T09:48:23.868" v="2438" actId="478"/>
          <ac:cxnSpMkLst>
            <pc:docMk/>
            <pc:sldMk cId="1803820397" sldId="604"/>
            <ac:cxnSpMk id="137" creationId="{5FE712E0-EAFD-F20D-A707-B107367EB1D8}"/>
          </ac:cxnSpMkLst>
        </pc:cxnChg>
        <pc:cxnChg chg="del">
          <ac:chgData name="Bullinger, Marvin" userId="5b54ce5a-dc89-476f-af33-5abd75d5b1e8" providerId="ADAL" clId="{B18DB96A-0F1B-4B04-B169-68D0DF683527}" dt="2024-08-06T09:48:23.869" v="2439" actId="478"/>
          <ac:cxnSpMkLst>
            <pc:docMk/>
            <pc:sldMk cId="1803820397" sldId="604"/>
            <ac:cxnSpMk id="140" creationId="{7395DCEC-72A0-F6EF-7F71-FF17C992ED70}"/>
          </ac:cxnSpMkLst>
        </pc:cxnChg>
        <pc:cxnChg chg="del">
          <ac:chgData name="Bullinger, Marvin" userId="5b54ce5a-dc89-476f-af33-5abd75d5b1e8" providerId="ADAL" clId="{B18DB96A-0F1B-4B04-B169-68D0DF683527}" dt="2024-08-06T09:48:23.869" v="2441" actId="478"/>
          <ac:cxnSpMkLst>
            <pc:docMk/>
            <pc:sldMk cId="1803820397" sldId="604"/>
            <ac:cxnSpMk id="146" creationId="{E1D39E47-2198-094E-1888-E293687F5AF8}"/>
          </ac:cxnSpMkLst>
        </pc:cxnChg>
        <pc:cxnChg chg="del">
          <ac:chgData name="Bullinger, Marvin" userId="5b54ce5a-dc89-476f-af33-5abd75d5b1e8" providerId="ADAL" clId="{B18DB96A-0F1B-4B04-B169-68D0DF683527}" dt="2024-08-06T09:48:23.869" v="2442" actId="478"/>
          <ac:cxnSpMkLst>
            <pc:docMk/>
            <pc:sldMk cId="1803820397" sldId="604"/>
            <ac:cxnSpMk id="149" creationId="{B0828718-A03F-98AE-83E6-C6741BB984B3}"/>
          </ac:cxnSpMkLst>
        </pc:cxnChg>
        <pc:cxnChg chg="del">
          <ac:chgData name="Bullinger, Marvin" userId="5b54ce5a-dc89-476f-af33-5abd75d5b1e8" providerId="ADAL" clId="{B18DB96A-0F1B-4B04-B169-68D0DF683527}" dt="2024-08-06T09:48:23.869" v="2443" actId="478"/>
          <ac:cxnSpMkLst>
            <pc:docMk/>
            <pc:sldMk cId="1803820397" sldId="604"/>
            <ac:cxnSpMk id="152" creationId="{427F42A0-3E56-039D-E686-BE05DB3975DC}"/>
          </ac:cxnSpMkLst>
        </pc:cxnChg>
        <pc:cxnChg chg="del">
          <ac:chgData name="Bullinger, Marvin" userId="5b54ce5a-dc89-476f-af33-5abd75d5b1e8" providerId="ADAL" clId="{B18DB96A-0F1B-4B04-B169-68D0DF683527}" dt="2024-08-06T09:48:23.869" v="2444" actId="478"/>
          <ac:cxnSpMkLst>
            <pc:docMk/>
            <pc:sldMk cId="1803820397" sldId="604"/>
            <ac:cxnSpMk id="153" creationId="{DBE38704-579D-82A2-82E7-DA249D919D72}"/>
          </ac:cxnSpMkLst>
        </pc:cxnChg>
        <pc:cxnChg chg="del ord replST">
          <ac:chgData name="Bullinger, Marvin" userId="5b54ce5a-dc89-476f-af33-5abd75d5b1e8" providerId="ADAL" clId="{B18DB96A-0F1B-4B04-B169-68D0DF683527}" dt="2024-08-07T20:14:35.246" v="7331" actId="478"/>
          <ac:cxnSpMkLst>
            <pc:docMk/>
            <pc:sldMk cId="1803820397" sldId="604"/>
            <ac:cxnSpMk id="167" creationId="{BBC8CD11-A451-8E94-3FF0-E09A470819D2}"/>
          </ac:cxnSpMkLst>
        </pc:cxnChg>
        <pc:cxnChg chg="del ord replST">
          <ac:chgData name="Bullinger, Marvin" userId="5b54ce5a-dc89-476f-af33-5abd75d5b1e8" providerId="ADAL" clId="{B18DB96A-0F1B-4B04-B169-68D0DF683527}" dt="2024-08-07T20:14:35.246" v="7332" actId="478"/>
          <ac:cxnSpMkLst>
            <pc:docMk/>
            <pc:sldMk cId="1803820397" sldId="604"/>
            <ac:cxnSpMk id="170" creationId="{E55FACA7-50F2-8E60-A085-3577A1A52917}"/>
          </ac:cxnSpMkLst>
        </pc:cxnChg>
        <pc:cxnChg chg="del ord replST">
          <ac:chgData name="Bullinger, Marvin" userId="5b54ce5a-dc89-476f-af33-5abd75d5b1e8" providerId="ADAL" clId="{B18DB96A-0F1B-4B04-B169-68D0DF683527}" dt="2024-08-07T20:14:35.262" v="7334" actId="478"/>
          <ac:cxnSpMkLst>
            <pc:docMk/>
            <pc:sldMk cId="1803820397" sldId="604"/>
            <ac:cxnSpMk id="176" creationId="{1E7ECC2C-3E51-2709-1C4F-A1E256C56118}"/>
          </ac:cxnSpMkLst>
        </pc:cxnChg>
        <pc:cxnChg chg="del ord replST">
          <ac:chgData name="Bullinger, Marvin" userId="5b54ce5a-dc89-476f-af33-5abd75d5b1e8" providerId="ADAL" clId="{B18DB96A-0F1B-4B04-B169-68D0DF683527}" dt="2024-08-07T20:14:35.262" v="7335" actId="478"/>
          <ac:cxnSpMkLst>
            <pc:docMk/>
            <pc:sldMk cId="1803820397" sldId="604"/>
            <ac:cxnSpMk id="179" creationId="{904332DA-E3BD-9CDD-C3FE-D588DFBDF724}"/>
          </ac:cxnSpMkLst>
        </pc:cxnChg>
        <pc:cxnChg chg="del ord replST">
          <ac:chgData name="Bullinger, Marvin" userId="5b54ce5a-dc89-476f-af33-5abd75d5b1e8" providerId="ADAL" clId="{B18DB96A-0F1B-4B04-B169-68D0DF683527}" dt="2024-08-07T20:14:35.262" v="7336" actId="478"/>
          <ac:cxnSpMkLst>
            <pc:docMk/>
            <pc:sldMk cId="1803820397" sldId="604"/>
            <ac:cxnSpMk id="180" creationId="{A321CB87-9C68-A9E4-46EB-AABFA75D684A}"/>
          </ac:cxnSpMkLst>
        </pc:cxnChg>
        <pc:cxnChg chg="ord replST">
          <ac:chgData name="Bullinger, Marvin" userId="5b54ce5a-dc89-476f-af33-5abd75d5b1e8" providerId="ADAL" clId="{B18DB96A-0F1B-4B04-B169-68D0DF683527}" dt="2024-08-07T20:14:35.958" v="7635"/>
          <ac:cxnSpMkLst>
            <pc:docMk/>
            <pc:sldMk cId="1803820397" sldId="604"/>
            <ac:cxnSpMk id="196" creationId="{AB433E40-399C-3CD0-BCF3-884E1C900073}"/>
          </ac:cxnSpMkLst>
        </pc:cxnChg>
        <pc:cxnChg chg="ord replST">
          <ac:chgData name="Bullinger, Marvin" userId="5b54ce5a-dc89-476f-af33-5abd75d5b1e8" providerId="ADAL" clId="{B18DB96A-0F1B-4B04-B169-68D0DF683527}" dt="2024-08-07T20:14:35.958" v="7636"/>
          <ac:cxnSpMkLst>
            <pc:docMk/>
            <pc:sldMk cId="1803820397" sldId="604"/>
            <ac:cxnSpMk id="199" creationId="{D38AFD51-509F-7566-4BCD-B9351D8DE807}"/>
          </ac:cxnSpMkLst>
        </pc:cxnChg>
        <pc:cxnChg chg="ord replST">
          <ac:chgData name="Bullinger, Marvin" userId="5b54ce5a-dc89-476f-af33-5abd75d5b1e8" providerId="ADAL" clId="{B18DB96A-0F1B-4B04-B169-68D0DF683527}" dt="2024-08-07T20:14:35.962" v="7638"/>
          <ac:cxnSpMkLst>
            <pc:docMk/>
            <pc:sldMk cId="1803820397" sldId="604"/>
            <ac:cxnSpMk id="205" creationId="{C0BF4DC6-8A91-7511-28B6-BAF024CE6C90}"/>
          </ac:cxnSpMkLst>
        </pc:cxnChg>
        <pc:cxnChg chg="ord replST">
          <ac:chgData name="Bullinger, Marvin" userId="5b54ce5a-dc89-476f-af33-5abd75d5b1e8" providerId="ADAL" clId="{B18DB96A-0F1B-4B04-B169-68D0DF683527}" dt="2024-08-07T20:14:35.962" v="7639"/>
          <ac:cxnSpMkLst>
            <pc:docMk/>
            <pc:sldMk cId="1803820397" sldId="604"/>
            <ac:cxnSpMk id="208" creationId="{4F7B47BF-7704-FDCF-11DF-A24AE0603082}"/>
          </ac:cxnSpMkLst>
        </pc:cxnChg>
        <pc:cxnChg chg="ord replST">
          <ac:chgData name="Bullinger, Marvin" userId="5b54ce5a-dc89-476f-af33-5abd75d5b1e8" providerId="ADAL" clId="{B18DB96A-0F1B-4B04-B169-68D0DF683527}" dt="2024-08-07T20:14:35.962" v="7640"/>
          <ac:cxnSpMkLst>
            <pc:docMk/>
            <pc:sldMk cId="1803820397" sldId="604"/>
            <ac:cxnSpMk id="209" creationId="{F8BA7FAC-695C-3304-DDEB-74FD5DC5C50B}"/>
          </ac:cxnSpMkLst>
        </pc:cxnChg>
      </pc:sldChg>
      <pc:sldChg chg="del">
        <pc:chgData name="Bullinger, Marvin" userId="5b54ce5a-dc89-476f-af33-5abd75d5b1e8" providerId="ADAL" clId="{B18DB96A-0F1B-4B04-B169-68D0DF683527}" dt="2024-08-05T18:54:53.761" v="831" actId="47"/>
        <pc:sldMkLst>
          <pc:docMk/>
          <pc:sldMk cId="410633608" sldId="606"/>
        </pc:sldMkLst>
      </pc:sldChg>
      <pc:sldChg chg="addSp delSp modSp mod ord modNotesTx">
        <pc:chgData name="Bullinger, Marvin" userId="5b54ce5a-dc89-476f-af33-5abd75d5b1e8" providerId="ADAL" clId="{B18DB96A-0F1B-4B04-B169-68D0DF683527}" dt="2024-08-13T15:17:10.112" v="26556" actId="478"/>
        <pc:sldMkLst>
          <pc:docMk/>
          <pc:sldMk cId="1824871312" sldId="610"/>
        </pc:sldMkLst>
        <pc:spChg chg="del">
          <ac:chgData name="Bullinger, Marvin" userId="5b54ce5a-dc89-476f-af33-5abd75d5b1e8" providerId="ADAL" clId="{B18DB96A-0F1B-4B04-B169-68D0DF683527}" dt="2024-08-06T09:48:23.821" v="2392" actId="478"/>
          <ac:spMkLst>
            <pc:docMk/>
            <pc:sldMk cId="1824871312" sldId="610"/>
            <ac:spMk id="17" creationId="{D02C923E-6AF3-2A6F-EEC7-A5C484822B21}"/>
          </ac:spMkLst>
        </pc:spChg>
        <pc:spChg chg="del">
          <ac:chgData name="Bullinger, Marvin" userId="5b54ce5a-dc89-476f-af33-5abd75d5b1e8" providerId="ADAL" clId="{B18DB96A-0F1B-4B04-B169-68D0DF683527}" dt="2024-08-07T08:35:44.656" v="6028" actId="478"/>
          <ac:spMkLst>
            <pc:docMk/>
            <pc:sldMk cId="1824871312" sldId="610"/>
            <ac:spMk id="26" creationId="{208A20EE-6569-D9DF-93D4-DF249D16D925}"/>
          </ac:spMkLst>
        </pc:spChg>
        <pc:spChg chg="add mod">
          <ac:chgData name="Bullinger, Marvin" userId="5b54ce5a-dc89-476f-af33-5abd75d5b1e8" providerId="ADAL" clId="{B18DB96A-0F1B-4B04-B169-68D0DF683527}" dt="2024-08-07T20:14:35.167" v="7286" actId="478"/>
          <ac:spMkLst>
            <pc:docMk/>
            <pc:sldMk cId="1824871312" sldId="610"/>
            <ac:spMk id="41" creationId="{CC8547E1-67B2-82D5-0270-40ADD2D8E3F6}"/>
          </ac:spMkLst>
        </pc:spChg>
        <pc:spChg chg="mod ord replST">
          <ac:chgData name="Bullinger, Marvin" userId="5b54ce5a-dc89-476f-af33-5abd75d5b1e8" providerId="ADAL" clId="{B18DB96A-0F1B-4B04-B169-68D0DF683527}" dt="2024-08-07T20:14:35.851" v="7589"/>
          <ac:spMkLst>
            <pc:docMk/>
            <pc:sldMk cId="1824871312" sldId="610"/>
            <ac:spMk id="42" creationId="{9EE3484C-81A2-9836-C625-F0D105C61045}"/>
          </ac:spMkLst>
        </pc:spChg>
        <pc:spChg chg="del">
          <ac:chgData name="Bullinger, Marvin" userId="5b54ce5a-dc89-476f-af33-5abd75d5b1e8" providerId="ADAL" clId="{B18DB96A-0F1B-4B04-B169-68D0DF683527}" dt="2024-08-07T20:14:35.230" v="7321" actId="478"/>
          <ac:spMkLst>
            <pc:docMk/>
            <pc:sldMk cId="1824871312" sldId="610"/>
            <ac:spMk id="43" creationId="{A434073D-A71E-DFDD-BB67-126EF939F4F7}"/>
          </ac:spMkLst>
        </pc:spChg>
        <pc:spChg chg="del">
          <ac:chgData name="Bullinger, Marvin" userId="5b54ce5a-dc89-476f-af33-5abd75d5b1e8" providerId="ADAL" clId="{B18DB96A-0F1B-4B04-B169-68D0DF683527}" dt="2024-08-07T20:14:35.230" v="7320" actId="478"/>
          <ac:spMkLst>
            <pc:docMk/>
            <pc:sldMk cId="1824871312" sldId="610"/>
            <ac:spMk id="44" creationId="{30C54BC8-75FB-6853-5429-DB1017C15178}"/>
          </ac:spMkLst>
        </pc:spChg>
        <pc:spChg chg="del">
          <ac:chgData name="Bullinger, Marvin" userId="5b54ce5a-dc89-476f-af33-5abd75d5b1e8" providerId="ADAL" clId="{B18DB96A-0F1B-4B04-B169-68D0DF683527}" dt="2024-08-07T20:14:35.230" v="7319" actId="478"/>
          <ac:spMkLst>
            <pc:docMk/>
            <pc:sldMk cId="1824871312" sldId="610"/>
            <ac:spMk id="45" creationId="{90BAA575-F2BA-A53C-0101-E73DF5F623A4}"/>
          </ac:spMkLst>
        </pc:spChg>
        <pc:spChg chg="del">
          <ac:chgData name="Bullinger, Marvin" userId="5b54ce5a-dc89-476f-af33-5abd75d5b1e8" providerId="ADAL" clId="{B18DB96A-0F1B-4B04-B169-68D0DF683527}" dt="2024-08-07T20:14:35.230" v="7318" actId="478"/>
          <ac:spMkLst>
            <pc:docMk/>
            <pc:sldMk cId="1824871312" sldId="610"/>
            <ac:spMk id="46" creationId="{31A623BB-10AB-6A21-49A2-B4AFD9F6300A}"/>
          </ac:spMkLst>
        </pc:spChg>
        <pc:spChg chg="del">
          <ac:chgData name="Bullinger, Marvin" userId="5b54ce5a-dc89-476f-af33-5abd75d5b1e8" providerId="ADAL" clId="{B18DB96A-0F1B-4B04-B169-68D0DF683527}" dt="2024-08-06T09:48:23.821" v="2394" actId="478"/>
          <ac:spMkLst>
            <pc:docMk/>
            <pc:sldMk cId="1824871312" sldId="610"/>
            <ac:spMk id="47" creationId="{93569F23-2B7F-1204-06EF-4495A82E1E79}"/>
          </ac:spMkLst>
        </pc:spChg>
        <pc:spChg chg="del">
          <ac:chgData name="Bullinger, Marvin" userId="5b54ce5a-dc89-476f-af33-5abd75d5b1e8" providerId="ADAL" clId="{B18DB96A-0F1B-4B04-B169-68D0DF683527}" dt="2024-08-07T20:14:35.230" v="7317" actId="478"/>
          <ac:spMkLst>
            <pc:docMk/>
            <pc:sldMk cId="1824871312" sldId="610"/>
            <ac:spMk id="47" creationId="{D1FDABC7-56D1-18C4-7047-F21E4726FCCC}"/>
          </ac:spMkLst>
        </pc:spChg>
        <pc:spChg chg="del">
          <ac:chgData name="Bullinger, Marvin" userId="5b54ce5a-dc89-476f-af33-5abd75d5b1e8" providerId="ADAL" clId="{B18DB96A-0F1B-4B04-B169-68D0DF683527}" dt="2024-08-07T20:14:35.230" v="7316" actId="478"/>
          <ac:spMkLst>
            <pc:docMk/>
            <pc:sldMk cId="1824871312" sldId="610"/>
            <ac:spMk id="48" creationId="{E2EBA470-5988-6E04-17BA-74402DEC0534}"/>
          </ac:spMkLst>
        </pc:spChg>
        <pc:spChg chg="del">
          <ac:chgData name="Bullinger, Marvin" userId="5b54ce5a-dc89-476f-af33-5abd75d5b1e8" providerId="ADAL" clId="{B18DB96A-0F1B-4B04-B169-68D0DF683527}" dt="2024-08-07T20:14:35.230" v="7313" actId="478"/>
          <ac:spMkLst>
            <pc:docMk/>
            <pc:sldMk cId="1824871312" sldId="610"/>
            <ac:spMk id="49" creationId="{DA78101B-60AA-0A31-FAFF-03DF233650CD}"/>
          </ac:spMkLst>
        </pc:spChg>
        <pc:spChg chg="del">
          <ac:chgData name="Bullinger, Marvin" userId="5b54ce5a-dc89-476f-af33-5abd75d5b1e8" providerId="ADAL" clId="{B18DB96A-0F1B-4B04-B169-68D0DF683527}" dt="2024-08-07T20:14:35.230" v="7312" actId="478"/>
          <ac:spMkLst>
            <pc:docMk/>
            <pc:sldMk cId="1824871312" sldId="610"/>
            <ac:spMk id="50" creationId="{7A4904BD-7339-3F3D-2731-779A64316609}"/>
          </ac:spMkLst>
        </pc:spChg>
        <pc:spChg chg="del">
          <ac:chgData name="Bullinger, Marvin" userId="5b54ce5a-dc89-476f-af33-5abd75d5b1e8" providerId="ADAL" clId="{B18DB96A-0F1B-4B04-B169-68D0DF683527}" dt="2024-08-07T20:14:35.230" v="7311" actId="478"/>
          <ac:spMkLst>
            <pc:docMk/>
            <pc:sldMk cId="1824871312" sldId="610"/>
            <ac:spMk id="51" creationId="{3582DBF6-49D6-03D8-170E-3D7ED899AED9}"/>
          </ac:spMkLst>
        </pc:spChg>
        <pc:spChg chg="del">
          <ac:chgData name="Bullinger, Marvin" userId="5b54ce5a-dc89-476f-af33-5abd75d5b1e8" providerId="ADAL" clId="{B18DB96A-0F1B-4B04-B169-68D0DF683527}" dt="2024-08-07T20:14:35.216" v="7310" actId="478"/>
          <ac:spMkLst>
            <pc:docMk/>
            <pc:sldMk cId="1824871312" sldId="610"/>
            <ac:spMk id="52" creationId="{1D24BC76-80DD-E719-6740-FC456DE09393}"/>
          </ac:spMkLst>
        </pc:spChg>
        <pc:spChg chg="del">
          <ac:chgData name="Bullinger, Marvin" userId="5b54ce5a-dc89-476f-af33-5abd75d5b1e8" providerId="ADAL" clId="{B18DB96A-0F1B-4B04-B169-68D0DF683527}" dt="2024-08-07T20:14:35.216" v="7309" actId="478"/>
          <ac:spMkLst>
            <pc:docMk/>
            <pc:sldMk cId="1824871312" sldId="610"/>
            <ac:spMk id="53" creationId="{2A439D2D-03CE-A88B-1994-2E78C8995045}"/>
          </ac:spMkLst>
        </pc:spChg>
        <pc:spChg chg="del">
          <ac:chgData name="Bullinger, Marvin" userId="5b54ce5a-dc89-476f-af33-5abd75d5b1e8" providerId="ADAL" clId="{B18DB96A-0F1B-4B04-B169-68D0DF683527}" dt="2024-08-07T20:14:35.216" v="7308" actId="478"/>
          <ac:spMkLst>
            <pc:docMk/>
            <pc:sldMk cId="1824871312" sldId="610"/>
            <ac:spMk id="54" creationId="{8A5896EA-A313-C553-D5F8-EAD5B1F20F16}"/>
          </ac:spMkLst>
        </pc:spChg>
        <pc:spChg chg="del">
          <ac:chgData name="Bullinger, Marvin" userId="5b54ce5a-dc89-476f-af33-5abd75d5b1e8" providerId="ADAL" clId="{B18DB96A-0F1B-4B04-B169-68D0DF683527}" dt="2024-08-07T20:14:35.230" v="7329" actId="478"/>
          <ac:spMkLst>
            <pc:docMk/>
            <pc:sldMk cId="1824871312" sldId="610"/>
            <ac:spMk id="55" creationId="{F80ECFA3-6C97-918F-2968-0A6E490390FC}"/>
          </ac:spMkLst>
        </pc:spChg>
        <pc:spChg chg="del">
          <ac:chgData name="Bullinger, Marvin" userId="5b54ce5a-dc89-476f-af33-5abd75d5b1e8" providerId="ADAL" clId="{B18DB96A-0F1B-4B04-B169-68D0DF683527}" dt="2024-08-07T20:14:35.230" v="7328" actId="478"/>
          <ac:spMkLst>
            <pc:docMk/>
            <pc:sldMk cId="1824871312" sldId="610"/>
            <ac:spMk id="56" creationId="{EB9C4426-596B-636C-561F-F8E720571D13}"/>
          </ac:spMkLst>
        </pc:spChg>
        <pc:spChg chg="del">
          <ac:chgData name="Bullinger, Marvin" userId="5b54ce5a-dc89-476f-af33-5abd75d5b1e8" providerId="ADAL" clId="{B18DB96A-0F1B-4B04-B169-68D0DF683527}" dt="2024-08-07T20:14:35.230" v="7327" actId="478"/>
          <ac:spMkLst>
            <pc:docMk/>
            <pc:sldMk cId="1824871312" sldId="610"/>
            <ac:spMk id="57" creationId="{0A2E8118-F4E8-DC0C-EFF2-218AC4CEE75F}"/>
          </ac:spMkLst>
        </pc:spChg>
        <pc:spChg chg="del">
          <ac:chgData name="Bullinger, Marvin" userId="5b54ce5a-dc89-476f-af33-5abd75d5b1e8" providerId="ADAL" clId="{B18DB96A-0F1B-4B04-B169-68D0DF683527}" dt="2024-08-07T20:14:35.230" v="7326" actId="478"/>
          <ac:spMkLst>
            <pc:docMk/>
            <pc:sldMk cId="1824871312" sldId="610"/>
            <ac:spMk id="58" creationId="{2B8E4EF3-FD8A-801C-ECAD-8A66EA72FA8B}"/>
          </ac:spMkLst>
        </pc:spChg>
        <pc:spChg chg="del">
          <ac:chgData name="Bullinger, Marvin" userId="5b54ce5a-dc89-476f-af33-5abd75d5b1e8" providerId="ADAL" clId="{B18DB96A-0F1B-4B04-B169-68D0DF683527}" dt="2024-08-07T20:14:35.230" v="7325" actId="478"/>
          <ac:spMkLst>
            <pc:docMk/>
            <pc:sldMk cId="1824871312" sldId="610"/>
            <ac:spMk id="59" creationId="{A2AC6FB4-BE58-A31F-AC3A-26470E21A126}"/>
          </ac:spMkLst>
        </pc:spChg>
        <pc:spChg chg="del">
          <ac:chgData name="Bullinger, Marvin" userId="5b54ce5a-dc89-476f-af33-5abd75d5b1e8" providerId="ADAL" clId="{B18DB96A-0F1B-4B04-B169-68D0DF683527}" dt="2024-08-07T20:14:35.230" v="7324" actId="478"/>
          <ac:spMkLst>
            <pc:docMk/>
            <pc:sldMk cId="1824871312" sldId="610"/>
            <ac:spMk id="60" creationId="{96FC64BE-B91F-8A63-237F-F283B35AA8DC}"/>
          </ac:spMkLst>
        </pc:spChg>
        <pc:spChg chg="del">
          <ac:chgData name="Bullinger, Marvin" userId="5b54ce5a-dc89-476f-af33-5abd75d5b1e8" providerId="ADAL" clId="{B18DB96A-0F1B-4B04-B169-68D0DF683527}" dt="2024-08-07T20:14:35.230" v="7323" actId="478"/>
          <ac:spMkLst>
            <pc:docMk/>
            <pc:sldMk cId="1824871312" sldId="610"/>
            <ac:spMk id="61" creationId="{69DD95DD-28EA-5DA4-F410-69CC11879F8C}"/>
          </ac:spMkLst>
        </pc:spChg>
        <pc:spChg chg="del">
          <ac:chgData name="Bullinger, Marvin" userId="5b54ce5a-dc89-476f-af33-5abd75d5b1e8" providerId="ADAL" clId="{B18DB96A-0F1B-4B04-B169-68D0DF683527}" dt="2024-08-07T20:14:35.230" v="7322" actId="478"/>
          <ac:spMkLst>
            <pc:docMk/>
            <pc:sldMk cId="1824871312" sldId="610"/>
            <ac:spMk id="62" creationId="{02318DC6-D3AB-608E-9735-6D2CDFF95AAB}"/>
          </ac:spMkLst>
        </pc:spChg>
        <pc:spChg chg="add mod">
          <ac:chgData name="Bullinger, Marvin" userId="5b54ce5a-dc89-476f-af33-5abd75d5b1e8" providerId="ADAL" clId="{B18DB96A-0F1B-4B04-B169-68D0DF683527}" dt="2024-08-06T09:48:23.821" v="2392" actId="478"/>
          <ac:spMkLst>
            <pc:docMk/>
            <pc:sldMk cId="1824871312" sldId="610"/>
            <ac:spMk id="62" creationId="{40C5AB7C-C4FA-C098-E3CA-D721181EE5C2}"/>
          </ac:spMkLst>
        </pc:spChg>
        <pc:spChg chg="del mod ord replST">
          <ac:chgData name="Bullinger, Marvin" userId="5b54ce5a-dc89-476f-af33-5abd75d5b1e8" providerId="ADAL" clId="{B18DB96A-0F1B-4B04-B169-68D0DF683527}" dt="2024-08-07T20:14:35.167" v="7286" actId="478"/>
          <ac:spMkLst>
            <pc:docMk/>
            <pc:sldMk cId="1824871312" sldId="610"/>
            <ac:spMk id="63" creationId="{8B058A88-4496-772F-9541-039E390166AE}"/>
          </ac:spMkLst>
        </pc:spChg>
        <pc:spChg chg="del">
          <ac:chgData name="Bullinger, Marvin" userId="5b54ce5a-dc89-476f-af33-5abd75d5b1e8" providerId="ADAL" clId="{B18DB96A-0F1B-4B04-B169-68D0DF683527}" dt="2024-08-06T09:48:23.854" v="2428" actId="478"/>
          <ac:spMkLst>
            <pc:docMk/>
            <pc:sldMk cId="1824871312" sldId="610"/>
            <ac:spMk id="64" creationId="{A034B2CC-4042-8E03-FC07-313CB88397CD}"/>
          </ac:spMkLst>
        </pc:spChg>
        <pc:spChg chg="del">
          <ac:chgData name="Bullinger, Marvin" userId="5b54ce5a-dc89-476f-af33-5abd75d5b1e8" providerId="ADAL" clId="{B18DB96A-0F1B-4B04-B169-68D0DF683527}" dt="2024-08-06T09:48:23.853" v="2427" actId="478"/>
          <ac:spMkLst>
            <pc:docMk/>
            <pc:sldMk cId="1824871312" sldId="610"/>
            <ac:spMk id="65" creationId="{94FF517D-A77E-09CE-DDDB-B1CF274A4B5E}"/>
          </ac:spMkLst>
        </pc:spChg>
        <pc:spChg chg="del">
          <ac:chgData name="Bullinger, Marvin" userId="5b54ce5a-dc89-476f-af33-5abd75d5b1e8" providerId="ADAL" clId="{B18DB96A-0F1B-4B04-B169-68D0DF683527}" dt="2024-08-06T09:48:23.853" v="2426" actId="478"/>
          <ac:spMkLst>
            <pc:docMk/>
            <pc:sldMk cId="1824871312" sldId="610"/>
            <ac:spMk id="66" creationId="{B90A309E-B12D-F20C-C2EF-CBB2B47E2594}"/>
          </ac:spMkLst>
        </pc:spChg>
        <pc:spChg chg="del">
          <ac:chgData name="Bullinger, Marvin" userId="5b54ce5a-dc89-476f-af33-5abd75d5b1e8" providerId="ADAL" clId="{B18DB96A-0F1B-4B04-B169-68D0DF683527}" dt="2024-08-06T09:48:23.837" v="2425" actId="478"/>
          <ac:spMkLst>
            <pc:docMk/>
            <pc:sldMk cId="1824871312" sldId="610"/>
            <ac:spMk id="67" creationId="{6D12749C-0A80-9D0D-C681-32A1C0A2FB53}"/>
          </ac:spMkLst>
        </pc:spChg>
        <pc:spChg chg="del">
          <ac:chgData name="Bullinger, Marvin" userId="5b54ce5a-dc89-476f-af33-5abd75d5b1e8" providerId="ADAL" clId="{B18DB96A-0F1B-4B04-B169-68D0DF683527}" dt="2024-08-06T09:48:23.837" v="2424" actId="478"/>
          <ac:spMkLst>
            <pc:docMk/>
            <pc:sldMk cId="1824871312" sldId="610"/>
            <ac:spMk id="68" creationId="{66DE104F-FDFE-9297-15A5-F37661986E9F}"/>
          </ac:spMkLst>
        </pc:spChg>
        <pc:spChg chg="del">
          <ac:chgData name="Bullinger, Marvin" userId="5b54ce5a-dc89-476f-af33-5abd75d5b1e8" providerId="ADAL" clId="{B18DB96A-0F1B-4B04-B169-68D0DF683527}" dt="2024-08-06T09:48:23.837" v="2423" actId="478"/>
          <ac:spMkLst>
            <pc:docMk/>
            <pc:sldMk cId="1824871312" sldId="610"/>
            <ac:spMk id="69" creationId="{5873CE43-158B-72C2-70DC-3CE30824E142}"/>
          </ac:spMkLst>
        </pc:spChg>
        <pc:spChg chg="del">
          <ac:chgData name="Bullinger, Marvin" userId="5b54ce5a-dc89-476f-af33-5abd75d5b1e8" providerId="ADAL" clId="{B18DB96A-0F1B-4B04-B169-68D0DF683527}" dt="2024-08-06T09:48:23.837" v="2420" actId="478"/>
          <ac:spMkLst>
            <pc:docMk/>
            <pc:sldMk cId="1824871312" sldId="610"/>
            <ac:spMk id="70" creationId="{F5246BB3-07B3-9633-95C0-E33D02D73AC4}"/>
          </ac:spMkLst>
        </pc:spChg>
        <pc:spChg chg="del">
          <ac:chgData name="Bullinger, Marvin" userId="5b54ce5a-dc89-476f-af33-5abd75d5b1e8" providerId="ADAL" clId="{B18DB96A-0F1B-4B04-B169-68D0DF683527}" dt="2024-08-06T09:48:23.837" v="2419" actId="478"/>
          <ac:spMkLst>
            <pc:docMk/>
            <pc:sldMk cId="1824871312" sldId="610"/>
            <ac:spMk id="71" creationId="{3930C8C1-B982-F296-532C-734E6B28C6D3}"/>
          </ac:spMkLst>
        </pc:spChg>
        <pc:spChg chg="del">
          <ac:chgData name="Bullinger, Marvin" userId="5b54ce5a-dc89-476f-af33-5abd75d5b1e8" providerId="ADAL" clId="{B18DB96A-0F1B-4B04-B169-68D0DF683527}" dt="2024-08-06T09:48:23.837" v="2418" actId="478"/>
          <ac:spMkLst>
            <pc:docMk/>
            <pc:sldMk cId="1824871312" sldId="610"/>
            <ac:spMk id="72" creationId="{2E72DAE6-E6A4-E94C-CC85-D90729E64F27}"/>
          </ac:spMkLst>
        </pc:spChg>
        <pc:spChg chg="del">
          <ac:chgData name="Bullinger, Marvin" userId="5b54ce5a-dc89-476f-af33-5abd75d5b1e8" providerId="ADAL" clId="{B18DB96A-0F1B-4B04-B169-68D0DF683527}" dt="2024-08-06T09:48:23.837" v="2417" actId="478"/>
          <ac:spMkLst>
            <pc:docMk/>
            <pc:sldMk cId="1824871312" sldId="610"/>
            <ac:spMk id="73" creationId="{51E46362-9CC4-D5A2-A046-AF6B84903DC6}"/>
          </ac:spMkLst>
        </pc:spChg>
        <pc:spChg chg="del">
          <ac:chgData name="Bullinger, Marvin" userId="5b54ce5a-dc89-476f-af33-5abd75d5b1e8" providerId="ADAL" clId="{B18DB96A-0F1B-4B04-B169-68D0DF683527}" dt="2024-08-06T09:48:23.837" v="2416" actId="478"/>
          <ac:spMkLst>
            <pc:docMk/>
            <pc:sldMk cId="1824871312" sldId="610"/>
            <ac:spMk id="74" creationId="{30AD6D2F-054D-444C-6DE7-8751DDDB34DD}"/>
          </ac:spMkLst>
        </pc:spChg>
        <pc:spChg chg="del">
          <ac:chgData name="Bullinger, Marvin" userId="5b54ce5a-dc89-476f-af33-5abd75d5b1e8" providerId="ADAL" clId="{B18DB96A-0F1B-4B04-B169-68D0DF683527}" dt="2024-08-06T09:48:23.837" v="2415" actId="478"/>
          <ac:spMkLst>
            <pc:docMk/>
            <pc:sldMk cId="1824871312" sldId="610"/>
            <ac:spMk id="75" creationId="{8392713E-4C3B-2FAC-20E0-3698AF24E241}"/>
          </ac:spMkLst>
        </pc:spChg>
        <pc:spChg chg="del">
          <ac:chgData name="Bullinger, Marvin" userId="5b54ce5a-dc89-476f-af33-5abd75d5b1e8" providerId="ADAL" clId="{B18DB96A-0F1B-4B04-B169-68D0DF683527}" dt="2024-08-06T09:48:23.857" v="2436" actId="478"/>
          <ac:spMkLst>
            <pc:docMk/>
            <pc:sldMk cId="1824871312" sldId="610"/>
            <ac:spMk id="76" creationId="{78F7FA64-DA60-8228-A63F-C8CC406F7487}"/>
          </ac:spMkLst>
        </pc:spChg>
        <pc:spChg chg="del">
          <ac:chgData name="Bullinger, Marvin" userId="5b54ce5a-dc89-476f-af33-5abd75d5b1e8" providerId="ADAL" clId="{B18DB96A-0F1B-4B04-B169-68D0DF683527}" dt="2024-08-06T09:48:23.857" v="2435" actId="478"/>
          <ac:spMkLst>
            <pc:docMk/>
            <pc:sldMk cId="1824871312" sldId="610"/>
            <ac:spMk id="77" creationId="{17DF0FE4-623A-9CA9-F6A8-A221795B0A3F}"/>
          </ac:spMkLst>
        </pc:spChg>
        <pc:spChg chg="del">
          <ac:chgData name="Bullinger, Marvin" userId="5b54ce5a-dc89-476f-af33-5abd75d5b1e8" providerId="ADAL" clId="{B18DB96A-0F1B-4B04-B169-68D0DF683527}" dt="2024-08-06T09:48:23.856" v="2434" actId="478"/>
          <ac:spMkLst>
            <pc:docMk/>
            <pc:sldMk cId="1824871312" sldId="610"/>
            <ac:spMk id="78" creationId="{9CC86B62-59A3-CA3B-445A-391C8372145B}"/>
          </ac:spMkLst>
        </pc:spChg>
        <pc:spChg chg="del">
          <ac:chgData name="Bullinger, Marvin" userId="5b54ce5a-dc89-476f-af33-5abd75d5b1e8" providerId="ADAL" clId="{B18DB96A-0F1B-4B04-B169-68D0DF683527}" dt="2024-08-06T09:48:23.856" v="2433" actId="478"/>
          <ac:spMkLst>
            <pc:docMk/>
            <pc:sldMk cId="1824871312" sldId="610"/>
            <ac:spMk id="79" creationId="{59B6B51E-BC79-CC5E-0670-F610E21AC8BC}"/>
          </ac:spMkLst>
        </pc:spChg>
        <pc:spChg chg="del">
          <ac:chgData name="Bullinger, Marvin" userId="5b54ce5a-dc89-476f-af33-5abd75d5b1e8" providerId="ADAL" clId="{B18DB96A-0F1B-4B04-B169-68D0DF683527}" dt="2024-08-06T09:48:23.855" v="2432" actId="478"/>
          <ac:spMkLst>
            <pc:docMk/>
            <pc:sldMk cId="1824871312" sldId="610"/>
            <ac:spMk id="80" creationId="{70E07301-C7B8-A5CA-DC45-22E23553AC0F}"/>
          </ac:spMkLst>
        </pc:spChg>
        <pc:spChg chg="del">
          <ac:chgData name="Bullinger, Marvin" userId="5b54ce5a-dc89-476f-af33-5abd75d5b1e8" providerId="ADAL" clId="{B18DB96A-0F1B-4B04-B169-68D0DF683527}" dt="2024-08-06T09:48:23.855" v="2431" actId="478"/>
          <ac:spMkLst>
            <pc:docMk/>
            <pc:sldMk cId="1824871312" sldId="610"/>
            <ac:spMk id="81" creationId="{C35F57B7-4209-1F28-C6EB-6B840A9E8C8F}"/>
          </ac:spMkLst>
        </pc:spChg>
        <pc:spChg chg="del">
          <ac:chgData name="Bullinger, Marvin" userId="5b54ce5a-dc89-476f-af33-5abd75d5b1e8" providerId="ADAL" clId="{B18DB96A-0F1B-4B04-B169-68D0DF683527}" dt="2024-08-06T09:48:23.854" v="2430" actId="478"/>
          <ac:spMkLst>
            <pc:docMk/>
            <pc:sldMk cId="1824871312" sldId="610"/>
            <ac:spMk id="82" creationId="{C9E8A545-68D4-C574-73E1-C992E976F5DE}"/>
          </ac:spMkLst>
        </pc:spChg>
        <pc:spChg chg="del">
          <ac:chgData name="Bullinger, Marvin" userId="5b54ce5a-dc89-476f-af33-5abd75d5b1e8" providerId="ADAL" clId="{B18DB96A-0F1B-4B04-B169-68D0DF683527}" dt="2024-08-06T09:48:23.854" v="2429" actId="478"/>
          <ac:spMkLst>
            <pc:docMk/>
            <pc:sldMk cId="1824871312" sldId="610"/>
            <ac:spMk id="83" creationId="{A6017E15-17C8-4376-8ABF-8E734AA32FA9}"/>
          </ac:spMkLst>
        </pc:spChg>
        <pc:spChg chg="del">
          <ac:chgData name="Bullinger, Marvin" userId="5b54ce5a-dc89-476f-af33-5abd75d5b1e8" providerId="ADAL" clId="{B18DB96A-0F1B-4B04-B169-68D0DF683527}" dt="2024-08-06T09:48:23.837" v="2421" actId="478"/>
          <ac:spMkLst>
            <pc:docMk/>
            <pc:sldMk cId="1824871312" sldId="610"/>
            <ac:spMk id="84" creationId="{EFDCE7CB-2217-DA5A-CA44-FC16317DCDE9}"/>
          </ac:spMkLst>
        </pc:spChg>
        <pc:spChg chg="del">
          <ac:chgData name="Bullinger, Marvin" userId="5b54ce5a-dc89-476f-af33-5abd75d5b1e8" providerId="ADAL" clId="{B18DB96A-0F1B-4B04-B169-68D0DF683527}" dt="2024-08-06T09:48:23.837" v="2414" actId="478"/>
          <ac:spMkLst>
            <pc:docMk/>
            <pc:sldMk cId="1824871312" sldId="610"/>
            <ac:spMk id="85" creationId="{33C6D6D2-453E-0ABF-99FE-9E3CEE127FC6}"/>
          </ac:spMkLst>
        </pc:spChg>
        <pc:spChg chg="del">
          <ac:chgData name="Bullinger, Marvin" userId="5b54ce5a-dc89-476f-af33-5abd75d5b1e8" providerId="ADAL" clId="{B18DB96A-0F1B-4B04-B169-68D0DF683527}" dt="2024-08-06T09:48:23.837" v="2422" actId="478"/>
          <ac:spMkLst>
            <pc:docMk/>
            <pc:sldMk cId="1824871312" sldId="610"/>
            <ac:spMk id="86" creationId="{E85A5035-2FE3-104F-07E4-389BB584E965}"/>
          </ac:spMkLst>
        </pc:spChg>
        <pc:spChg chg="del">
          <ac:chgData name="Bullinger, Marvin" userId="5b54ce5a-dc89-476f-af33-5abd75d5b1e8" providerId="ADAL" clId="{B18DB96A-0F1B-4B04-B169-68D0DF683527}" dt="2024-08-06T09:48:23.837" v="2413" actId="478"/>
          <ac:spMkLst>
            <pc:docMk/>
            <pc:sldMk cId="1824871312" sldId="610"/>
            <ac:spMk id="87" creationId="{D69F615B-82DA-7E64-7EC1-14CB4C5B70A3}"/>
          </ac:spMkLst>
        </pc:spChg>
        <pc:spChg chg="del">
          <ac:chgData name="Bullinger, Marvin" userId="5b54ce5a-dc89-476f-af33-5abd75d5b1e8" providerId="ADAL" clId="{B18DB96A-0F1B-4B04-B169-68D0DF683527}" dt="2024-08-06T09:48:23.837" v="2412" actId="478"/>
          <ac:spMkLst>
            <pc:docMk/>
            <pc:sldMk cId="1824871312" sldId="610"/>
            <ac:spMk id="88" creationId="{0A5FFAD1-8E4D-74B4-EA55-EEB74AC052E5}"/>
          </ac:spMkLst>
        </pc:spChg>
        <pc:spChg chg="del">
          <ac:chgData name="Bullinger, Marvin" userId="5b54ce5a-dc89-476f-af33-5abd75d5b1e8" providerId="ADAL" clId="{B18DB96A-0F1B-4B04-B169-68D0DF683527}" dt="2024-08-06T09:48:23.837" v="2411" actId="478"/>
          <ac:spMkLst>
            <pc:docMk/>
            <pc:sldMk cId="1824871312" sldId="610"/>
            <ac:spMk id="89" creationId="{D56D0ACE-4029-CCAA-B1AE-34435875B99A}"/>
          </ac:spMkLst>
        </pc:spChg>
        <pc:spChg chg="del">
          <ac:chgData name="Bullinger, Marvin" userId="5b54ce5a-dc89-476f-af33-5abd75d5b1e8" providerId="ADAL" clId="{B18DB96A-0F1B-4B04-B169-68D0DF683527}" dt="2024-08-06T09:48:23.837" v="2410" actId="478"/>
          <ac:spMkLst>
            <pc:docMk/>
            <pc:sldMk cId="1824871312" sldId="610"/>
            <ac:spMk id="90" creationId="{82B705CB-206D-A369-7CB8-8B31CD7EE259}"/>
          </ac:spMkLst>
        </pc:spChg>
        <pc:spChg chg="del">
          <ac:chgData name="Bullinger, Marvin" userId="5b54ce5a-dc89-476f-af33-5abd75d5b1e8" providerId="ADAL" clId="{B18DB96A-0F1B-4B04-B169-68D0DF683527}" dt="2024-08-06T09:48:23.837" v="2409" actId="478"/>
          <ac:spMkLst>
            <pc:docMk/>
            <pc:sldMk cId="1824871312" sldId="610"/>
            <ac:spMk id="91" creationId="{687DBBAE-796D-772F-C2A6-E9B4AD424E6C}"/>
          </ac:spMkLst>
        </pc:spChg>
        <pc:spChg chg="del">
          <ac:chgData name="Bullinger, Marvin" userId="5b54ce5a-dc89-476f-af33-5abd75d5b1e8" providerId="ADAL" clId="{B18DB96A-0F1B-4B04-B169-68D0DF683527}" dt="2024-08-06T09:48:23.837" v="2408" actId="478"/>
          <ac:spMkLst>
            <pc:docMk/>
            <pc:sldMk cId="1824871312" sldId="610"/>
            <ac:spMk id="92" creationId="{2AACD440-E1E9-A15A-73F1-1BDD24203552}"/>
          </ac:spMkLst>
        </pc:spChg>
        <pc:spChg chg="del">
          <ac:chgData name="Bullinger, Marvin" userId="5b54ce5a-dc89-476f-af33-5abd75d5b1e8" providerId="ADAL" clId="{B18DB96A-0F1B-4B04-B169-68D0DF683527}" dt="2024-08-06T09:48:23.837" v="2407" actId="478"/>
          <ac:spMkLst>
            <pc:docMk/>
            <pc:sldMk cId="1824871312" sldId="610"/>
            <ac:spMk id="93" creationId="{963FB890-DFED-B7DD-24F6-17C4B8BD9FD2}"/>
          </ac:spMkLst>
        </pc:spChg>
        <pc:spChg chg="del">
          <ac:chgData name="Bullinger, Marvin" userId="5b54ce5a-dc89-476f-af33-5abd75d5b1e8" providerId="ADAL" clId="{B18DB96A-0F1B-4B04-B169-68D0DF683527}" dt="2024-08-06T09:48:23.837" v="2406" actId="478"/>
          <ac:spMkLst>
            <pc:docMk/>
            <pc:sldMk cId="1824871312" sldId="610"/>
            <ac:spMk id="94" creationId="{72AFDE03-C088-4E5C-F577-5761FF2E57DB}"/>
          </ac:spMkLst>
        </pc:spChg>
        <pc:spChg chg="del">
          <ac:chgData name="Bullinger, Marvin" userId="5b54ce5a-dc89-476f-af33-5abd75d5b1e8" providerId="ADAL" clId="{B18DB96A-0F1B-4B04-B169-68D0DF683527}" dt="2024-08-06T09:48:23.837" v="2405" actId="478"/>
          <ac:spMkLst>
            <pc:docMk/>
            <pc:sldMk cId="1824871312" sldId="610"/>
            <ac:spMk id="95" creationId="{3CD333A3-BC6B-50A3-CD03-F59AC709AB59}"/>
          </ac:spMkLst>
        </pc:spChg>
        <pc:spChg chg="del">
          <ac:chgData name="Bullinger, Marvin" userId="5b54ce5a-dc89-476f-af33-5abd75d5b1e8" providerId="ADAL" clId="{B18DB96A-0F1B-4B04-B169-68D0DF683527}" dt="2024-08-06T09:48:23.837" v="2404" actId="478"/>
          <ac:spMkLst>
            <pc:docMk/>
            <pc:sldMk cId="1824871312" sldId="610"/>
            <ac:spMk id="96" creationId="{0B414D95-62D0-95B2-CA2E-238ED5FE7CB5}"/>
          </ac:spMkLst>
        </pc:spChg>
        <pc:spChg chg="del">
          <ac:chgData name="Bullinger, Marvin" userId="5b54ce5a-dc89-476f-af33-5abd75d5b1e8" providerId="ADAL" clId="{B18DB96A-0F1B-4B04-B169-68D0DF683527}" dt="2024-08-07T20:14:35.230" v="7314" actId="478"/>
          <ac:spMkLst>
            <pc:docMk/>
            <pc:sldMk cId="1824871312" sldId="610"/>
            <ac:spMk id="96" creationId="{1DE6599D-98FC-27A3-6DA8-40F6F785AA16}"/>
          </ac:spMkLst>
        </pc:spChg>
        <pc:spChg chg="del">
          <ac:chgData name="Bullinger, Marvin" userId="5b54ce5a-dc89-476f-af33-5abd75d5b1e8" providerId="ADAL" clId="{B18DB96A-0F1B-4B04-B169-68D0DF683527}" dt="2024-08-06T09:48:23.837" v="2403" actId="478"/>
          <ac:spMkLst>
            <pc:docMk/>
            <pc:sldMk cId="1824871312" sldId="610"/>
            <ac:spMk id="97" creationId="{3B09CC12-580B-F291-E28A-3D35C0C3978A}"/>
          </ac:spMkLst>
        </pc:spChg>
        <pc:spChg chg="del">
          <ac:chgData name="Bullinger, Marvin" userId="5b54ce5a-dc89-476f-af33-5abd75d5b1e8" providerId="ADAL" clId="{B18DB96A-0F1B-4B04-B169-68D0DF683527}" dt="2024-08-07T20:14:35.216" v="7307" actId="478"/>
          <ac:spMkLst>
            <pc:docMk/>
            <pc:sldMk cId="1824871312" sldId="610"/>
            <ac:spMk id="97" creationId="{87D8B11A-589D-6938-F50E-D48980EE7797}"/>
          </ac:spMkLst>
        </pc:spChg>
        <pc:spChg chg="del">
          <ac:chgData name="Bullinger, Marvin" userId="5b54ce5a-dc89-476f-af33-5abd75d5b1e8" providerId="ADAL" clId="{B18DB96A-0F1B-4B04-B169-68D0DF683527}" dt="2024-08-07T20:14:35.230" v="7315" actId="478"/>
          <ac:spMkLst>
            <pc:docMk/>
            <pc:sldMk cId="1824871312" sldId="610"/>
            <ac:spMk id="98" creationId="{661E376F-3755-ACEF-F50F-3700FA83BDE6}"/>
          </ac:spMkLst>
        </pc:spChg>
        <pc:spChg chg="del">
          <ac:chgData name="Bullinger, Marvin" userId="5b54ce5a-dc89-476f-af33-5abd75d5b1e8" providerId="ADAL" clId="{B18DB96A-0F1B-4B04-B169-68D0DF683527}" dt="2024-08-06T09:48:23.837" v="2402" actId="478"/>
          <ac:spMkLst>
            <pc:docMk/>
            <pc:sldMk cId="1824871312" sldId="610"/>
            <ac:spMk id="98" creationId="{81535B66-7F85-C2F0-3A1B-D968FB7143CB}"/>
          </ac:spMkLst>
        </pc:spChg>
        <pc:spChg chg="del">
          <ac:chgData name="Bullinger, Marvin" userId="5b54ce5a-dc89-476f-af33-5abd75d5b1e8" providerId="ADAL" clId="{B18DB96A-0F1B-4B04-B169-68D0DF683527}" dt="2024-08-07T20:14:35.216" v="7306" actId="478"/>
          <ac:spMkLst>
            <pc:docMk/>
            <pc:sldMk cId="1824871312" sldId="610"/>
            <ac:spMk id="99" creationId="{2BA6A379-014E-4949-B3D8-1D12CE44B7BA}"/>
          </ac:spMkLst>
        </pc:spChg>
        <pc:spChg chg="del">
          <ac:chgData name="Bullinger, Marvin" userId="5b54ce5a-dc89-476f-af33-5abd75d5b1e8" providerId="ADAL" clId="{B18DB96A-0F1B-4B04-B169-68D0DF683527}" dt="2024-08-06T09:48:23.837" v="2401" actId="478"/>
          <ac:spMkLst>
            <pc:docMk/>
            <pc:sldMk cId="1824871312" sldId="610"/>
            <ac:spMk id="99" creationId="{81A0F8C3-4F47-28A6-7FD4-E19F40335E53}"/>
          </ac:spMkLst>
        </pc:spChg>
        <pc:spChg chg="del">
          <ac:chgData name="Bullinger, Marvin" userId="5b54ce5a-dc89-476f-af33-5abd75d5b1e8" providerId="ADAL" clId="{B18DB96A-0F1B-4B04-B169-68D0DF683527}" dt="2024-08-06T09:48:23.837" v="2400" actId="478"/>
          <ac:spMkLst>
            <pc:docMk/>
            <pc:sldMk cId="1824871312" sldId="610"/>
            <ac:spMk id="100" creationId="{2BC6E923-EE8E-77F9-B88D-BB9ADA3E3BC4}"/>
          </ac:spMkLst>
        </pc:spChg>
        <pc:spChg chg="del">
          <ac:chgData name="Bullinger, Marvin" userId="5b54ce5a-dc89-476f-af33-5abd75d5b1e8" providerId="ADAL" clId="{B18DB96A-0F1B-4B04-B169-68D0DF683527}" dt="2024-08-07T20:14:35.216" v="7305" actId="478"/>
          <ac:spMkLst>
            <pc:docMk/>
            <pc:sldMk cId="1824871312" sldId="610"/>
            <ac:spMk id="100" creationId="{7DFF1356-80CB-180B-EC37-50CC4AC11F2E}"/>
          </ac:spMkLst>
        </pc:spChg>
        <pc:spChg chg="replST">
          <ac:chgData name="Bullinger, Marvin" userId="5b54ce5a-dc89-476f-af33-5abd75d5b1e8" providerId="ADAL" clId="{B18DB96A-0F1B-4B04-B169-68D0DF683527}" dt="2024-08-06T09:48:24.186" v="2666"/>
          <ac:spMkLst>
            <pc:docMk/>
            <pc:sldMk cId="1824871312" sldId="610"/>
            <ac:spMk id="101" creationId="{856E7961-1613-18A4-E856-5C61FEC67CAF}"/>
          </ac:spMkLst>
        </pc:spChg>
        <pc:spChg chg="replST">
          <ac:chgData name="Bullinger, Marvin" userId="5b54ce5a-dc89-476f-af33-5abd75d5b1e8" providerId="ADAL" clId="{B18DB96A-0F1B-4B04-B169-68D0DF683527}" dt="2024-08-06T09:48:24.186" v="2669"/>
          <ac:spMkLst>
            <pc:docMk/>
            <pc:sldMk cId="1824871312" sldId="610"/>
            <ac:spMk id="102" creationId="{C3660CD8-7830-2880-2AD4-83893A38A280}"/>
          </ac:spMkLst>
        </pc:spChg>
        <pc:spChg chg="replST">
          <ac:chgData name="Bullinger, Marvin" userId="5b54ce5a-dc89-476f-af33-5abd75d5b1e8" providerId="ADAL" clId="{B18DB96A-0F1B-4B04-B169-68D0DF683527}" dt="2024-08-06T09:48:24.201" v="2673"/>
          <ac:spMkLst>
            <pc:docMk/>
            <pc:sldMk cId="1824871312" sldId="610"/>
            <ac:spMk id="104" creationId="{13FE8250-D44C-884E-83E4-621ED453CA3F}"/>
          </ac:spMkLst>
        </pc:spChg>
        <pc:spChg chg="replST">
          <ac:chgData name="Bullinger, Marvin" userId="5b54ce5a-dc89-476f-af33-5abd75d5b1e8" providerId="ADAL" clId="{B18DB96A-0F1B-4B04-B169-68D0DF683527}" dt="2024-08-06T09:48:24.201" v="2676"/>
          <ac:spMkLst>
            <pc:docMk/>
            <pc:sldMk cId="1824871312" sldId="610"/>
            <ac:spMk id="105" creationId="{EB7D3478-7C55-C48A-B5A5-B5D48D199404}"/>
          </ac:spMkLst>
        </pc:spChg>
        <pc:spChg chg="del ord replST">
          <ac:chgData name="Bullinger, Marvin" userId="5b54ce5a-dc89-476f-af33-5abd75d5b1e8" providerId="ADAL" clId="{B18DB96A-0F1B-4B04-B169-68D0DF683527}" dt="2024-08-07T20:14:35.182" v="7288" actId="478"/>
          <ac:spMkLst>
            <pc:docMk/>
            <pc:sldMk cId="1824871312" sldId="610"/>
            <ac:spMk id="106" creationId="{997455B4-09B7-1CAA-51D8-83A549549471}"/>
          </ac:spMkLst>
        </pc:spChg>
        <pc:spChg chg="replST">
          <ac:chgData name="Bullinger, Marvin" userId="5b54ce5a-dc89-476f-af33-5abd75d5b1e8" providerId="ADAL" clId="{B18DB96A-0F1B-4B04-B169-68D0DF683527}" dt="2024-08-06T09:48:24.201" v="2680"/>
          <ac:spMkLst>
            <pc:docMk/>
            <pc:sldMk cId="1824871312" sldId="610"/>
            <ac:spMk id="107" creationId="{E0B703C4-3C59-118A-8B4D-17ADB1292045}"/>
          </ac:spMkLst>
        </pc:spChg>
        <pc:spChg chg="replST">
          <ac:chgData name="Bullinger, Marvin" userId="5b54ce5a-dc89-476f-af33-5abd75d5b1e8" providerId="ADAL" clId="{B18DB96A-0F1B-4B04-B169-68D0DF683527}" dt="2024-08-06T09:48:24.217" v="2683"/>
          <ac:spMkLst>
            <pc:docMk/>
            <pc:sldMk cId="1824871312" sldId="610"/>
            <ac:spMk id="108" creationId="{D0D8029D-F0F6-1FF8-9F1F-FB3A3A0AC00F}"/>
          </ac:spMkLst>
        </pc:spChg>
        <pc:spChg chg="replST">
          <ac:chgData name="Bullinger, Marvin" userId="5b54ce5a-dc89-476f-af33-5abd75d5b1e8" providerId="ADAL" clId="{B18DB96A-0F1B-4B04-B169-68D0DF683527}" dt="2024-08-06T09:48:24.217" v="2687"/>
          <ac:spMkLst>
            <pc:docMk/>
            <pc:sldMk cId="1824871312" sldId="610"/>
            <ac:spMk id="110" creationId="{543B45E9-FB59-3DA5-FABB-2903EDBC1682}"/>
          </ac:spMkLst>
        </pc:spChg>
        <pc:spChg chg="replST">
          <ac:chgData name="Bullinger, Marvin" userId="5b54ce5a-dc89-476f-af33-5abd75d5b1e8" providerId="ADAL" clId="{B18DB96A-0F1B-4B04-B169-68D0DF683527}" dt="2024-08-06T09:48:24.217" v="2690"/>
          <ac:spMkLst>
            <pc:docMk/>
            <pc:sldMk cId="1824871312" sldId="610"/>
            <ac:spMk id="111" creationId="{65D126BF-95F2-C8A8-48BD-1D97554EB31C}"/>
          </ac:spMkLst>
        </pc:spChg>
        <pc:spChg chg="replST">
          <ac:chgData name="Bullinger, Marvin" userId="5b54ce5a-dc89-476f-af33-5abd75d5b1e8" providerId="ADAL" clId="{B18DB96A-0F1B-4B04-B169-68D0DF683527}" dt="2024-08-06T09:48:24.233" v="2694"/>
          <ac:spMkLst>
            <pc:docMk/>
            <pc:sldMk cId="1824871312" sldId="610"/>
            <ac:spMk id="113" creationId="{EC3732F2-AF7F-CB3C-3A29-6B19E77FBE3D}"/>
          </ac:spMkLst>
        </pc:spChg>
        <pc:spChg chg="replST">
          <ac:chgData name="Bullinger, Marvin" userId="5b54ce5a-dc89-476f-af33-5abd75d5b1e8" providerId="ADAL" clId="{B18DB96A-0F1B-4B04-B169-68D0DF683527}" dt="2024-08-06T09:48:24.237" v="2697"/>
          <ac:spMkLst>
            <pc:docMk/>
            <pc:sldMk cId="1824871312" sldId="610"/>
            <ac:spMk id="114" creationId="{4BCA238F-CDFB-B59B-B20D-AAB7334FDC3A}"/>
          </ac:spMkLst>
        </pc:spChg>
        <pc:spChg chg="del">
          <ac:chgData name="Bullinger, Marvin" userId="5b54ce5a-dc89-476f-af33-5abd75d5b1e8" providerId="ADAL" clId="{B18DB96A-0F1B-4B04-B169-68D0DF683527}" dt="2024-08-07T20:14:35.216" v="7304" actId="478"/>
          <ac:spMkLst>
            <pc:docMk/>
            <pc:sldMk cId="1824871312" sldId="610"/>
            <ac:spMk id="117" creationId="{CF4029CF-7357-B294-04F4-6F14D3966D05}"/>
          </ac:spMkLst>
        </pc:spChg>
        <pc:spChg chg="del">
          <ac:chgData name="Bullinger, Marvin" userId="5b54ce5a-dc89-476f-af33-5abd75d5b1e8" providerId="ADAL" clId="{B18DB96A-0F1B-4B04-B169-68D0DF683527}" dt="2024-08-07T20:14:35.216" v="7303" actId="478"/>
          <ac:spMkLst>
            <pc:docMk/>
            <pc:sldMk cId="1824871312" sldId="610"/>
            <ac:spMk id="118" creationId="{EBA2C547-1AA1-670B-1A6E-DEC314505170}"/>
          </ac:spMkLst>
        </pc:spChg>
        <pc:spChg chg="del">
          <ac:chgData name="Bullinger, Marvin" userId="5b54ce5a-dc89-476f-af33-5abd75d5b1e8" providerId="ADAL" clId="{B18DB96A-0F1B-4B04-B169-68D0DF683527}" dt="2024-08-07T20:14:35.216" v="7302" actId="478"/>
          <ac:spMkLst>
            <pc:docMk/>
            <pc:sldMk cId="1824871312" sldId="610"/>
            <ac:spMk id="119" creationId="{DE7CCCA7-34F0-D201-6203-E0F3B41F37D5}"/>
          </ac:spMkLst>
        </pc:spChg>
        <pc:spChg chg="del">
          <ac:chgData name="Bullinger, Marvin" userId="5b54ce5a-dc89-476f-af33-5abd75d5b1e8" providerId="ADAL" clId="{B18DB96A-0F1B-4B04-B169-68D0DF683527}" dt="2024-08-07T20:14:35.216" v="7301" actId="478"/>
          <ac:spMkLst>
            <pc:docMk/>
            <pc:sldMk cId="1824871312" sldId="610"/>
            <ac:spMk id="120" creationId="{D98C487B-6CEA-5E75-B9AF-9801632FC1E9}"/>
          </ac:spMkLst>
        </pc:spChg>
        <pc:spChg chg="del">
          <ac:chgData name="Bullinger, Marvin" userId="5b54ce5a-dc89-476f-af33-5abd75d5b1e8" providerId="ADAL" clId="{B18DB96A-0F1B-4B04-B169-68D0DF683527}" dt="2024-08-07T20:14:35.216" v="7300" actId="478"/>
          <ac:spMkLst>
            <pc:docMk/>
            <pc:sldMk cId="1824871312" sldId="610"/>
            <ac:spMk id="121" creationId="{6255A6A9-1EE8-82F6-24F6-370C3A26B0F7}"/>
          </ac:spMkLst>
        </pc:spChg>
        <pc:spChg chg="del">
          <ac:chgData name="Bullinger, Marvin" userId="5b54ce5a-dc89-476f-af33-5abd75d5b1e8" providerId="ADAL" clId="{B18DB96A-0F1B-4B04-B169-68D0DF683527}" dt="2024-08-07T20:14:35.216" v="7299" actId="478"/>
          <ac:spMkLst>
            <pc:docMk/>
            <pc:sldMk cId="1824871312" sldId="610"/>
            <ac:spMk id="122" creationId="{F12E97E0-BBB4-9D16-9DF7-2077081F8583}"/>
          </ac:spMkLst>
        </pc:spChg>
        <pc:spChg chg="del">
          <ac:chgData name="Bullinger, Marvin" userId="5b54ce5a-dc89-476f-af33-5abd75d5b1e8" providerId="ADAL" clId="{B18DB96A-0F1B-4B04-B169-68D0DF683527}" dt="2024-08-07T20:14:35.216" v="7298" actId="478"/>
          <ac:spMkLst>
            <pc:docMk/>
            <pc:sldMk cId="1824871312" sldId="610"/>
            <ac:spMk id="123" creationId="{AF43A820-65C3-DF51-D5DF-02B86C4E16BB}"/>
          </ac:spMkLst>
        </pc:spChg>
        <pc:spChg chg="del">
          <ac:chgData name="Bullinger, Marvin" userId="5b54ce5a-dc89-476f-af33-5abd75d5b1e8" providerId="ADAL" clId="{B18DB96A-0F1B-4B04-B169-68D0DF683527}" dt="2024-08-07T20:14:35.216" v="7297" actId="478"/>
          <ac:spMkLst>
            <pc:docMk/>
            <pc:sldMk cId="1824871312" sldId="610"/>
            <ac:spMk id="124" creationId="{B5F29827-2155-75A5-6DF6-8811CC651108}"/>
          </ac:spMkLst>
        </pc:spChg>
        <pc:spChg chg="del">
          <ac:chgData name="Bullinger, Marvin" userId="5b54ce5a-dc89-476f-af33-5abd75d5b1e8" providerId="ADAL" clId="{B18DB96A-0F1B-4B04-B169-68D0DF683527}" dt="2024-08-07T20:14:35.216" v="7296" actId="478"/>
          <ac:spMkLst>
            <pc:docMk/>
            <pc:sldMk cId="1824871312" sldId="610"/>
            <ac:spMk id="125" creationId="{F1912C0F-6F79-9B6C-F9E7-2555C02F6AA5}"/>
          </ac:spMkLst>
        </pc:spChg>
        <pc:spChg chg="del">
          <ac:chgData name="Bullinger, Marvin" userId="5b54ce5a-dc89-476f-af33-5abd75d5b1e8" providerId="ADAL" clId="{B18DB96A-0F1B-4B04-B169-68D0DF683527}" dt="2024-08-07T20:14:35.216" v="7295" actId="478"/>
          <ac:spMkLst>
            <pc:docMk/>
            <pc:sldMk cId="1824871312" sldId="610"/>
            <ac:spMk id="126" creationId="{40B5238A-A6D7-C292-5718-930DF03BB5EC}"/>
          </ac:spMkLst>
        </pc:spChg>
        <pc:spChg chg="del">
          <ac:chgData name="Bullinger, Marvin" userId="5b54ce5a-dc89-476f-af33-5abd75d5b1e8" providerId="ADAL" clId="{B18DB96A-0F1B-4B04-B169-68D0DF683527}" dt="2024-08-07T20:14:35.216" v="7294" actId="478"/>
          <ac:spMkLst>
            <pc:docMk/>
            <pc:sldMk cId="1824871312" sldId="610"/>
            <ac:spMk id="127" creationId="{89828C87-5536-1C81-E5DA-9B581E2348EA}"/>
          </ac:spMkLst>
        </pc:spChg>
        <pc:spChg chg="del">
          <ac:chgData name="Bullinger, Marvin" userId="5b54ce5a-dc89-476f-af33-5abd75d5b1e8" providerId="ADAL" clId="{B18DB96A-0F1B-4B04-B169-68D0DF683527}" dt="2024-08-07T20:14:35.216" v="7293" actId="478"/>
          <ac:spMkLst>
            <pc:docMk/>
            <pc:sldMk cId="1824871312" sldId="610"/>
            <ac:spMk id="128" creationId="{92861A7E-3B19-E7AB-C4E5-1093F7FDBDE7}"/>
          </ac:spMkLst>
        </pc:spChg>
        <pc:spChg chg="del">
          <ac:chgData name="Bullinger, Marvin" userId="5b54ce5a-dc89-476f-af33-5abd75d5b1e8" providerId="ADAL" clId="{B18DB96A-0F1B-4B04-B169-68D0DF683527}" dt="2024-08-13T15:17:10.112" v="26556" actId="478"/>
          <ac:spMkLst>
            <pc:docMk/>
            <pc:sldMk cId="1824871312" sldId="610"/>
            <ac:spMk id="129" creationId="{5ACBCD80-E743-72FD-C9E3-2CBC4924DF6A}"/>
          </ac:spMkLst>
        </pc:spChg>
        <pc:spChg chg="mod replST">
          <ac:chgData name="Bullinger, Marvin" userId="5b54ce5a-dc89-476f-af33-5abd75d5b1e8" providerId="ADAL" clId="{B18DB96A-0F1B-4B04-B169-68D0DF683527}" dt="2024-08-08T22:10:15.702" v="10054" actId="207"/>
          <ac:spMkLst>
            <pc:docMk/>
            <pc:sldMk cId="1824871312" sldId="610"/>
            <ac:spMk id="130" creationId="{9CC651C8-99E3-AF18-7A23-DEE9B613F57F}"/>
          </ac:spMkLst>
        </pc:spChg>
        <pc:spChg chg="replST">
          <ac:chgData name="Bullinger, Marvin" userId="5b54ce5a-dc89-476f-af33-5abd75d5b1e8" providerId="ADAL" clId="{B18DB96A-0F1B-4B04-B169-68D0DF683527}" dt="2024-08-07T20:14:35.787" v="7558"/>
          <ac:spMkLst>
            <pc:docMk/>
            <pc:sldMk cId="1824871312" sldId="610"/>
            <ac:spMk id="131" creationId="{882A5391-A1F3-EF04-0750-1EA777DC3BF9}"/>
          </ac:spMkLst>
        </pc:spChg>
        <pc:spChg chg="mod replST">
          <ac:chgData name="Bullinger, Marvin" userId="5b54ce5a-dc89-476f-af33-5abd75d5b1e8" providerId="ADAL" clId="{B18DB96A-0F1B-4B04-B169-68D0DF683527}" dt="2024-08-08T22:09:39.154" v="10050" actId="20577"/>
          <ac:spMkLst>
            <pc:docMk/>
            <pc:sldMk cId="1824871312" sldId="610"/>
            <ac:spMk id="133" creationId="{C09D40D3-3732-6F41-0CDC-6FF41884A377}"/>
          </ac:spMkLst>
        </pc:spChg>
        <pc:spChg chg="replST">
          <ac:chgData name="Bullinger, Marvin" userId="5b54ce5a-dc89-476f-af33-5abd75d5b1e8" providerId="ADAL" clId="{B18DB96A-0F1B-4B04-B169-68D0DF683527}" dt="2024-08-07T20:14:35.803" v="7565"/>
          <ac:spMkLst>
            <pc:docMk/>
            <pc:sldMk cId="1824871312" sldId="610"/>
            <ac:spMk id="134" creationId="{79171230-82AA-E9C7-3B6D-F5B147391BEF}"/>
          </ac:spMkLst>
        </pc:spChg>
        <pc:spChg chg="mod ord replST">
          <ac:chgData name="Bullinger, Marvin" userId="5b54ce5a-dc89-476f-af33-5abd75d5b1e8" providerId="ADAL" clId="{B18DB96A-0F1B-4B04-B169-68D0DF683527}" dt="2024-08-08T22:10:23.334" v="10055" actId="207"/>
          <ac:spMkLst>
            <pc:docMk/>
            <pc:sldMk cId="1824871312" sldId="610"/>
            <ac:spMk id="135" creationId="{E2F25772-0EE9-1505-992A-191B97E31DB8}"/>
          </ac:spMkLst>
        </pc:spChg>
        <pc:spChg chg="mod replST">
          <ac:chgData name="Bullinger, Marvin" userId="5b54ce5a-dc89-476f-af33-5abd75d5b1e8" providerId="ADAL" clId="{B18DB96A-0F1B-4B04-B169-68D0DF683527}" dt="2024-08-08T22:10:15.702" v="10054" actId="207"/>
          <ac:spMkLst>
            <pc:docMk/>
            <pc:sldMk cId="1824871312" sldId="610"/>
            <ac:spMk id="136" creationId="{24CEC0A6-4F72-EC16-8F12-D4C85ADFDE25}"/>
          </ac:spMkLst>
        </pc:spChg>
        <pc:spChg chg="replST">
          <ac:chgData name="Bullinger, Marvin" userId="5b54ce5a-dc89-476f-af33-5abd75d5b1e8" providerId="ADAL" clId="{B18DB96A-0F1B-4B04-B169-68D0DF683527}" dt="2024-08-07T20:14:35.819" v="7572"/>
          <ac:spMkLst>
            <pc:docMk/>
            <pc:sldMk cId="1824871312" sldId="610"/>
            <ac:spMk id="137" creationId="{58D6132B-15D6-4421-B1AA-9E70C4C18E97}"/>
          </ac:spMkLst>
        </pc:spChg>
        <pc:spChg chg="mod replST">
          <ac:chgData name="Bullinger, Marvin" userId="5b54ce5a-dc89-476f-af33-5abd75d5b1e8" providerId="ADAL" clId="{B18DB96A-0F1B-4B04-B169-68D0DF683527}" dt="2024-08-08T22:10:15.702" v="10054" actId="207"/>
          <ac:spMkLst>
            <pc:docMk/>
            <pc:sldMk cId="1824871312" sldId="610"/>
            <ac:spMk id="139" creationId="{3E18B54D-1395-D391-7E9E-1CF55736718F}"/>
          </ac:spMkLst>
        </pc:spChg>
        <pc:spChg chg="replST">
          <ac:chgData name="Bullinger, Marvin" userId="5b54ce5a-dc89-476f-af33-5abd75d5b1e8" providerId="ADAL" clId="{B18DB96A-0F1B-4B04-B169-68D0DF683527}" dt="2024-08-07T20:14:35.835" v="7579"/>
          <ac:spMkLst>
            <pc:docMk/>
            <pc:sldMk cId="1824871312" sldId="610"/>
            <ac:spMk id="140" creationId="{53E75036-9706-1270-9247-B8E400D51C88}"/>
          </ac:spMkLst>
        </pc:spChg>
        <pc:spChg chg="mod replST">
          <ac:chgData name="Bullinger, Marvin" userId="5b54ce5a-dc89-476f-af33-5abd75d5b1e8" providerId="ADAL" clId="{B18DB96A-0F1B-4B04-B169-68D0DF683527}" dt="2024-08-08T22:10:15.702" v="10054" actId="207"/>
          <ac:spMkLst>
            <pc:docMk/>
            <pc:sldMk cId="1824871312" sldId="610"/>
            <ac:spMk id="142" creationId="{EC6D6CDE-CC99-ED33-3095-5B6DF0382D32}"/>
          </ac:spMkLst>
        </pc:spChg>
        <pc:spChg chg="replST">
          <ac:chgData name="Bullinger, Marvin" userId="5b54ce5a-dc89-476f-af33-5abd75d5b1e8" providerId="ADAL" clId="{B18DB96A-0F1B-4B04-B169-68D0DF683527}" dt="2024-08-07T20:14:35.851" v="7586"/>
          <ac:spMkLst>
            <pc:docMk/>
            <pc:sldMk cId="1824871312" sldId="610"/>
            <ac:spMk id="143" creationId="{E8563681-71D1-5337-76BC-94EAD621DAA5}"/>
          </ac:spMkLst>
        </pc:spChg>
        <pc:cxnChg chg="del">
          <ac:chgData name="Bullinger, Marvin" userId="5b54ce5a-dc89-476f-af33-5abd75d5b1e8" providerId="ADAL" clId="{B18DB96A-0F1B-4B04-B169-68D0DF683527}" dt="2024-08-06T09:48:23.821" v="2393" actId="478"/>
          <ac:cxnSpMkLst>
            <pc:docMk/>
            <pc:sldMk cId="1824871312" sldId="610"/>
            <ac:cxnSpMk id="44" creationId="{8D4697B0-77BE-92EB-6C88-664776FA3345}"/>
          </ac:cxnSpMkLst>
        </pc:cxnChg>
        <pc:cxnChg chg="del">
          <ac:chgData name="Bullinger, Marvin" userId="5b54ce5a-dc89-476f-af33-5abd75d5b1e8" providerId="ADAL" clId="{B18DB96A-0F1B-4B04-B169-68D0DF683527}" dt="2024-08-06T09:48:23.821" v="2395" actId="478"/>
          <ac:cxnSpMkLst>
            <pc:docMk/>
            <pc:sldMk cId="1824871312" sldId="610"/>
            <ac:cxnSpMk id="50" creationId="{16DA3D6A-426E-6FFF-5C0D-ECB51FA26F11}"/>
          </ac:cxnSpMkLst>
        </pc:cxnChg>
        <pc:cxnChg chg="del">
          <ac:chgData name="Bullinger, Marvin" userId="5b54ce5a-dc89-476f-af33-5abd75d5b1e8" providerId="ADAL" clId="{B18DB96A-0F1B-4B04-B169-68D0DF683527}" dt="2024-08-06T09:48:23.821" v="2396" actId="478"/>
          <ac:cxnSpMkLst>
            <pc:docMk/>
            <pc:sldMk cId="1824871312" sldId="610"/>
            <ac:cxnSpMk id="53" creationId="{E30C8774-60D0-A689-CA48-619FC97EE61F}"/>
          </ac:cxnSpMkLst>
        </pc:cxnChg>
        <pc:cxnChg chg="del">
          <ac:chgData name="Bullinger, Marvin" userId="5b54ce5a-dc89-476f-af33-5abd75d5b1e8" providerId="ADAL" clId="{B18DB96A-0F1B-4B04-B169-68D0DF683527}" dt="2024-08-06T09:48:23.821" v="2397" actId="478"/>
          <ac:cxnSpMkLst>
            <pc:docMk/>
            <pc:sldMk cId="1824871312" sldId="610"/>
            <ac:cxnSpMk id="56" creationId="{34984C3A-6737-C393-E67B-705CFBBB2023}"/>
          </ac:cxnSpMkLst>
        </pc:cxnChg>
        <pc:cxnChg chg="del">
          <ac:chgData name="Bullinger, Marvin" userId="5b54ce5a-dc89-476f-af33-5abd75d5b1e8" providerId="ADAL" clId="{B18DB96A-0F1B-4B04-B169-68D0DF683527}" dt="2024-08-06T09:48:23.821" v="2398" actId="478"/>
          <ac:cxnSpMkLst>
            <pc:docMk/>
            <pc:sldMk cId="1824871312" sldId="610"/>
            <ac:cxnSpMk id="59" creationId="{DECD309B-5A17-7224-F923-4FB0E99EA0D6}"/>
          </ac:cxnSpMkLst>
        </pc:cxnChg>
        <pc:cxnChg chg="del">
          <ac:chgData name="Bullinger, Marvin" userId="5b54ce5a-dc89-476f-af33-5abd75d5b1e8" providerId="ADAL" clId="{B18DB96A-0F1B-4B04-B169-68D0DF683527}" dt="2024-08-06T09:48:23.821" v="2399" actId="478"/>
          <ac:cxnSpMkLst>
            <pc:docMk/>
            <pc:sldMk cId="1824871312" sldId="610"/>
            <ac:cxnSpMk id="60" creationId="{C18E7717-38A1-78CA-B01B-58EAEFB51EA3}"/>
          </ac:cxnSpMkLst>
        </pc:cxnChg>
        <pc:cxnChg chg="del ord replST">
          <ac:chgData name="Bullinger, Marvin" userId="5b54ce5a-dc89-476f-af33-5abd75d5b1e8" providerId="ADAL" clId="{B18DB96A-0F1B-4B04-B169-68D0DF683527}" dt="2024-08-07T20:14:35.182" v="7287" actId="478"/>
          <ac:cxnSpMkLst>
            <pc:docMk/>
            <pc:sldMk cId="1824871312" sldId="610"/>
            <ac:cxnSpMk id="103" creationId="{D20B590B-0F07-1586-C589-77098790F48A}"/>
          </ac:cxnSpMkLst>
        </pc:cxnChg>
        <pc:cxnChg chg="del ord replST">
          <ac:chgData name="Bullinger, Marvin" userId="5b54ce5a-dc89-476f-af33-5abd75d5b1e8" providerId="ADAL" clId="{B18DB96A-0F1B-4B04-B169-68D0DF683527}" dt="2024-08-07T20:14:35.182" v="7289" actId="478"/>
          <ac:cxnSpMkLst>
            <pc:docMk/>
            <pc:sldMk cId="1824871312" sldId="610"/>
            <ac:cxnSpMk id="109" creationId="{9740D09D-343B-0C7D-79C2-AC0EDDC8D875}"/>
          </ac:cxnSpMkLst>
        </pc:cxnChg>
        <pc:cxnChg chg="del ord replST">
          <ac:chgData name="Bullinger, Marvin" userId="5b54ce5a-dc89-476f-af33-5abd75d5b1e8" providerId="ADAL" clId="{B18DB96A-0F1B-4B04-B169-68D0DF683527}" dt="2024-08-07T20:14:35.182" v="7290" actId="478"/>
          <ac:cxnSpMkLst>
            <pc:docMk/>
            <pc:sldMk cId="1824871312" sldId="610"/>
            <ac:cxnSpMk id="112" creationId="{03F8D1C1-E4A2-A7B8-E411-B102D8C0CFD2}"/>
          </ac:cxnSpMkLst>
        </pc:cxnChg>
        <pc:cxnChg chg="del ord replST">
          <ac:chgData name="Bullinger, Marvin" userId="5b54ce5a-dc89-476f-af33-5abd75d5b1e8" providerId="ADAL" clId="{B18DB96A-0F1B-4B04-B169-68D0DF683527}" dt="2024-08-07T20:14:35.182" v="7291" actId="478"/>
          <ac:cxnSpMkLst>
            <pc:docMk/>
            <pc:sldMk cId="1824871312" sldId="610"/>
            <ac:cxnSpMk id="115" creationId="{E08666FE-910C-9826-F048-DA5EF6DCA652}"/>
          </ac:cxnSpMkLst>
        </pc:cxnChg>
        <pc:cxnChg chg="del ord replST">
          <ac:chgData name="Bullinger, Marvin" userId="5b54ce5a-dc89-476f-af33-5abd75d5b1e8" providerId="ADAL" clId="{B18DB96A-0F1B-4B04-B169-68D0DF683527}" dt="2024-08-07T20:14:35.182" v="7292" actId="478"/>
          <ac:cxnSpMkLst>
            <pc:docMk/>
            <pc:sldMk cId="1824871312" sldId="610"/>
            <ac:cxnSpMk id="116" creationId="{DA69BE80-F88A-3CAD-E96E-9D5E7280C5A0}"/>
          </ac:cxnSpMkLst>
        </pc:cxnChg>
        <pc:cxnChg chg="ord replST">
          <ac:chgData name="Bullinger, Marvin" userId="5b54ce5a-dc89-476f-af33-5abd75d5b1e8" providerId="ADAL" clId="{B18DB96A-0F1B-4B04-B169-68D0DF683527}" dt="2024-08-07T20:14:35.851" v="7590"/>
          <ac:cxnSpMkLst>
            <pc:docMk/>
            <pc:sldMk cId="1824871312" sldId="610"/>
            <ac:cxnSpMk id="132" creationId="{013A0416-EB1B-03A5-F707-36C52CA842B4}"/>
          </ac:cxnSpMkLst>
        </pc:cxnChg>
        <pc:cxnChg chg="ord replST">
          <ac:chgData name="Bullinger, Marvin" userId="5b54ce5a-dc89-476f-af33-5abd75d5b1e8" providerId="ADAL" clId="{B18DB96A-0F1B-4B04-B169-68D0DF683527}" dt="2024-08-07T20:14:35.866" v="7592"/>
          <ac:cxnSpMkLst>
            <pc:docMk/>
            <pc:sldMk cId="1824871312" sldId="610"/>
            <ac:cxnSpMk id="138" creationId="{A1FF7CC2-BB72-7013-8650-130DEDE67A6A}"/>
          </ac:cxnSpMkLst>
        </pc:cxnChg>
        <pc:cxnChg chg="ord replST">
          <ac:chgData name="Bullinger, Marvin" userId="5b54ce5a-dc89-476f-af33-5abd75d5b1e8" providerId="ADAL" clId="{B18DB96A-0F1B-4B04-B169-68D0DF683527}" dt="2024-08-07T20:14:35.866" v="7593"/>
          <ac:cxnSpMkLst>
            <pc:docMk/>
            <pc:sldMk cId="1824871312" sldId="610"/>
            <ac:cxnSpMk id="141" creationId="{670F9921-6ED6-2D1C-2C97-901ADD05881A}"/>
          </ac:cxnSpMkLst>
        </pc:cxnChg>
        <pc:cxnChg chg="ord replST">
          <ac:chgData name="Bullinger, Marvin" userId="5b54ce5a-dc89-476f-af33-5abd75d5b1e8" providerId="ADAL" clId="{B18DB96A-0F1B-4B04-B169-68D0DF683527}" dt="2024-08-07T20:14:35.866" v="7594"/>
          <ac:cxnSpMkLst>
            <pc:docMk/>
            <pc:sldMk cId="1824871312" sldId="610"/>
            <ac:cxnSpMk id="144" creationId="{C1C391DA-6C49-431E-640D-98AA27AA38C8}"/>
          </ac:cxnSpMkLst>
        </pc:cxnChg>
        <pc:cxnChg chg="ord replST">
          <ac:chgData name="Bullinger, Marvin" userId="5b54ce5a-dc89-476f-af33-5abd75d5b1e8" providerId="ADAL" clId="{B18DB96A-0F1B-4B04-B169-68D0DF683527}" dt="2024-08-07T20:14:35.866" v="7595"/>
          <ac:cxnSpMkLst>
            <pc:docMk/>
            <pc:sldMk cId="1824871312" sldId="610"/>
            <ac:cxnSpMk id="145" creationId="{DD6B75E2-32E4-C22E-ADC7-75E0A1879277}"/>
          </ac:cxnSpMkLst>
        </pc:cxnChg>
      </pc:sldChg>
      <pc:sldChg chg="addSp delSp modSp mod modTransition modAnim modNotesTx">
        <pc:chgData name="Bullinger, Marvin" userId="5b54ce5a-dc89-476f-af33-5abd75d5b1e8" providerId="ADAL" clId="{B18DB96A-0F1B-4B04-B169-68D0DF683527}" dt="2024-08-13T21:58:02.989" v="27993" actId="20577"/>
        <pc:sldMkLst>
          <pc:docMk/>
          <pc:sldMk cId="4234233811" sldId="611"/>
        </pc:sldMkLst>
        <pc:spChg chg="add mod">
          <ac:chgData name="Bullinger, Marvin" userId="5b54ce5a-dc89-476f-af33-5abd75d5b1e8" providerId="ADAL" clId="{B18DB96A-0F1B-4B04-B169-68D0DF683527}" dt="2024-08-13T15:07:34.651" v="26488" actId="1076"/>
          <ac:spMkLst>
            <pc:docMk/>
            <pc:sldMk cId="4234233811" sldId="611"/>
            <ac:spMk id="3" creationId="{BB0CBB08-9A0E-EAE6-EDE6-BFB1B824B2A1}"/>
          </ac:spMkLst>
        </pc:spChg>
        <pc:spChg chg="add del mod">
          <ac:chgData name="Bullinger, Marvin" userId="5b54ce5a-dc89-476f-af33-5abd75d5b1e8" providerId="ADAL" clId="{B18DB96A-0F1B-4B04-B169-68D0DF683527}" dt="2024-08-09T05:23:13.908" v="10383" actId="478"/>
          <ac:spMkLst>
            <pc:docMk/>
            <pc:sldMk cId="4234233811" sldId="611"/>
            <ac:spMk id="3" creationId="{BCC2172E-C37A-F206-BA7E-9B44F2BFF636}"/>
          </ac:spMkLst>
        </pc:spChg>
        <pc:spChg chg="add mod">
          <ac:chgData name="Bullinger, Marvin" userId="5b54ce5a-dc89-476f-af33-5abd75d5b1e8" providerId="ADAL" clId="{B18DB96A-0F1B-4B04-B169-68D0DF683527}" dt="2024-08-13T15:08:01.729" v="26511" actId="1035"/>
          <ac:spMkLst>
            <pc:docMk/>
            <pc:sldMk cId="4234233811" sldId="611"/>
            <ac:spMk id="5" creationId="{EB4DE20B-EF75-B90B-8A71-0B272EACA315}"/>
          </ac:spMkLst>
        </pc:spChg>
        <pc:spChg chg="mod">
          <ac:chgData name="Bullinger, Marvin" userId="5b54ce5a-dc89-476f-af33-5abd75d5b1e8" providerId="ADAL" clId="{B18DB96A-0F1B-4B04-B169-68D0DF683527}" dt="2024-08-06T15:29:02.749" v="5890" actId="20577"/>
          <ac:spMkLst>
            <pc:docMk/>
            <pc:sldMk cId="4234233811" sldId="611"/>
            <ac:spMk id="12" creationId="{20E95957-77AD-CD09-C8EE-24130532DD52}"/>
          </ac:spMkLst>
        </pc:spChg>
        <pc:spChg chg="mod">
          <ac:chgData name="Bullinger, Marvin" userId="5b54ce5a-dc89-476f-af33-5abd75d5b1e8" providerId="ADAL" clId="{B18DB96A-0F1B-4B04-B169-68D0DF683527}" dt="2024-08-10T13:08:21.378" v="12080" actId="790"/>
          <ac:spMkLst>
            <pc:docMk/>
            <pc:sldMk cId="4234233811" sldId="611"/>
            <ac:spMk id="14" creationId="{1C8B4A94-EF3A-36D5-3A6A-3236027E42A9}"/>
          </ac:spMkLst>
        </pc:spChg>
        <pc:graphicFrameChg chg="add mod modGraphic">
          <ac:chgData name="Bullinger, Marvin" userId="5b54ce5a-dc89-476f-af33-5abd75d5b1e8" providerId="ADAL" clId="{B18DB96A-0F1B-4B04-B169-68D0DF683527}" dt="2024-08-13T15:07:39.440" v="26490" actId="1035"/>
          <ac:graphicFrameMkLst>
            <pc:docMk/>
            <pc:sldMk cId="4234233811" sldId="611"/>
            <ac:graphicFrameMk id="2" creationId="{AE92A503-6BDA-CAD1-9F69-EBD9F435A1D2}"/>
          </ac:graphicFrameMkLst>
        </pc:graphicFrameChg>
        <pc:graphicFrameChg chg="del mod modGraphic">
          <ac:chgData name="Bullinger, Marvin" userId="5b54ce5a-dc89-476f-af33-5abd75d5b1e8" providerId="ADAL" clId="{B18DB96A-0F1B-4B04-B169-68D0DF683527}" dt="2024-08-07T09:38:18.299" v="6791" actId="478"/>
          <ac:graphicFrameMkLst>
            <pc:docMk/>
            <pc:sldMk cId="4234233811" sldId="611"/>
            <ac:graphicFrameMk id="3" creationId="{0C25933F-4745-B261-5E12-BFE12214E3B8}"/>
          </ac:graphicFrameMkLst>
        </pc:graphicFrameChg>
        <pc:graphicFrameChg chg="add del modGraphic">
          <ac:chgData name="Bullinger, Marvin" userId="5b54ce5a-dc89-476f-af33-5abd75d5b1e8" providerId="ADAL" clId="{B18DB96A-0F1B-4B04-B169-68D0DF683527}" dt="2024-08-08T12:46:26.806" v="8939" actId="478"/>
          <ac:graphicFrameMkLst>
            <pc:docMk/>
            <pc:sldMk cId="4234233811" sldId="611"/>
            <ac:graphicFrameMk id="9" creationId="{20CFBC12-6CD5-9E4A-3681-03EECE4E3CFD}"/>
          </ac:graphicFrameMkLst>
        </pc:graphicFrameChg>
        <pc:graphicFrameChg chg="add del mod modGraphic">
          <ac:chgData name="Bullinger, Marvin" userId="5b54ce5a-dc89-476f-af33-5abd75d5b1e8" providerId="ADAL" clId="{B18DB96A-0F1B-4B04-B169-68D0DF683527}" dt="2024-08-08T13:38:54.870" v="8971" actId="478"/>
          <ac:graphicFrameMkLst>
            <pc:docMk/>
            <pc:sldMk cId="4234233811" sldId="611"/>
            <ac:graphicFrameMk id="10" creationId="{17D8EAC8-5388-5E05-8753-BB2BBC9A4890}"/>
          </ac:graphicFrameMkLst>
        </pc:graphicFrameChg>
        <pc:graphicFrameChg chg="add del modGraphic">
          <ac:chgData name="Bullinger, Marvin" userId="5b54ce5a-dc89-476f-af33-5abd75d5b1e8" providerId="ADAL" clId="{B18DB96A-0F1B-4B04-B169-68D0DF683527}" dt="2024-08-08T13:39:06.720" v="8973" actId="478"/>
          <ac:graphicFrameMkLst>
            <pc:docMk/>
            <pc:sldMk cId="4234233811" sldId="611"/>
            <ac:graphicFrameMk id="11" creationId="{51AE1C10-92D8-7F6F-770E-F93D2F616C4B}"/>
          </ac:graphicFrameMkLst>
        </pc:graphicFrameChg>
        <pc:graphicFrameChg chg="add mod modGraphic">
          <ac:chgData name="Bullinger, Marvin" userId="5b54ce5a-dc89-476f-af33-5abd75d5b1e8" providerId="ADAL" clId="{B18DB96A-0F1B-4B04-B169-68D0DF683527}" dt="2024-08-12T07:42:20.518" v="24759"/>
          <ac:graphicFrameMkLst>
            <pc:docMk/>
            <pc:sldMk cId="4234233811" sldId="611"/>
            <ac:graphicFrameMk id="13" creationId="{CD2DDB0A-95CD-CAAF-8F25-F548172C2782}"/>
          </ac:graphicFrameMkLst>
        </pc:graphicFrameChg>
        <pc:graphicFrameChg chg="add mod modGraphic">
          <ac:chgData name="Bullinger, Marvin" userId="5b54ce5a-dc89-476f-af33-5abd75d5b1e8" providerId="ADAL" clId="{B18DB96A-0F1B-4B04-B169-68D0DF683527}" dt="2024-08-12T07:42:17.218" v="24757"/>
          <ac:graphicFrameMkLst>
            <pc:docMk/>
            <pc:sldMk cId="4234233811" sldId="611"/>
            <ac:graphicFrameMk id="15" creationId="{016D69C2-6DC2-5A45-705A-8A5616084AC6}"/>
          </ac:graphicFrameMkLst>
        </pc:graphicFrameChg>
        <pc:picChg chg="add mod modCrop">
          <ac:chgData name="Bullinger, Marvin" userId="5b54ce5a-dc89-476f-af33-5abd75d5b1e8" providerId="ADAL" clId="{B18DB96A-0F1B-4B04-B169-68D0DF683527}" dt="2024-08-13T21:42:31.304" v="26568" actId="1037"/>
          <ac:picMkLst>
            <pc:docMk/>
            <pc:sldMk cId="4234233811" sldId="611"/>
            <ac:picMk id="4" creationId="{54331BFA-B9A1-3CD2-94A5-75D5F4C40863}"/>
          </ac:picMkLst>
        </pc:picChg>
        <pc:picChg chg="del">
          <ac:chgData name="Bullinger, Marvin" userId="5b54ce5a-dc89-476f-af33-5abd75d5b1e8" providerId="ADAL" clId="{B18DB96A-0F1B-4B04-B169-68D0DF683527}" dt="2024-08-08T12:46:03.796" v="8934" actId="478"/>
          <ac:picMkLst>
            <pc:docMk/>
            <pc:sldMk cId="4234233811" sldId="611"/>
            <ac:picMk id="5" creationId="{D2A96D26-B9DD-7EEB-FC88-E970F2BBD901}"/>
          </ac:picMkLst>
        </pc:picChg>
        <pc:picChg chg="add del mod">
          <ac:chgData name="Bullinger, Marvin" userId="5b54ce5a-dc89-476f-af33-5abd75d5b1e8" providerId="ADAL" clId="{B18DB96A-0F1B-4B04-B169-68D0DF683527}" dt="2024-08-13T21:41:49.263" v="26562" actId="478"/>
          <ac:picMkLst>
            <pc:docMk/>
            <pc:sldMk cId="4234233811" sldId="611"/>
            <ac:picMk id="7" creationId="{3C97DADE-21DB-93A3-4E25-2D50CE8A688F}"/>
          </ac:picMkLst>
        </pc:picChg>
        <pc:picChg chg="add del mod">
          <ac:chgData name="Bullinger, Marvin" userId="5b54ce5a-dc89-476f-af33-5abd75d5b1e8" providerId="ADAL" clId="{B18DB96A-0F1B-4B04-B169-68D0DF683527}" dt="2024-08-08T12:46:03.240" v="8933" actId="478"/>
          <ac:picMkLst>
            <pc:docMk/>
            <pc:sldMk cId="4234233811" sldId="611"/>
            <ac:picMk id="8" creationId="{0D78E215-6534-DE7D-E0C5-E9ABACBEB259}"/>
          </ac:picMkLst>
        </pc:picChg>
        <pc:picChg chg="add mod">
          <ac:chgData name="Bullinger, Marvin" userId="5b54ce5a-dc89-476f-af33-5abd75d5b1e8" providerId="ADAL" clId="{B18DB96A-0F1B-4B04-B169-68D0DF683527}" dt="2024-08-12T07:41:54.681" v="24748" actId="14100"/>
          <ac:picMkLst>
            <pc:docMk/>
            <pc:sldMk cId="4234233811" sldId="611"/>
            <ac:picMk id="1026" creationId="{EAF12A22-6780-2DA9-3C34-DBA50993CBA1}"/>
          </ac:picMkLst>
        </pc:picChg>
        <pc:picChg chg="add mod">
          <ac:chgData name="Bullinger, Marvin" userId="5b54ce5a-dc89-476f-af33-5abd75d5b1e8" providerId="ADAL" clId="{B18DB96A-0F1B-4B04-B169-68D0DF683527}" dt="2024-08-12T07:42:03.372" v="24753" actId="1076"/>
          <ac:picMkLst>
            <pc:docMk/>
            <pc:sldMk cId="4234233811" sldId="611"/>
            <ac:picMk id="1028" creationId="{865CDDDE-D882-4C31-F30C-7774E95561EC}"/>
          </ac:picMkLst>
        </pc:picChg>
      </pc:sldChg>
      <pc:sldChg chg="delSp del mod">
        <pc:chgData name="Bullinger, Marvin" userId="5b54ce5a-dc89-476f-af33-5abd75d5b1e8" providerId="ADAL" clId="{B18DB96A-0F1B-4B04-B169-68D0DF683527}" dt="2024-08-07T09:39:48.833" v="6824" actId="47"/>
        <pc:sldMkLst>
          <pc:docMk/>
          <pc:sldMk cId="3768756170" sldId="612"/>
        </pc:sldMkLst>
        <pc:graphicFrameChg chg="del">
          <ac:chgData name="Bullinger, Marvin" userId="5b54ce5a-dc89-476f-af33-5abd75d5b1e8" providerId="ADAL" clId="{B18DB96A-0F1B-4B04-B169-68D0DF683527}" dt="2024-08-05T15:16:28.096" v="74" actId="478"/>
          <ac:graphicFrameMkLst>
            <pc:docMk/>
            <pc:sldMk cId="3768756170" sldId="612"/>
            <ac:graphicFrameMk id="3" creationId="{0C25933F-4745-B261-5E12-BFE12214E3B8}"/>
          </ac:graphicFrameMkLst>
        </pc:graphicFrameChg>
      </pc:sldChg>
      <pc:sldChg chg="delSp del mod">
        <pc:chgData name="Bullinger, Marvin" userId="5b54ce5a-dc89-476f-af33-5abd75d5b1e8" providerId="ADAL" clId="{B18DB96A-0F1B-4B04-B169-68D0DF683527}" dt="2024-08-07T09:39:49.728" v="6825" actId="47"/>
        <pc:sldMkLst>
          <pc:docMk/>
          <pc:sldMk cId="3888348133" sldId="613"/>
        </pc:sldMkLst>
        <pc:graphicFrameChg chg="del">
          <ac:chgData name="Bullinger, Marvin" userId="5b54ce5a-dc89-476f-af33-5abd75d5b1e8" providerId="ADAL" clId="{B18DB96A-0F1B-4B04-B169-68D0DF683527}" dt="2024-08-05T15:16:24.502" v="72" actId="478"/>
          <ac:graphicFrameMkLst>
            <pc:docMk/>
            <pc:sldMk cId="3888348133" sldId="613"/>
            <ac:graphicFrameMk id="3" creationId="{0C25933F-4745-B261-5E12-BFE12214E3B8}"/>
          </ac:graphicFrameMkLst>
        </pc:graphicFrameChg>
      </pc:sldChg>
      <pc:sldChg chg="delSp del mod">
        <pc:chgData name="Bullinger, Marvin" userId="5b54ce5a-dc89-476f-af33-5abd75d5b1e8" providerId="ADAL" clId="{B18DB96A-0F1B-4B04-B169-68D0DF683527}" dt="2024-08-05T15:16:32.131" v="75" actId="47"/>
        <pc:sldMkLst>
          <pc:docMk/>
          <pc:sldMk cId="67794375" sldId="614"/>
        </pc:sldMkLst>
        <pc:graphicFrameChg chg="del">
          <ac:chgData name="Bullinger, Marvin" userId="5b54ce5a-dc89-476f-af33-5abd75d5b1e8" providerId="ADAL" clId="{B18DB96A-0F1B-4B04-B169-68D0DF683527}" dt="2024-08-05T15:16:26.425" v="73" actId="478"/>
          <ac:graphicFrameMkLst>
            <pc:docMk/>
            <pc:sldMk cId="67794375" sldId="614"/>
            <ac:graphicFrameMk id="3" creationId="{0C25933F-4745-B261-5E12-BFE12214E3B8}"/>
          </ac:graphicFrameMkLst>
        </pc:graphicFrameChg>
      </pc:sldChg>
      <pc:sldChg chg="addSp delSp modSp add del mod delAnim modShow">
        <pc:chgData name="Bullinger, Marvin" userId="5b54ce5a-dc89-476f-af33-5abd75d5b1e8" providerId="ADAL" clId="{B18DB96A-0F1B-4B04-B169-68D0DF683527}" dt="2024-08-13T15:08:12.479" v="26512" actId="729"/>
        <pc:sldMkLst>
          <pc:docMk/>
          <pc:sldMk cId="3672594058" sldId="614"/>
        </pc:sldMkLst>
        <pc:spChg chg="mod">
          <ac:chgData name="Bullinger, Marvin" userId="5b54ce5a-dc89-476f-af33-5abd75d5b1e8" providerId="ADAL" clId="{B18DB96A-0F1B-4B04-B169-68D0DF683527}" dt="2024-08-05T18:42:07.301" v="332" actId="20577"/>
          <ac:spMkLst>
            <pc:docMk/>
            <pc:sldMk cId="3672594058" sldId="614"/>
            <ac:spMk id="2" creationId="{1375951E-5070-F90A-F014-C6A305745F0F}"/>
          </ac:spMkLst>
        </pc:spChg>
        <pc:spChg chg="add mod">
          <ac:chgData name="Bullinger, Marvin" userId="5b54ce5a-dc89-476f-af33-5abd75d5b1e8" providerId="ADAL" clId="{B18DB96A-0F1B-4B04-B169-68D0DF683527}" dt="2024-08-09T06:01:19.055" v="10546" actId="12"/>
          <ac:spMkLst>
            <pc:docMk/>
            <pc:sldMk cId="3672594058" sldId="614"/>
            <ac:spMk id="3" creationId="{CA8DA996-7A9A-58BB-2380-9F838D5938CA}"/>
          </ac:spMkLst>
        </pc:spChg>
        <pc:spChg chg="add mod">
          <ac:chgData name="Bullinger, Marvin" userId="5b54ce5a-dc89-476f-af33-5abd75d5b1e8" providerId="ADAL" clId="{B18DB96A-0F1B-4B04-B169-68D0DF683527}" dt="2024-08-05T18:42:20.551" v="337" actId="478"/>
          <ac:spMkLst>
            <pc:docMk/>
            <pc:sldMk cId="3672594058" sldId="614"/>
            <ac:spMk id="4" creationId="{9BDAADBE-D02B-E1B6-F078-48A56ACD6DB3}"/>
          </ac:spMkLst>
        </pc:spChg>
        <pc:spChg chg="del">
          <ac:chgData name="Bullinger, Marvin" userId="5b54ce5a-dc89-476f-af33-5abd75d5b1e8" providerId="ADAL" clId="{B18DB96A-0F1B-4B04-B169-68D0DF683527}" dt="2024-08-09T06:01:02.914" v="10543" actId="478"/>
          <ac:spMkLst>
            <pc:docMk/>
            <pc:sldMk cId="3672594058" sldId="614"/>
            <ac:spMk id="5" creationId="{4E0BC829-F5D8-AAC4-0698-EF30927BF7E7}"/>
          </ac:spMkLst>
        </pc:spChg>
        <pc:spChg chg="add mod">
          <ac:chgData name="Bullinger, Marvin" userId="5b54ce5a-dc89-476f-af33-5abd75d5b1e8" providerId="ADAL" clId="{B18DB96A-0F1B-4B04-B169-68D0DF683527}" dt="2024-08-09T18:15:07.192" v="11145"/>
          <ac:spMkLst>
            <pc:docMk/>
            <pc:sldMk cId="3672594058" sldId="614"/>
            <ac:spMk id="7" creationId="{5DE4F6DB-C440-EC24-85B8-A011106C3056}"/>
          </ac:spMkLst>
        </pc:spChg>
        <pc:spChg chg="add mod">
          <ac:chgData name="Bullinger, Marvin" userId="5b54ce5a-dc89-476f-af33-5abd75d5b1e8" providerId="ADAL" clId="{B18DB96A-0F1B-4B04-B169-68D0DF683527}" dt="2024-08-09T06:02:10.336" v="10572"/>
          <ac:spMkLst>
            <pc:docMk/>
            <pc:sldMk cId="3672594058" sldId="614"/>
            <ac:spMk id="8" creationId="{63076C0D-2171-0815-DC3C-D92D8752921E}"/>
          </ac:spMkLst>
        </pc:spChg>
        <pc:spChg chg="del">
          <ac:chgData name="Bullinger, Marvin" userId="5b54ce5a-dc89-476f-af33-5abd75d5b1e8" providerId="ADAL" clId="{B18DB96A-0F1B-4B04-B169-68D0DF683527}" dt="2024-08-05T18:42:13.149" v="334" actId="478"/>
          <ac:spMkLst>
            <pc:docMk/>
            <pc:sldMk cId="3672594058" sldId="614"/>
            <ac:spMk id="12" creationId="{A6EB9284-2581-394A-0D00-6DCE52B03629}"/>
          </ac:spMkLst>
        </pc:spChg>
        <pc:spChg chg="del">
          <ac:chgData name="Bullinger, Marvin" userId="5b54ce5a-dc89-476f-af33-5abd75d5b1e8" providerId="ADAL" clId="{B18DB96A-0F1B-4B04-B169-68D0DF683527}" dt="2024-08-05T18:42:20.551" v="337" actId="478"/>
          <ac:spMkLst>
            <pc:docMk/>
            <pc:sldMk cId="3672594058" sldId="614"/>
            <ac:spMk id="13" creationId="{F6857405-FEA6-BD7C-0CAE-FFDA509031EA}"/>
          </ac:spMkLst>
        </pc:spChg>
        <pc:spChg chg="del">
          <ac:chgData name="Bullinger, Marvin" userId="5b54ce5a-dc89-476f-af33-5abd75d5b1e8" providerId="ADAL" clId="{B18DB96A-0F1B-4B04-B169-68D0DF683527}" dt="2024-08-05T18:42:13.149" v="334" actId="478"/>
          <ac:spMkLst>
            <pc:docMk/>
            <pc:sldMk cId="3672594058" sldId="614"/>
            <ac:spMk id="14" creationId="{6B2D2896-4238-6E45-4C1E-48434F66FD0B}"/>
          </ac:spMkLst>
        </pc:spChg>
        <pc:spChg chg="del">
          <ac:chgData name="Bullinger, Marvin" userId="5b54ce5a-dc89-476f-af33-5abd75d5b1e8" providerId="ADAL" clId="{B18DB96A-0F1B-4B04-B169-68D0DF683527}" dt="2024-08-05T18:42:13.149" v="334" actId="478"/>
          <ac:spMkLst>
            <pc:docMk/>
            <pc:sldMk cId="3672594058" sldId="614"/>
            <ac:spMk id="16" creationId="{CA3710F3-DA7B-6C00-6934-4B6A42EA498A}"/>
          </ac:spMkLst>
        </pc:spChg>
        <pc:spChg chg="del mod">
          <ac:chgData name="Bullinger, Marvin" userId="5b54ce5a-dc89-476f-af33-5abd75d5b1e8" providerId="ADAL" clId="{B18DB96A-0F1B-4B04-B169-68D0DF683527}" dt="2024-08-05T18:42:16.616" v="336" actId="478"/>
          <ac:spMkLst>
            <pc:docMk/>
            <pc:sldMk cId="3672594058" sldId="614"/>
            <ac:spMk id="17" creationId="{96F09516-6E9D-AB92-4DF6-7E35410DBB7F}"/>
          </ac:spMkLst>
        </pc:spChg>
        <pc:picChg chg="del">
          <ac:chgData name="Bullinger, Marvin" userId="5b54ce5a-dc89-476f-af33-5abd75d5b1e8" providerId="ADAL" clId="{B18DB96A-0F1B-4B04-B169-68D0DF683527}" dt="2024-08-05T18:42:09.479" v="333" actId="478"/>
          <ac:picMkLst>
            <pc:docMk/>
            <pc:sldMk cId="3672594058" sldId="614"/>
            <ac:picMk id="10" creationId="{82EFCFD7-F4DB-3A4B-D77B-3E71B6B4921A}"/>
          </ac:picMkLst>
        </pc:picChg>
        <pc:picChg chg="add">
          <ac:chgData name="Bullinger, Marvin" userId="5b54ce5a-dc89-476f-af33-5abd75d5b1e8" providerId="ADAL" clId="{B18DB96A-0F1B-4B04-B169-68D0DF683527}" dt="2024-08-09T06:02:50.302" v="10589"/>
          <ac:picMkLst>
            <pc:docMk/>
            <pc:sldMk cId="3672594058" sldId="614"/>
            <ac:picMk id="1026" creationId="{5BB136EB-3E1C-CF01-9083-57289480B182}"/>
          </ac:picMkLst>
        </pc:picChg>
      </pc:sldChg>
      <pc:sldChg chg="addSp delSp modSp new mod ord modClrScheme chgLayout modNotesTx">
        <pc:chgData name="Bullinger, Marvin" userId="5b54ce5a-dc89-476f-af33-5abd75d5b1e8" providerId="ADAL" clId="{B18DB96A-0F1B-4B04-B169-68D0DF683527}" dt="2024-08-12T07:28:33.501" v="24398" actId="20577"/>
        <pc:sldMkLst>
          <pc:docMk/>
          <pc:sldMk cId="4285173817" sldId="615"/>
        </pc:sldMkLst>
        <pc:spChg chg="add mod">
          <ac:chgData name="Bullinger, Marvin" userId="5b54ce5a-dc89-476f-af33-5abd75d5b1e8" providerId="ADAL" clId="{B18DB96A-0F1B-4B04-B169-68D0DF683527}" dt="2024-08-09T06:03:09.851" v="10593" actId="20577"/>
          <ac:spMkLst>
            <pc:docMk/>
            <pc:sldMk cId="4285173817" sldId="615"/>
            <ac:spMk id="2" creationId="{A8BBB4B2-D866-9421-20FB-CA52817E33E4}"/>
          </ac:spMkLst>
        </pc:spChg>
        <pc:spChg chg="del">
          <ac:chgData name="Bullinger, Marvin" userId="5b54ce5a-dc89-476f-af33-5abd75d5b1e8" providerId="ADAL" clId="{B18DB96A-0F1B-4B04-B169-68D0DF683527}" dt="2024-08-05T18:47:33.740" v="402" actId="700"/>
          <ac:spMkLst>
            <pc:docMk/>
            <pc:sldMk cId="4285173817" sldId="615"/>
            <ac:spMk id="2" creationId="{FD436694-AB23-BAA9-8FED-02DCB52502C3}"/>
          </ac:spMkLst>
        </pc:spChg>
        <pc:spChg chg="del">
          <ac:chgData name="Bullinger, Marvin" userId="5b54ce5a-dc89-476f-af33-5abd75d5b1e8" providerId="ADAL" clId="{B18DB96A-0F1B-4B04-B169-68D0DF683527}" dt="2024-08-05T18:47:33.740" v="402" actId="700"/>
          <ac:spMkLst>
            <pc:docMk/>
            <pc:sldMk cId="4285173817" sldId="615"/>
            <ac:spMk id="3" creationId="{3E39F25C-3EAB-B831-5051-E8A3C51F540B}"/>
          </ac:spMkLst>
        </pc:spChg>
        <pc:spChg chg="del">
          <ac:chgData name="Bullinger, Marvin" userId="5b54ce5a-dc89-476f-af33-5abd75d5b1e8" providerId="ADAL" clId="{B18DB96A-0F1B-4B04-B169-68D0DF683527}" dt="2024-08-05T18:47:33.740" v="402" actId="700"/>
          <ac:spMkLst>
            <pc:docMk/>
            <pc:sldMk cId="4285173817" sldId="615"/>
            <ac:spMk id="4" creationId="{5E6A9998-5E9D-4F7A-E869-4FF85114FF52}"/>
          </ac:spMkLst>
        </pc:spChg>
        <pc:spChg chg="add del mod">
          <ac:chgData name="Bullinger, Marvin" userId="5b54ce5a-dc89-476f-af33-5abd75d5b1e8" providerId="ADAL" clId="{B18DB96A-0F1B-4B04-B169-68D0DF683527}" dt="2024-08-09T05:22:07.009" v="10346" actId="478"/>
          <ac:spMkLst>
            <pc:docMk/>
            <pc:sldMk cId="4285173817" sldId="615"/>
            <ac:spMk id="4" creationId="{73E9A15D-D265-88E8-5394-7967E32C4EB9}"/>
          </ac:spMkLst>
        </pc:spChg>
        <pc:spChg chg="del">
          <ac:chgData name="Bullinger, Marvin" userId="5b54ce5a-dc89-476f-af33-5abd75d5b1e8" providerId="ADAL" clId="{B18DB96A-0F1B-4B04-B169-68D0DF683527}" dt="2024-08-05T18:47:33.740" v="402" actId="700"/>
          <ac:spMkLst>
            <pc:docMk/>
            <pc:sldMk cId="4285173817" sldId="615"/>
            <ac:spMk id="5" creationId="{EC01677C-934C-7978-F8AF-7B00926CB54E}"/>
          </ac:spMkLst>
        </pc:spChg>
        <pc:spChg chg="add del mod">
          <ac:chgData name="Bullinger, Marvin" userId="5b54ce5a-dc89-476f-af33-5abd75d5b1e8" providerId="ADAL" clId="{B18DB96A-0F1B-4B04-B169-68D0DF683527}" dt="2024-08-09T05:22:06.771" v="10345" actId="478"/>
          <ac:spMkLst>
            <pc:docMk/>
            <pc:sldMk cId="4285173817" sldId="615"/>
            <ac:spMk id="6" creationId="{2C669362-35C6-BC06-AE3E-7E6F5FADC378}"/>
          </ac:spMkLst>
        </pc:spChg>
        <pc:spChg chg="del">
          <ac:chgData name="Bullinger, Marvin" userId="5b54ce5a-dc89-476f-af33-5abd75d5b1e8" providerId="ADAL" clId="{B18DB96A-0F1B-4B04-B169-68D0DF683527}" dt="2024-08-05T18:47:33.740" v="402" actId="700"/>
          <ac:spMkLst>
            <pc:docMk/>
            <pc:sldMk cId="4285173817" sldId="615"/>
            <ac:spMk id="6" creationId="{E4AC6C9C-2D43-5C0C-4667-041807EA438D}"/>
          </ac:spMkLst>
        </pc:spChg>
        <pc:spChg chg="del">
          <ac:chgData name="Bullinger, Marvin" userId="5b54ce5a-dc89-476f-af33-5abd75d5b1e8" providerId="ADAL" clId="{B18DB96A-0F1B-4B04-B169-68D0DF683527}" dt="2024-08-05T18:47:33.740" v="402" actId="700"/>
          <ac:spMkLst>
            <pc:docMk/>
            <pc:sldMk cId="4285173817" sldId="615"/>
            <ac:spMk id="7" creationId="{38331FFA-32C5-7856-BDC2-D9EF3CC9909C}"/>
          </ac:spMkLst>
        </pc:spChg>
        <pc:spChg chg="del">
          <ac:chgData name="Bullinger, Marvin" userId="5b54ce5a-dc89-476f-af33-5abd75d5b1e8" providerId="ADAL" clId="{B18DB96A-0F1B-4B04-B169-68D0DF683527}" dt="2024-08-05T18:47:33.740" v="402" actId="700"/>
          <ac:spMkLst>
            <pc:docMk/>
            <pc:sldMk cId="4285173817" sldId="615"/>
            <ac:spMk id="8" creationId="{AE3FAB04-81AF-48F7-63D7-EC8558733CDC}"/>
          </ac:spMkLst>
        </pc:spChg>
        <pc:spChg chg="del">
          <ac:chgData name="Bullinger, Marvin" userId="5b54ce5a-dc89-476f-af33-5abd75d5b1e8" providerId="ADAL" clId="{B18DB96A-0F1B-4B04-B169-68D0DF683527}" dt="2024-08-05T18:47:33.740" v="402" actId="700"/>
          <ac:spMkLst>
            <pc:docMk/>
            <pc:sldMk cId="4285173817" sldId="615"/>
            <ac:spMk id="9" creationId="{F1E1ED2A-096E-DC5E-D74F-387EA30BC0C0}"/>
          </ac:spMkLst>
        </pc:spChg>
        <pc:spChg chg="del mod ord">
          <ac:chgData name="Bullinger, Marvin" userId="5b54ce5a-dc89-476f-af33-5abd75d5b1e8" providerId="ADAL" clId="{B18DB96A-0F1B-4B04-B169-68D0DF683527}" dt="2024-08-05T18:47:33.740" v="402" actId="700"/>
          <ac:spMkLst>
            <pc:docMk/>
            <pc:sldMk cId="4285173817" sldId="615"/>
            <ac:spMk id="10" creationId="{CC3D1479-4EEA-2650-A329-A980EBDB3508}"/>
          </ac:spMkLst>
        </pc:spChg>
        <pc:spChg chg="del mod ord">
          <ac:chgData name="Bullinger, Marvin" userId="5b54ce5a-dc89-476f-af33-5abd75d5b1e8" providerId="ADAL" clId="{B18DB96A-0F1B-4B04-B169-68D0DF683527}" dt="2024-08-05T18:47:33.740" v="402" actId="700"/>
          <ac:spMkLst>
            <pc:docMk/>
            <pc:sldMk cId="4285173817" sldId="615"/>
            <ac:spMk id="11" creationId="{786A6511-28DA-1251-977D-685D5490F1B5}"/>
          </ac:spMkLst>
        </pc:spChg>
        <pc:spChg chg="del mod ord">
          <ac:chgData name="Bullinger, Marvin" userId="5b54ce5a-dc89-476f-af33-5abd75d5b1e8" providerId="ADAL" clId="{B18DB96A-0F1B-4B04-B169-68D0DF683527}" dt="2024-08-05T18:47:33.740" v="402" actId="700"/>
          <ac:spMkLst>
            <pc:docMk/>
            <pc:sldMk cId="4285173817" sldId="615"/>
            <ac:spMk id="12" creationId="{6ADC402C-630F-793E-39E4-0CFAC575935B}"/>
          </ac:spMkLst>
        </pc:spChg>
        <pc:spChg chg="del">
          <ac:chgData name="Bullinger, Marvin" userId="5b54ce5a-dc89-476f-af33-5abd75d5b1e8" providerId="ADAL" clId="{B18DB96A-0F1B-4B04-B169-68D0DF683527}" dt="2024-08-05T18:47:33.740" v="402" actId="700"/>
          <ac:spMkLst>
            <pc:docMk/>
            <pc:sldMk cId="4285173817" sldId="615"/>
            <ac:spMk id="13" creationId="{70D6EA90-E1BC-2D59-5229-A6822AB01F4E}"/>
          </ac:spMkLst>
        </pc:spChg>
        <pc:spChg chg="del">
          <ac:chgData name="Bullinger, Marvin" userId="5b54ce5a-dc89-476f-af33-5abd75d5b1e8" providerId="ADAL" clId="{B18DB96A-0F1B-4B04-B169-68D0DF683527}" dt="2024-08-05T18:47:33.740" v="402" actId="700"/>
          <ac:spMkLst>
            <pc:docMk/>
            <pc:sldMk cId="4285173817" sldId="615"/>
            <ac:spMk id="14" creationId="{50464BD2-B8BC-0ED6-E28F-F4C11265BEDA}"/>
          </ac:spMkLst>
        </pc:spChg>
        <pc:spChg chg="del">
          <ac:chgData name="Bullinger, Marvin" userId="5b54ce5a-dc89-476f-af33-5abd75d5b1e8" providerId="ADAL" clId="{B18DB96A-0F1B-4B04-B169-68D0DF683527}" dt="2024-08-05T18:47:33.740" v="402" actId="700"/>
          <ac:spMkLst>
            <pc:docMk/>
            <pc:sldMk cId="4285173817" sldId="615"/>
            <ac:spMk id="15" creationId="{F5D828DB-6327-6408-E144-F764C58ABD91}"/>
          </ac:spMkLst>
        </pc:spChg>
        <pc:spChg chg="del">
          <ac:chgData name="Bullinger, Marvin" userId="5b54ce5a-dc89-476f-af33-5abd75d5b1e8" providerId="ADAL" clId="{B18DB96A-0F1B-4B04-B169-68D0DF683527}" dt="2024-08-05T18:47:33.740" v="402" actId="700"/>
          <ac:spMkLst>
            <pc:docMk/>
            <pc:sldMk cId="4285173817" sldId="615"/>
            <ac:spMk id="16" creationId="{50F387E0-C916-2E7D-0B50-C266C740C286}"/>
          </ac:spMkLst>
        </pc:spChg>
        <pc:spChg chg="del mod ord">
          <ac:chgData name="Bullinger, Marvin" userId="5b54ce5a-dc89-476f-af33-5abd75d5b1e8" providerId="ADAL" clId="{B18DB96A-0F1B-4B04-B169-68D0DF683527}" dt="2024-08-05T18:47:33.740" v="402" actId="700"/>
          <ac:spMkLst>
            <pc:docMk/>
            <pc:sldMk cId="4285173817" sldId="615"/>
            <ac:spMk id="17" creationId="{A621340D-B3E7-CCB3-8B51-F0E935B48865}"/>
          </ac:spMkLst>
        </pc:spChg>
        <pc:spChg chg="del">
          <ac:chgData name="Bullinger, Marvin" userId="5b54ce5a-dc89-476f-af33-5abd75d5b1e8" providerId="ADAL" clId="{B18DB96A-0F1B-4B04-B169-68D0DF683527}" dt="2024-08-05T18:47:33.740" v="402" actId="700"/>
          <ac:spMkLst>
            <pc:docMk/>
            <pc:sldMk cId="4285173817" sldId="615"/>
            <ac:spMk id="18" creationId="{0D2ABE3D-D993-6110-9B74-53C45003270A}"/>
          </ac:spMkLst>
        </pc:spChg>
        <pc:spChg chg="del">
          <ac:chgData name="Bullinger, Marvin" userId="5b54ce5a-dc89-476f-af33-5abd75d5b1e8" providerId="ADAL" clId="{B18DB96A-0F1B-4B04-B169-68D0DF683527}" dt="2024-08-05T18:47:33.740" v="402" actId="700"/>
          <ac:spMkLst>
            <pc:docMk/>
            <pc:sldMk cId="4285173817" sldId="615"/>
            <ac:spMk id="19" creationId="{CC4CEFAC-0321-45AA-DB74-620D3E3553BA}"/>
          </ac:spMkLst>
        </pc:spChg>
        <pc:spChg chg="del">
          <ac:chgData name="Bullinger, Marvin" userId="5b54ce5a-dc89-476f-af33-5abd75d5b1e8" providerId="ADAL" clId="{B18DB96A-0F1B-4B04-B169-68D0DF683527}" dt="2024-08-05T18:47:33.740" v="402" actId="700"/>
          <ac:spMkLst>
            <pc:docMk/>
            <pc:sldMk cId="4285173817" sldId="615"/>
            <ac:spMk id="20" creationId="{1246F35D-F7CE-0024-902E-3FCFF49568DD}"/>
          </ac:spMkLst>
        </pc:spChg>
        <pc:spChg chg="del">
          <ac:chgData name="Bullinger, Marvin" userId="5b54ce5a-dc89-476f-af33-5abd75d5b1e8" providerId="ADAL" clId="{B18DB96A-0F1B-4B04-B169-68D0DF683527}" dt="2024-08-05T18:47:33.740" v="402" actId="700"/>
          <ac:spMkLst>
            <pc:docMk/>
            <pc:sldMk cId="4285173817" sldId="615"/>
            <ac:spMk id="21" creationId="{95E66287-96FD-8925-0F6F-2C0B2D551A6D}"/>
          </ac:spMkLst>
        </pc:spChg>
        <pc:spChg chg="del">
          <ac:chgData name="Bullinger, Marvin" userId="5b54ce5a-dc89-476f-af33-5abd75d5b1e8" providerId="ADAL" clId="{B18DB96A-0F1B-4B04-B169-68D0DF683527}" dt="2024-08-05T18:47:33.740" v="402" actId="700"/>
          <ac:spMkLst>
            <pc:docMk/>
            <pc:sldMk cId="4285173817" sldId="615"/>
            <ac:spMk id="22" creationId="{C27EBE46-34C1-0829-F0A4-00FC5285D4F4}"/>
          </ac:spMkLst>
        </pc:spChg>
        <pc:spChg chg="del">
          <ac:chgData name="Bullinger, Marvin" userId="5b54ce5a-dc89-476f-af33-5abd75d5b1e8" providerId="ADAL" clId="{B18DB96A-0F1B-4B04-B169-68D0DF683527}" dt="2024-08-05T18:47:33.740" v="402" actId="700"/>
          <ac:spMkLst>
            <pc:docMk/>
            <pc:sldMk cId="4285173817" sldId="615"/>
            <ac:spMk id="23" creationId="{21F4FF74-FBAD-8039-895E-FAFED2E7A48F}"/>
          </ac:spMkLst>
        </pc:spChg>
        <pc:spChg chg="del">
          <ac:chgData name="Bullinger, Marvin" userId="5b54ce5a-dc89-476f-af33-5abd75d5b1e8" providerId="ADAL" clId="{B18DB96A-0F1B-4B04-B169-68D0DF683527}" dt="2024-08-05T18:47:33.740" v="402" actId="700"/>
          <ac:spMkLst>
            <pc:docMk/>
            <pc:sldMk cId="4285173817" sldId="615"/>
            <ac:spMk id="24" creationId="{022F8AA5-5701-0FBE-5D0E-7EF27C4F5E9E}"/>
          </ac:spMkLst>
        </pc:spChg>
        <pc:spChg chg="del">
          <ac:chgData name="Bullinger, Marvin" userId="5b54ce5a-dc89-476f-af33-5abd75d5b1e8" providerId="ADAL" clId="{B18DB96A-0F1B-4B04-B169-68D0DF683527}" dt="2024-08-05T18:47:33.740" v="402" actId="700"/>
          <ac:spMkLst>
            <pc:docMk/>
            <pc:sldMk cId="4285173817" sldId="615"/>
            <ac:spMk id="25" creationId="{2360AF58-D4EA-37AA-78A1-C0A07AA3C585}"/>
          </ac:spMkLst>
        </pc:spChg>
        <pc:spChg chg="mod ord modVis">
          <ac:chgData name="Bullinger, Marvin" userId="5b54ce5a-dc89-476f-af33-5abd75d5b1e8" providerId="ADAL" clId="{B18DB96A-0F1B-4B04-B169-68D0DF683527}" dt="2024-08-05T18:47:57.665" v="443" actId="26606"/>
          <ac:spMkLst>
            <pc:docMk/>
            <pc:sldMk cId="4285173817" sldId="615"/>
            <ac:spMk id="26" creationId="{A1AB7F07-CC0B-C5D7-587C-8C283E721379}"/>
          </ac:spMkLst>
        </pc:spChg>
        <pc:spChg chg="mod ord">
          <ac:chgData name="Bullinger, Marvin" userId="5b54ce5a-dc89-476f-af33-5abd75d5b1e8" providerId="ADAL" clId="{B18DB96A-0F1B-4B04-B169-68D0DF683527}" dt="2024-08-05T18:47:57.665" v="443" actId="26606"/>
          <ac:spMkLst>
            <pc:docMk/>
            <pc:sldMk cId="4285173817" sldId="615"/>
            <ac:spMk id="27" creationId="{020616F3-B4B0-61C7-088A-491AA0EA1111}"/>
          </ac:spMkLst>
        </pc:spChg>
        <pc:spChg chg="del">
          <ac:chgData name="Bullinger, Marvin" userId="5b54ce5a-dc89-476f-af33-5abd75d5b1e8" providerId="ADAL" clId="{B18DB96A-0F1B-4B04-B169-68D0DF683527}" dt="2024-08-05T18:47:33.740" v="402" actId="700"/>
          <ac:spMkLst>
            <pc:docMk/>
            <pc:sldMk cId="4285173817" sldId="615"/>
            <ac:spMk id="28" creationId="{87B1F9D6-0D70-BA81-536F-FC8285E0B6FF}"/>
          </ac:spMkLst>
        </pc:spChg>
        <pc:spChg chg="del">
          <ac:chgData name="Bullinger, Marvin" userId="5b54ce5a-dc89-476f-af33-5abd75d5b1e8" providerId="ADAL" clId="{B18DB96A-0F1B-4B04-B169-68D0DF683527}" dt="2024-08-05T18:47:33.740" v="402" actId="700"/>
          <ac:spMkLst>
            <pc:docMk/>
            <pc:sldMk cId="4285173817" sldId="615"/>
            <ac:spMk id="29" creationId="{E41FE277-ED69-27F6-0D12-256EE4F64474}"/>
          </ac:spMkLst>
        </pc:spChg>
        <pc:spChg chg="del">
          <ac:chgData name="Bullinger, Marvin" userId="5b54ce5a-dc89-476f-af33-5abd75d5b1e8" providerId="ADAL" clId="{B18DB96A-0F1B-4B04-B169-68D0DF683527}" dt="2024-08-05T18:47:33.740" v="402" actId="700"/>
          <ac:spMkLst>
            <pc:docMk/>
            <pc:sldMk cId="4285173817" sldId="615"/>
            <ac:spMk id="30" creationId="{0EBAF3F0-11C5-ABB4-ACA6-04F4BF9283A8}"/>
          </ac:spMkLst>
        </pc:spChg>
        <pc:spChg chg="del">
          <ac:chgData name="Bullinger, Marvin" userId="5b54ce5a-dc89-476f-af33-5abd75d5b1e8" providerId="ADAL" clId="{B18DB96A-0F1B-4B04-B169-68D0DF683527}" dt="2024-08-05T18:47:33.740" v="402" actId="700"/>
          <ac:spMkLst>
            <pc:docMk/>
            <pc:sldMk cId="4285173817" sldId="615"/>
            <ac:spMk id="31" creationId="{603CF476-9302-6FD2-70EB-0319B5DA66CD}"/>
          </ac:spMkLst>
        </pc:spChg>
        <pc:spChg chg="del">
          <ac:chgData name="Bullinger, Marvin" userId="5b54ce5a-dc89-476f-af33-5abd75d5b1e8" providerId="ADAL" clId="{B18DB96A-0F1B-4B04-B169-68D0DF683527}" dt="2024-08-05T18:47:33.740" v="402" actId="700"/>
          <ac:spMkLst>
            <pc:docMk/>
            <pc:sldMk cId="4285173817" sldId="615"/>
            <ac:spMk id="32" creationId="{F457CF30-0B1D-C1C6-8473-EF13536CD9D1}"/>
          </ac:spMkLst>
        </pc:spChg>
        <pc:spChg chg="del">
          <ac:chgData name="Bullinger, Marvin" userId="5b54ce5a-dc89-476f-af33-5abd75d5b1e8" providerId="ADAL" clId="{B18DB96A-0F1B-4B04-B169-68D0DF683527}" dt="2024-08-05T18:47:33.740" v="402" actId="700"/>
          <ac:spMkLst>
            <pc:docMk/>
            <pc:sldMk cId="4285173817" sldId="615"/>
            <ac:spMk id="33" creationId="{4A60586F-8FED-6F18-2485-9DB64C6D8A3C}"/>
          </ac:spMkLst>
        </pc:spChg>
        <pc:spChg chg="del">
          <ac:chgData name="Bullinger, Marvin" userId="5b54ce5a-dc89-476f-af33-5abd75d5b1e8" providerId="ADAL" clId="{B18DB96A-0F1B-4B04-B169-68D0DF683527}" dt="2024-08-05T18:47:33.740" v="402" actId="700"/>
          <ac:spMkLst>
            <pc:docMk/>
            <pc:sldMk cId="4285173817" sldId="615"/>
            <ac:spMk id="34" creationId="{0F5CE85F-8F52-572C-CB93-8CCF37E07E2C}"/>
          </ac:spMkLst>
        </pc:spChg>
        <pc:spChg chg="del">
          <ac:chgData name="Bullinger, Marvin" userId="5b54ce5a-dc89-476f-af33-5abd75d5b1e8" providerId="ADAL" clId="{B18DB96A-0F1B-4B04-B169-68D0DF683527}" dt="2024-08-05T18:47:33.740" v="402" actId="700"/>
          <ac:spMkLst>
            <pc:docMk/>
            <pc:sldMk cId="4285173817" sldId="615"/>
            <ac:spMk id="35" creationId="{63B27758-C0E1-38E0-5E79-B8FF5B199219}"/>
          </ac:spMkLst>
        </pc:spChg>
        <pc:spChg chg="del">
          <ac:chgData name="Bullinger, Marvin" userId="5b54ce5a-dc89-476f-af33-5abd75d5b1e8" providerId="ADAL" clId="{B18DB96A-0F1B-4B04-B169-68D0DF683527}" dt="2024-08-05T18:47:33.740" v="402" actId="700"/>
          <ac:spMkLst>
            <pc:docMk/>
            <pc:sldMk cId="4285173817" sldId="615"/>
            <ac:spMk id="36" creationId="{1F8690F8-3F40-420C-6C81-61792BC18BF5}"/>
          </ac:spMkLst>
        </pc:spChg>
        <pc:spChg chg="del">
          <ac:chgData name="Bullinger, Marvin" userId="5b54ce5a-dc89-476f-af33-5abd75d5b1e8" providerId="ADAL" clId="{B18DB96A-0F1B-4B04-B169-68D0DF683527}" dt="2024-08-05T18:47:33.740" v="402" actId="700"/>
          <ac:spMkLst>
            <pc:docMk/>
            <pc:sldMk cId="4285173817" sldId="615"/>
            <ac:spMk id="37" creationId="{9E0ED254-6F9F-5CAE-37C3-AFE471504F9E}"/>
          </ac:spMkLst>
        </pc:spChg>
        <pc:spChg chg="del">
          <ac:chgData name="Bullinger, Marvin" userId="5b54ce5a-dc89-476f-af33-5abd75d5b1e8" providerId="ADAL" clId="{B18DB96A-0F1B-4B04-B169-68D0DF683527}" dt="2024-08-05T18:47:33.740" v="402" actId="700"/>
          <ac:spMkLst>
            <pc:docMk/>
            <pc:sldMk cId="4285173817" sldId="615"/>
            <ac:spMk id="38" creationId="{5EC6B35B-A702-9D62-EF9E-81418E2643BE}"/>
          </ac:spMkLst>
        </pc:spChg>
        <pc:spChg chg="del">
          <ac:chgData name="Bullinger, Marvin" userId="5b54ce5a-dc89-476f-af33-5abd75d5b1e8" providerId="ADAL" clId="{B18DB96A-0F1B-4B04-B169-68D0DF683527}" dt="2024-08-05T18:47:33.740" v="402" actId="700"/>
          <ac:spMkLst>
            <pc:docMk/>
            <pc:sldMk cId="4285173817" sldId="615"/>
            <ac:spMk id="39" creationId="{050ECBE7-2DCA-5828-224F-D208C2DF0DE1}"/>
          </ac:spMkLst>
        </pc:spChg>
        <pc:spChg chg="del">
          <ac:chgData name="Bullinger, Marvin" userId="5b54ce5a-dc89-476f-af33-5abd75d5b1e8" providerId="ADAL" clId="{B18DB96A-0F1B-4B04-B169-68D0DF683527}" dt="2024-08-05T18:47:33.740" v="402" actId="700"/>
          <ac:spMkLst>
            <pc:docMk/>
            <pc:sldMk cId="4285173817" sldId="615"/>
            <ac:spMk id="40" creationId="{7EE8BAAA-58CB-7E28-7615-B076946FC67D}"/>
          </ac:spMkLst>
        </pc:spChg>
        <pc:spChg chg="del">
          <ac:chgData name="Bullinger, Marvin" userId="5b54ce5a-dc89-476f-af33-5abd75d5b1e8" providerId="ADAL" clId="{B18DB96A-0F1B-4B04-B169-68D0DF683527}" dt="2024-08-05T18:47:33.740" v="402" actId="700"/>
          <ac:spMkLst>
            <pc:docMk/>
            <pc:sldMk cId="4285173817" sldId="615"/>
            <ac:spMk id="41" creationId="{5D2F8427-C056-8296-66EF-4C9CB7C025EC}"/>
          </ac:spMkLst>
        </pc:spChg>
        <pc:spChg chg="add mod ord">
          <ac:chgData name="Bullinger, Marvin" userId="5b54ce5a-dc89-476f-af33-5abd75d5b1e8" providerId="ADAL" clId="{B18DB96A-0F1B-4B04-B169-68D0DF683527}" dt="2024-08-07T11:32:33.127" v="6878"/>
          <ac:spMkLst>
            <pc:docMk/>
            <pc:sldMk cId="4285173817" sldId="615"/>
            <ac:spMk id="42" creationId="{0CFE1A2A-45DA-FDCA-3B82-5D8E32D3005A}"/>
          </ac:spMkLst>
        </pc:spChg>
        <pc:spChg chg="add del mod ord">
          <ac:chgData name="Bullinger, Marvin" userId="5b54ce5a-dc89-476f-af33-5abd75d5b1e8" providerId="ADAL" clId="{B18DB96A-0F1B-4B04-B169-68D0DF683527}" dt="2024-08-05T18:47:57.665" v="443" actId="26606"/>
          <ac:spMkLst>
            <pc:docMk/>
            <pc:sldMk cId="4285173817" sldId="615"/>
            <ac:spMk id="43" creationId="{6A7FF6F4-A643-311B-8A36-1E2070558D93}"/>
          </ac:spMkLst>
        </pc:spChg>
        <pc:spChg chg="add del mod ord">
          <ac:chgData name="Bullinger, Marvin" userId="5b54ce5a-dc89-476f-af33-5abd75d5b1e8" providerId="ADAL" clId="{B18DB96A-0F1B-4B04-B169-68D0DF683527}" dt="2024-08-05T18:47:57.665" v="443" actId="26606"/>
          <ac:spMkLst>
            <pc:docMk/>
            <pc:sldMk cId="4285173817" sldId="615"/>
            <ac:spMk id="44" creationId="{2846372A-73FE-C843-48A5-B4A9447D5464}"/>
          </ac:spMkLst>
        </pc:spChg>
        <pc:spChg chg="add del mod ord">
          <ac:chgData name="Bullinger, Marvin" userId="5b54ce5a-dc89-476f-af33-5abd75d5b1e8" providerId="ADAL" clId="{B18DB96A-0F1B-4B04-B169-68D0DF683527}" dt="2024-08-05T18:47:57.665" v="443" actId="26606"/>
          <ac:spMkLst>
            <pc:docMk/>
            <pc:sldMk cId="4285173817" sldId="615"/>
            <ac:spMk id="45" creationId="{9193E72D-02A1-E137-22F9-CB65AEA0DA8C}"/>
          </ac:spMkLst>
        </pc:spChg>
        <pc:spChg chg="add del mod">
          <ac:chgData name="Bullinger, Marvin" userId="5b54ce5a-dc89-476f-af33-5abd75d5b1e8" providerId="ADAL" clId="{B18DB96A-0F1B-4B04-B169-68D0DF683527}" dt="2024-08-09T05:51:14.304" v="10446" actId="790"/>
          <ac:spMkLst>
            <pc:docMk/>
            <pc:sldMk cId="4285173817" sldId="615"/>
            <ac:spMk id="51" creationId="{DA7C14C1-7E68-E574-83EA-DFB9CBF08B3A}"/>
          </ac:spMkLst>
        </pc:spChg>
        <pc:spChg chg="add del mod">
          <ac:chgData name="Bullinger, Marvin" userId="5b54ce5a-dc89-476f-af33-5abd75d5b1e8" providerId="ADAL" clId="{B18DB96A-0F1B-4B04-B169-68D0DF683527}" dt="2024-08-11T14:00:30.629" v="12750" actId="20577"/>
          <ac:spMkLst>
            <pc:docMk/>
            <pc:sldMk cId="4285173817" sldId="615"/>
            <ac:spMk id="53" creationId="{1A421979-60A4-AC49-6BCE-A037C04E9CEA}"/>
          </ac:spMkLst>
        </pc:spChg>
        <pc:picChg chg="add mod modCrop">
          <ac:chgData name="Bullinger, Marvin" userId="5b54ce5a-dc89-476f-af33-5abd75d5b1e8" providerId="ADAL" clId="{B18DB96A-0F1B-4B04-B169-68D0DF683527}" dt="2024-08-06T09:45:06.115" v="2213" actId="1036"/>
          <ac:picMkLst>
            <pc:docMk/>
            <pc:sldMk cId="4285173817" sldId="615"/>
            <ac:picMk id="46" creationId="{FCB4A4A4-715B-E861-7775-B0A25F4401BF}"/>
          </ac:picMkLst>
        </pc:picChg>
      </pc:sldChg>
      <pc:sldChg chg="addSp delSp modSp new del mod modClrScheme delAnim modAnim chgLayout">
        <pc:chgData name="Bullinger, Marvin" userId="5b54ce5a-dc89-476f-af33-5abd75d5b1e8" providerId="ADAL" clId="{B18DB96A-0F1B-4B04-B169-68D0DF683527}" dt="2024-08-09T05:50:54.005" v="10445" actId="47"/>
        <pc:sldMkLst>
          <pc:docMk/>
          <pc:sldMk cId="2742629027" sldId="616"/>
        </pc:sldMkLst>
        <pc:spChg chg="del">
          <ac:chgData name="Bullinger, Marvin" userId="5b54ce5a-dc89-476f-af33-5abd75d5b1e8" providerId="ADAL" clId="{B18DB96A-0F1B-4B04-B169-68D0DF683527}" dt="2024-08-05T18:55:03.210" v="832" actId="700"/>
          <ac:spMkLst>
            <pc:docMk/>
            <pc:sldMk cId="2742629027" sldId="616"/>
            <ac:spMk id="2" creationId="{937E044B-0A3A-BAF0-C8F9-2CC673BBFCD0}"/>
          </ac:spMkLst>
        </pc:spChg>
        <pc:spChg chg="add mod">
          <ac:chgData name="Bullinger, Marvin" userId="5b54ce5a-dc89-476f-af33-5abd75d5b1e8" providerId="ADAL" clId="{B18DB96A-0F1B-4B04-B169-68D0DF683527}" dt="2024-08-08T22:25:24.187" v="10215" actId="20577"/>
          <ac:spMkLst>
            <pc:docMk/>
            <pc:sldMk cId="2742629027" sldId="616"/>
            <ac:spMk id="2" creationId="{BF9960AA-2994-697A-69B6-39B77BCFB44A}"/>
          </ac:spMkLst>
        </pc:spChg>
        <pc:spChg chg="add del mod">
          <ac:chgData name="Bullinger, Marvin" userId="5b54ce5a-dc89-476f-af33-5abd75d5b1e8" providerId="ADAL" clId="{B18DB96A-0F1B-4B04-B169-68D0DF683527}" dt="2024-08-07T11:47:13.601" v="6933" actId="478"/>
          <ac:spMkLst>
            <pc:docMk/>
            <pc:sldMk cId="2742629027" sldId="616"/>
            <ac:spMk id="3" creationId="{4BD3576E-EDE1-0C5C-4FC1-3F6518FC12AC}"/>
          </ac:spMkLst>
        </pc:spChg>
        <pc:spChg chg="del">
          <ac:chgData name="Bullinger, Marvin" userId="5b54ce5a-dc89-476f-af33-5abd75d5b1e8" providerId="ADAL" clId="{B18DB96A-0F1B-4B04-B169-68D0DF683527}" dt="2024-08-05T18:55:03.210" v="832" actId="700"/>
          <ac:spMkLst>
            <pc:docMk/>
            <pc:sldMk cId="2742629027" sldId="616"/>
            <ac:spMk id="3" creationId="{C00843FF-9CEC-CF1B-AC0A-B496281CF271}"/>
          </ac:spMkLst>
        </pc:spChg>
        <pc:spChg chg="add mod">
          <ac:chgData name="Bullinger, Marvin" userId="5b54ce5a-dc89-476f-af33-5abd75d5b1e8" providerId="ADAL" clId="{B18DB96A-0F1B-4B04-B169-68D0DF683527}" dt="2024-08-06T12:17:26.020" v="4417"/>
          <ac:spMkLst>
            <pc:docMk/>
            <pc:sldMk cId="2742629027" sldId="616"/>
            <ac:spMk id="4" creationId="{0669C75A-930A-5BC7-6674-4640DCF0FD96}"/>
          </ac:spMkLst>
        </pc:spChg>
        <pc:spChg chg="del">
          <ac:chgData name="Bullinger, Marvin" userId="5b54ce5a-dc89-476f-af33-5abd75d5b1e8" providerId="ADAL" clId="{B18DB96A-0F1B-4B04-B169-68D0DF683527}" dt="2024-08-05T18:55:03.210" v="832" actId="700"/>
          <ac:spMkLst>
            <pc:docMk/>
            <pc:sldMk cId="2742629027" sldId="616"/>
            <ac:spMk id="4" creationId="{7141A5A2-27A1-CD83-06D6-F0176568CE69}"/>
          </ac:spMkLst>
        </pc:spChg>
        <pc:spChg chg="add mod">
          <ac:chgData name="Bullinger, Marvin" userId="5b54ce5a-dc89-476f-af33-5abd75d5b1e8" providerId="ADAL" clId="{B18DB96A-0F1B-4B04-B169-68D0DF683527}" dt="2024-08-08T22:25:12.251" v="10205" actId="20577"/>
          <ac:spMkLst>
            <pc:docMk/>
            <pc:sldMk cId="2742629027" sldId="616"/>
            <ac:spMk id="4" creationId="{AEF19D08-7DC3-30BA-15C6-32717B763231}"/>
          </ac:spMkLst>
        </pc:spChg>
        <pc:spChg chg="add mod">
          <ac:chgData name="Bullinger, Marvin" userId="5b54ce5a-dc89-476f-af33-5abd75d5b1e8" providerId="ADAL" clId="{B18DB96A-0F1B-4B04-B169-68D0DF683527}" dt="2024-08-08T22:25:17.418" v="10209" actId="20577"/>
          <ac:spMkLst>
            <pc:docMk/>
            <pc:sldMk cId="2742629027" sldId="616"/>
            <ac:spMk id="5" creationId="{20F7DDB0-A0A4-3BF0-680B-74728A0FB70C}"/>
          </ac:spMkLst>
        </pc:spChg>
        <pc:spChg chg="del">
          <ac:chgData name="Bullinger, Marvin" userId="5b54ce5a-dc89-476f-af33-5abd75d5b1e8" providerId="ADAL" clId="{B18DB96A-0F1B-4B04-B169-68D0DF683527}" dt="2024-08-05T18:55:03.210" v="832" actId="700"/>
          <ac:spMkLst>
            <pc:docMk/>
            <pc:sldMk cId="2742629027" sldId="616"/>
            <ac:spMk id="5" creationId="{A56F3963-F3DD-9169-34FF-41F0E14E3B42}"/>
          </ac:spMkLst>
        </pc:spChg>
        <pc:spChg chg="del">
          <ac:chgData name="Bullinger, Marvin" userId="5b54ce5a-dc89-476f-af33-5abd75d5b1e8" providerId="ADAL" clId="{B18DB96A-0F1B-4B04-B169-68D0DF683527}" dt="2024-08-05T18:55:03.210" v="832" actId="700"/>
          <ac:spMkLst>
            <pc:docMk/>
            <pc:sldMk cId="2742629027" sldId="616"/>
            <ac:spMk id="6" creationId="{06E282DA-BB06-01DC-1279-1F4F4945B57B}"/>
          </ac:spMkLst>
        </pc:spChg>
        <pc:spChg chg="del">
          <ac:chgData name="Bullinger, Marvin" userId="5b54ce5a-dc89-476f-af33-5abd75d5b1e8" providerId="ADAL" clId="{B18DB96A-0F1B-4B04-B169-68D0DF683527}" dt="2024-08-05T18:55:03.210" v="832" actId="700"/>
          <ac:spMkLst>
            <pc:docMk/>
            <pc:sldMk cId="2742629027" sldId="616"/>
            <ac:spMk id="7" creationId="{0D73884B-1728-ACC9-0AFA-DE08F6A70C9E}"/>
          </ac:spMkLst>
        </pc:spChg>
        <pc:spChg chg="del">
          <ac:chgData name="Bullinger, Marvin" userId="5b54ce5a-dc89-476f-af33-5abd75d5b1e8" providerId="ADAL" clId="{B18DB96A-0F1B-4B04-B169-68D0DF683527}" dt="2024-08-05T18:55:03.210" v="832" actId="700"/>
          <ac:spMkLst>
            <pc:docMk/>
            <pc:sldMk cId="2742629027" sldId="616"/>
            <ac:spMk id="8" creationId="{179E4425-F5DF-FB93-0F49-85BCB7E7568F}"/>
          </ac:spMkLst>
        </pc:spChg>
        <pc:spChg chg="del">
          <ac:chgData name="Bullinger, Marvin" userId="5b54ce5a-dc89-476f-af33-5abd75d5b1e8" providerId="ADAL" clId="{B18DB96A-0F1B-4B04-B169-68D0DF683527}" dt="2024-08-05T18:55:03.210" v="832" actId="700"/>
          <ac:spMkLst>
            <pc:docMk/>
            <pc:sldMk cId="2742629027" sldId="616"/>
            <ac:spMk id="9" creationId="{E96296FD-DD99-490A-1D85-0090FE593F3B}"/>
          </ac:spMkLst>
        </pc:spChg>
        <pc:spChg chg="del mod ord">
          <ac:chgData name="Bullinger, Marvin" userId="5b54ce5a-dc89-476f-af33-5abd75d5b1e8" providerId="ADAL" clId="{B18DB96A-0F1B-4B04-B169-68D0DF683527}" dt="2024-08-05T18:55:03.210" v="832" actId="700"/>
          <ac:spMkLst>
            <pc:docMk/>
            <pc:sldMk cId="2742629027" sldId="616"/>
            <ac:spMk id="10" creationId="{16DE9BA1-B97F-2DD0-D370-CE1DCCF63DDE}"/>
          </ac:spMkLst>
        </pc:spChg>
        <pc:spChg chg="del mod ord">
          <ac:chgData name="Bullinger, Marvin" userId="5b54ce5a-dc89-476f-af33-5abd75d5b1e8" providerId="ADAL" clId="{B18DB96A-0F1B-4B04-B169-68D0DF683527}" dt="2024-08-05T18:55:03.210" v="832" actId="700"/>
          <ac:spMkLst>
            <pc:docMk/>
            <pc:sldMk cId="2742629027" sldId="616"/>
            <ac:spMk id="11" creationId="{8AC08297-D72F-DEEA-9F19-B98280AA9F99}"/>
          </ac:spMkLst>
        </pc:spChg>
        <pc:spChg chg="del">
          <ac:chgData name="Bullinger, Marvin" userId="5b54ce5a-dc89-476f-af33-5abd75d5b1e8" providerId="ADAL" clId="{B18DB96A-0F1B-4B04-B169-68D0DF683527}" dt="2024-08-05T18:55:03.210" v="832" actId="700"/>
          <ac:spMkLst>
            <pc:docMk/>
            <pc:sldMk cId="2742629027" sldId="616"/>
            <ac:spMk id="12" creationId="{57FCA541-34FE-6503-5786-42EA2CF51E32}"/>
          </ac:spMkLst>
        </pc:spChg>
        <pc:spChg chg="del">
          <ac:chgData name="Bullinger, Marvin" userId="5b54ce5a-dc89-476f-af33-5abd75d5b1e8" providerId="ADAL" clId="{B18DB96A-0F1B-4B04-B169-68D0DF683527}" dt="2024-08-05T18:55:03.210" v="832" actId="700"/>
          <ac:spMkLst>
            <pc:docMk/>
            <pc:sldMk cId="2742629027" sldId="616"/>
            <ac:spMk id="13" creationId="{412997EC-887C-9FF3-2659-CA43392226B4}"/>
          </ac:spMkLst>
        </pc:spChg>
        <pc:spChg chg="del">
          <ac:chgData name="Bullinger, Marvin" userId="5b54ce5a-dc89-476f-af33-5abd75d5b1e8" providerId="ADAL" clId="{B18DB96A-0F1B-4B04-B169-68D0DF683527}" dt="2024-08-05T18:55:03.210" v="832" actId="700"/>
          <ac:spMkLst>
            <pc:docMk/>
            <pc:sldMk cId="2742629027" sldId="616"/>
            <ac:spMk id="14" creationId="{2BFDDAAF-AD04-748E-F056-EA3FB81DAA91}"/>
          </ac:spMkLst>
        </pc:spChg>
        <pc:spChg chg="del">
          <ac:chgData name="Bullinger, Marvin" userId="5b54ce5a-dc89-476f-af33-5abd75d5b1e8" providerId="ADAL" clId="{B18DB96A-0F1B-4B04-B169-68D0DF683527}" dt="2024-08-05T18:55:03.210" v="832" actId="700"/>
          <ac:spMkLst>
            <pc:docMk/>
            <pc:sldMk cId="2742629027" sldId="616"/>
            <ac:spMk id="15" creationId="{18281CFE-EB8C-805F-4078-D3E6F1C9405D}"/>
          </ac:spMkLst>
        </pc:spChg>
        <pc:spChg chg="del">
          <ac:chgData name="Bullinger, Marvin" userId="5b54ce5a-dc89-476f-af33-5abd75d5b1e8" providerId="ADAL" clId="{B18DB96A-0F1B-4B04-B169-68D0DF683527}" dt="2024-08-05T18:55:03.210" v="832" actId="700"/>
          <ac:spMkLst>
            <pc:docMk/>
            <pc:sldMk cId="2742629027" sldId="616"/>
            <ac:spMk id="16" creationId="{9E07BAE4-10D8-7F7E-1122-D08E681820CC}"/>
          </ac:spMkLst>
        </pc:spChg>
        <pc:spChg chg="del mod ord">
          <ac:chgData name="Bullinger, Marvin" userId="5b54ce5a-dc89-476f-af33-5abd75d5b1e8" providerId="ADAL" clId="{B18DB96A-0F1B-4B04-B169-68D0DF683527}" dt="2024-08-05T18:55:03.210" v="832" actId="700"/>
          <ac:spMkLst>
            <pc:docMk/>
            <pc:sldMk cId="2742629027" sldId="616"/>
            <ac:spMk id="17" creationId="{61019432-418E-23D2-1F99-2C7DFCDDBBCB}"/>
          </ac:spMkLst>
        </pc:spChg>
        <pc:spChg chg="del">
          <ac:chgData name="Bullinger, Marvin" userId="5b54ce5a-dc89-476f-af33-5abd75d5b1e8" providerId="ADAL" clId="{B18DB96A-0F1B-4B04-B169-68D0DF683527}" dt="2024-08-05T18:55:03.210" v="832" actId="700"/>
          <ac:spMkLst>
            <pc:docMk/>
            <pc:sldMk cId="2742629027" sldId="616"/>
            <ac:spMk id="18" creationId="{4C9EE1B2-0F75-5FA9-F5B5-B97CF3727C76}"/>
          </ac:spMkLst>
        </pc:spChg>
        <pc:spChg chg="del">
          <ac:chgData name="Bullinger, Marvin" userId="5b54ce5a-dc89-476f-af33-5abd75d5b1e8" providerId="ADAL" clId="{B18DB96A-0F1B-4B04-B169-68D0DF683527}" dt="2024-08-05T18:55:03.210" v="832" actId="700"/>
          <ac:spMkLst>
            <pc:docMk/>
            <pc:sldMk cId="2742629027" sldId="616"/>
            <ac:spMk id="19" creationId="{F4D0D6BD-C84A-93DA-1040-1CF4F580E4ED}"/>
          </ac:spMkLst>
        </pc:spChg>
        <pc:spChg chg="del">
          <ac:chgData name="Bullinger, Marvin" userId="5b54ce5a-dc89-476f-af33-5abd75d5b1e8" providerId="ADAL" clId="{B18DB96A-0F1B-4B04-B169-68D0DF683527}" dt="2024-08-05T18:55:03.210" v="832" actId="700"/>
          <ac:spMkLst>
            <pc:docMk/>
            <pc:sldMk cId="2742629027" sldId="616"/>
            <ac:spMk id="20" creationId="{75A9C253-C7DC-CE43-26D3-D8BDB5BED032}"/>
          </ac:spMkLst>
        </pc:spChg>
        <pc:spChg chg="del">
          <ac:chgData name="Bullinger, Marvin" userId="5b54ce5a-dc89-476f-af33-5abd75d5b1e8" providerId="ADAL" clId="{B18DB96A-0F1B-4B04-B169-68D0DF683527}" dt="2024-08-05T18:55:03.210" v="832" actId="700"/>
          <ac:spMkLst>
            <pc:docMk/>
            <pc:sldMk cId="2742629027" sldId="616"/>
            <ac:spMk id="21" creationId="{3ED5A593-22CB-FC90-4E29-297F01047A06}"/>
          </ac:spMkLst>
        </pc:spChg>
        <pc:spChg chg="del">
          <ac:chgData name="Bullinger, Marvin" userId="5b54ce5a-dc89-476f-af33-5abd75d5b1e8" providerId="ADAL" clId="{B18DB96A-0F1B-4B04-B169-68D0DF683527}" dt="2024-08-05T18:55:03.210" v="832" actId="700"/>
          <ac:spMkLst>
            <pc:docMk/>
            <pc:sldMk cId="2742629027" sldId="616"/>
            <ac:spMk id="22" creationId="{3DABDCEE-A566-C88F-2B00-479D497CBB97}"/>
          </ac:spMkLst>
        </pc:spChg>
        <pc:spChg chg="del">
          <ac:chgData name="Bullinger, Marvin" userId="5b54ce5a-dc89-476f-af33-5abd75d5b1e8" providerId="ADAL" clId="{B18DB96A-0F1B-4B04-B169-68D0DF683527}" dt="2024-08-05T18:55:03.210" v="832" actId="700"/>
          <ac:spMkLst>
            <pc:docMk/>
            <pc:sldMk cId="2742629027" sldId="616"/>
            <ac:spMk id="23" creationId="{FE41EA87-822C-99E9-D33D-3188DCE58978}"/>
          </ac:spMkLst>
        </pc:spChg>
        <pc:spChg chg="del">
          <ac:chgData name="Bullinger, Marvin" userId="5b54ce5a-dc89-476f-af33-5abd75d5b1e8" providerId="ADAL" clId="{B18DB96A-0F1B-4B04-B169-68D0DF683527}" dt="2024-08-05T18:55:03.210" v="832" actId="700"/>
          <ac:spMkLst>
            <pc:docMk/>
            <pc:sldMk cId="2742629027" sldId="616"/>
            <ac:spMk id="24" creationId="{81C17876-1CA3-D248-5D94-44E8A8485287}"/>
          </ac:spMkLst>
        </pc:spChg>
        <pc:spChg chg="del">
          <ac:chgData name="Bullinger, Marvin" userId="5b54ce5a-dc89-476f-af33-5abd75d5b1e8" providerId="ADAL" clId="{B18DB96A-0F1B-4B04-B169-68D0DF683527}" dt="2024-08-05T18:55:03.210" v="832" actId="700"/>
          <ac:spMkLst>
            <pc:docMk/>
            <pc:sldMk cId="2742629027" sldId="616"/>
            <ac:spMk id="25" creationId="{022D2D08-53CC-28CE-EC87-85CF821C48C5}"/>
          </ac:spMkLst>
        </pc:spChg>
        <pc:spChg chg="mod ord modVis">
          <ac:chgData name="Bullinger, Marvin" userId="5b54ce5a-dc89-476f-af33-5abd75d5b1e8" providerId="ADAL" clId="{B18DB96A-0F1B-4B04-B169-68D0DF683527}" dt="2024-08-05T19:03:25.475" v="1045" actId="26606"/>
          <ac:spMkLst>
            <pc:docMk/>
            <pc:sldMk cId="2742629027" sldId="616"/>
            <ac:spMk id="26" creationId="{AC0D3AEB-B79C-400B-1AE5-C164041B3047}"/>
          </ac:spMkLst>
        </pc:spChg>
        <pc:spChg chg="mod ord">
          <ac:chgData name="Bullinger, Marvin" userId="5b54ce5a-dc89-476f-af33-5abd75d5b1e8" providerId="ADAL" clId="{B18DB96A-0F1B-4B04-B169-68D0DF683527}" dt="2024-08-05T19:03:25.475" v="1045" actId="26606"/>
          <ac:spMkLst>
            <pc:docMk/>
            <pc:sldMk cId="2742629027" sldId="616"/>
            <ac:spMk id="27" creationId="{7F22E87B-DA2C-799D-1DBA-63314863E998}"/>
          </ac:spMkLst>
        </pc:spChg>
        <pc:spChg chg="del">
          <ac:chgData name="Bullinger, Marvin" userId="5b54ce5a-dc89-476f-af33-5abd75d5b1e8" providerId="ADAL" clId="{B18DB96A-0F1B-4B04-B169-68D0DF683527}" dt="2024-08-05T18:55:03.210" v="832" actId="700"/>
          <ac:spMkLst>
            <pc:docMk/>
            <pc:sldMk cId="2742629027" sldId="616"/>
            <ac:spMk id="28" creationId="{4F49646D-892A-6F07-FF52-8F85C884D5BF}"/>
          </ac:spMkLst>
        </pc:spChg>
        <pc:spChg chg="del">
          <ac:chgData name="Bullinger, Marvin" userId="5b54ce5a-dc89-476f-af33-5abd75d5b1e8" providerId="ADAL" clId="{B18DB96A-0F1B-4B04-B169-68D0DF683527}" dt="2024-08-05T18:55:03.210" v="832" actId="700"/>
          <ac:spMkLst>
            <pc:docMk/>
            <pc:sldMk cId="2742629027" sldId="616"/>
            <ac:spMk id="29" creationId="{4AB4F00B-E89E-D6E9-ED43-B75E99ABD026}"/>
          </ac:spMkLst>
        </pc:spChg>
        <pc:spChg chg="del">
          <ac:chgData name="Bullinger, Marvin" userId="5b54ce5a-dc89-476f-af33-5abd75d5b1e8" providerId="ADAL" clId="{B18DB96A-0F1B-4B04-B169-68D0DF683527}" dt="2024-08-05T18:55:03.210" v="832" actId="700"/>
          <ac:spMkLst>
            <pc:docMk/>
            <pc:sldMk cId="2742629027" sldId="616"/>
            <ac:spMk id="30" creationId="{59AF441E-F9A8-1160-45C4-BBE8F6D995F7}"/>
          </ac:spMkLst>
        </pc:spChg>
        <pc:spChg chg="del">
          <ac:chgData name="Bullinger, Marvin" userId="5b54ce5a-dc89-476f-af33-5abd75d5b1e8" providerId="ADAL" clId="{B18DB96A-0F1B-4B04-B169-68D0DF683527}" dt="2024-08-05T18:55:03.210" v="832" actId="700"/>
          <ac:spMkLst>
            <pc:docMk/>
            <pc:sldMk cId="2742629027" sldId="616"/>
            <ac:spMk id="31" creationId="{C0216EF7-4AF1-E24E-6846-157210EC0E18}"/>
          </ac:spMkLst>
        </pc:spChg>
        <pc:spChg chg="del">
          <ac:chgData name="Bullinger, Marvin" userId="5b54ce5a-dc89-476f-af33-5abd75d5b1e8" providerId="ADAL" clId="{B18DB96A-0F1B-4B04-B169-68D0DF683527}" dt="2024-08-05T18:55:03.210" v="832" actId="700"/>
          <ac:spMkLst>
            <pc:docMk/>
            <pc:sldMk cId="2742629027" sldId="616"/>
            <ac:spMk id="32" creationId="{376A8522-7A71-050A-CB06-296358297429}"/>
          </ac:spMkLst>
        </pc:spChg>
        <pc:spChg chg="del">
          <ac:chgData name="Bullinger, Marvin" userId="5b54ce5a-dc89-476f-af33-5abd75d5b1e8" providerId="ADAL" clId="{B18DB96A-0F1B-4B04-B169-68D0DF683527}" dt="2024-08-05T18:55:03.210" v="832" actId="700"/>
          <ac:spMkLst>
            <pc:docMk/>
            <pc:sldMk cId="2742629027" sldId="616"/>
            <ac:spMk id="33" creationId="{31B09E4F-A703-D54F-0720-50542DDE989D}"/>
          </ac:spMkLst>
        </pc:spChg>
        <pc:spChg chg="del">
          <ac:chgData name="Bullinger, Marvin" userId="5b54ce5a-dc89-476f-af33-5abd75d5b1e8" providerId="ADAL" clId="{B18DB96A-0F1B-4B04-B169-68D0DF683527}" dt="2024-08-05T18:55:03.210" v="832" actId="700"/>
          <ac:spMkLst>
            <pc:docMk/>
            <pc:sldMk cId="2742629027" sldId="616"/>
            <ac:spMk id="34" creationId="{A9623FE8-6E3C-7F2C-EE2C-A03701B3ACD4}"/>
          </ac:spMkLst>
        </pc:spChg>
        <pc:spChg chg="del">
          <ac:chgData name="Bullinger, Marvin" userId="5b54ce5a-dc89-476f-af33-5abd75d5b1e8" providerId="ADAL" clId="{B18DB96A-0F1B-4B04-B169-68D0DF683527}" dt="2024-08-05T18:55:03.210" v="832" actId="700"/>
          <ac:spMkLst>
            <pc:docMk/>
            <pc:sldMk cId="2742629027" sldId="616"/>
            <ac:spMk id="35" creationId="{BA77E7B4-4567-300D-07DA-385D3E2F0E41}"/>
          </ac:spMkLst>
        </pc:spChg>
        <pc:spChg chg="del">
          <ac:chgData name="Bullinger, Marvin" userId="5b54ce5a-dc89-476f-af33-5abd75d5b1e8" providerId="ADAL" clId="{B18DB96A-0F1B-4B04-B169-68D0DF683527}" dt="2024-08-05T18:55:03.210" v="832" actId="700"/>
          <ac:spMkLst>
            <pc:docMk/>
            <pc:sldMk cId="2742629027" sldId="616"/>
            <ac:spMk id="36" creationId="{AE9B439B-61E2-FE65-0453-2B46A01206DA}"/>
          </ac:spMkLst>
        </pc:spChg>
        <pc:spChg chg="del">
          <ac:chgData name="Bullinger, Marvin" userId="5b54ce5a-dc89-476f-af33-5abd75d5b1e8" providerId="ADAL" clId="{B18DB96A-0F1B-4B04-B169-68D0DF683527}" dt="2024-08-05T18:55:03.210" v="832" actId="700"/>
          <ac:spMkLst>
            <pc:docMk/>
            <pc:sldMk cId="2742629027" sldId="616"/>
            <ac:spMk id="37" creationId="{060D2643-849A-3945-2EAE-E946A87387CA}"/>
          </ac:spMkLst>
        </pc:spChg>
        <pc:spChg chg="del">
          <ac:chgData name="Bullinger, Marvin" userId="5b54ce5a-dc89-476f-af33-5abd75d5b1e8" providerId="ADAL" clId="{B18DB96A-0F1B-4B04-B169-68D0DF683527}" dt="2024-08-05T18:55:03.210" v="832" actId="700"/>
          <ac:spMkLst>
            <pc:docMk/>
            <pc:sldMk cId="2742629027" sldId="616"/>
            <ac:spMk id="38" creationId="{4EDE3B90-A679-B5DD-98C0-E826533F64A9}"/>
          </ac:spMkLst>
        </pc:spChg>
        <pc:spChg chg="del">
          <ac:chgData name="Bullinger, Marvin" userId="5b54ce5a-dc89-476f-af33-5abd75d5b1e8" providerId="ADAL" clId="{B18DB96A-0F1B-4B04-B169-68D0DF683527}" dt="2024-08-05T18:55:03.210" v="832" actId="700"/>
          <ac:spMkLst>
            <pc:docMk/>
            <pc:sldMk cId="2742629027" sldId="616"/>
            <ac:spMk id="39" creationId="{C9AA9308-AE3D-4B69-A3C1-8EE96B2BC65E}"/>
          </ac:spMkLst>
        </pc:spChg>
        <pc:spChg chg="del">
          <ac:chgData name="Bullinger, Marvin" userId="5b54ce5a-dc89-476f-af33-5abd75d5b1e8" providerId="ADAL" clId="{B18DB96A-0F1B-4B04-B169-68D0DF683527}" dt="2024-08-05T18:55:03.210" v="832" actId="700"/>
          <ac:spMkLst>
            <pc:docMk/>
            <pc:sldMk cId="2742629027" sldId="616"/>
            <ac:spMk id="40" creationId="{F243785E-0D92-4C75-F083-1AE8C1B97DD8}"/>
          </ac:spMkLst>
        </pc:spChg>
        <pc:spChg chg="del">
          <ac:chgData name="Bullinger, Marvin" userId="5b54ce5a-dc89-476f-af33-5abd75d5b1e8" providerId="ADAL" clId="{B18DB96A-0F1B-4B04-B169-68D0DF683527}" dt="2024-08-05T18:55:03.210" v="832" actId="700"/>
          <ac:spMkLst>
            <pc:docMk/>
            <pc:sldMk cId="2742629027" sldId="616"/>
            <ac:spMk id="41" creationId="{C0992E69-7BDF-400F-2BBB-AD2ECD191D0D}"/>
          </ac:spMkLst>
        </pc:spChg>
        <pc:spChg chg="add mod ord">
          <ac:chgData name="Bullinger, Marvin" userId="5b54ce5a-dc89-476f-af33-5abd75d5b1e8" providerId="ADAL" clId="{B18DB96A-0F1B-4B04-B169-68D0DF683527}" dt="2024-08-05T19:03:25.475" v="1045" actId="26606"/>
          <ac:spMkLst>
            <pc:docMk/>
            <pc:sldMk cId="2742629027" sldId="616"/>
            <ac:spMk id="42" creationId="{0C98D274-1E13-BAB6-892E-AD83CEF18A82}"/>
          </ac:spMkLst>
        </pc:spChg>
        <pc:spChg chg="add del mod ord">
          <ac:chgData name="Bullinger, Marvin" userId="5b54ce5a-dc89-476f-af33-5abd75d5b1e8" providerId="ADAL" clId="{B18DB96A-0F1B-4B04-B169-68D0DF683527}" dt="2024-08-05T19:03:25.475" v="1045" actId="26606"/>
          <ac:spMkLst>
            <pc:docMk/>
            <pc:sldMk cId="2742629027" sldId="616"/>
            <ac:spMk id="43" creationId="{1DFF1ECE-C7F0-F3E2-6ECC-1CBE751B2301}"/>
          </ac:spMkLst>
        </pc:spChg>
        <pc:spChg chg="add mod ord">
          <ac:chgData name="Bullinger, Marvin" userId="5b54ce5a-dc89-476f-af33-5abd75d5b1e8" providerId="ADAL" clId="{B18DB96A-0F1B-4B04-B169-68D0DF683527}" dt="2024-08-09T05:50:46.919" v="10443"/>
          <ac:spMkLst>
            <pc:docMk/>
            <pc:sldMk cId="2742629027" sldId="616"/>
            <ac:spMk id="44" creationId="{B50F8766-8F11-BFCF-2390-E11E9FEF042F}"/>
          </ac:spMkLst>
        </pc:spChg>
        <pc:spChg chg="add mod">
          <ac:chgData name="Bullinger, Marvin" userId="5b54ce5a-dc89-476f-af33-5abd75d5b1e8" providerId="ADAL" clId="{B18DB96A-0F1B-4B04-B169-68D0DF683527}" dt="2024-08-07T11:33:02.759" v="6907" actId="2711"/>
          <ac:spMkLst>
            <pc:docMk/>
            <pc:sldMk cId="2742629027" sldId="616"/>
            <ac:spMk id="52" creationId="{EDAB3B68-56A8-4E54-DB7B-7DB8679F2F54}"/>
          </ac:spMkLst>
        </pc:spChg>
        <pc:graphicFrameChg chg="add del mod">
          <ac:chgData name="Bullinger, Marvin" userId="5b54ce5a-dc89-476f-af33-5abd75d5b1e8" providerId="ADAL" clId="{B18DB96A-0F1B-4B04-B169-68D0DF683527}" dt="2024-08-05T19:02:56.011" v="1039" actId="478"/>
          <ac:graphicFrameMkLst>
            <pc:docMk/>
            <pc:sldMk cId="2742629027" sldId="616"/>
            <ac:graphicFrameMk id="45" creationId="{B85CD17F-D371-183E-76C1-0AA4FDCF4BFB}"/>
          </ac:graphicFrameMkLst>
        </pc:graphicFrameChg>
        <pc:picChg chg="add mod">
          <ac:chgData name="Bullinger, Marvin" userId="5b54ce5a-dc89-476f-af33-5abd75d5b1e8" providerId="ADAL" clId="{B18DB96A-0F1B-4B04-B169-68D0DF683527}" dt="2024-08-09T05:50:41.092" v="10442"/>
          <ac:picMkLst>
            <pc:docMk/>
            <pc:sldMk cId="2742629027" sldId="616"/>
            <ac:picMk id="3" creationId="{E0EBA4FF-E8C5-28B5-E561-F83AE883BB10}"/>
          </ac:picMkLst>
        </pc:picChg>
        <pc:picChg chg="add del mod ord">
          <ac:chgData name="Bullinger, Marvin" userId="5b54ce5a-dc89-476f-af33-5abd75d5b1e8" providerId="ADAL" clId="{B18DB96A-0F1B-4B04-B169-68D0DF683527}" dt="2024-08-09T05:50:38.086" v="10441" actId="478"/>
          <ac:picMkLst>
            <pc:docMk/>
            <pc:sldMk cId="2742629027" sldId="616"/>
            <ac:picMk id="47" creationId="{F35A8122-7050-179E-04D6-54E9CA6AA38D}"/>
          </ac:picMkLst>
        </pc:picChg>
        <pc:picChg chg="add mod">
          <ac:chgData name="Bullinger, Marvin" userId="5b54ce5a-dc89-476f-af33-5abd75d5b1e8" providerId="ADAL" clId="{B18DB96A-0F1B-4B04-B169-68D0DF683527}" dt="2024-08-07T11:48:05.877" v="6945" actId="1076"/>
          <ac:picMkLst>
            <pc:docMk/>
            <pc:sldMk cId="2742629027" sldId="616"/>
            <ac:picMk id="49" creationId="{0F78E5DB-FB91-E4E6-0102-DB32DC9C92E9}"/>
          </ac:picMkLst>
        </pc:picChg>
        <pc:picChg chg="add mod">
          <ac:chgData name="Bullinger, Marvin" userId="5b54ce5a-dc89-476f-af33-5abd75d5b1e8" providerId="ADAL" clId="{B18DB96A-0F1B-4B04-B169-68D0DF683527}" dt="2024-08-07T11:48:09.266" v="6946" actId="14100"/>
          <ac:picMkLst>
            <pc:docMk/>
            <pc:sldMk cId="2742629027" sldId="616"/>
            <ac:picMk id="51" creationId="{58B4E569-BFCD-3837-F2E2-DC128F5E677E}"/>
          </ac:picMkLst>
        </pc:picChg>
      </pc:sldChg>
      <pc:sldChg chg="addSp delSp modSp add del mod ord modAnim">
        <pc:chgData name="Bullinger, Marvin" userId="5b54ce5a-dc89-476f-af33-5abd75d5b1e8" providerId="ADAL" clId="{B18DB96A-0F1B-4B04-B169-68D0DF683527}" dt="2024-08-13T15:00:19.077" v="26378" actId="20577"/>
        <pc:sldMkLst>
          <pc:docMk/>
          <pc:sldMk cId="1664074779" sldId="617"/>
        </pc:sldMkLst>
        <pc:spChg chg="add del mod">
          <ac:chgData name="Bullinger, Marvin" userId="5b54ce5a-dc89-476f-af33-5abd75d5b1e8" providerId="ADAL" clId="{B18DB96A-0F1B-4B04-B169-68D0DF683527}" dt="2024-08-07T19:50:15.369" v="7088" actId="478"/>
          <ac:spMkLst>
            <pc:docMk/>
            <pc:sldMk cId="1664074779" sldId="617"/>
            <ac:spMk id="2" creationId="{DFC72B02-BDD7-69E7-7111-FB43AEAA088D}"/>
          </ac:spMkLst>
        </pc:spChg>
        <pc:spChg chg="add mod">
          <ac:chgData name="Bullinger, Marvin" userId="5b54ce5a-dc89-476f-af33-5abd75d5b1e8" providerId="ADAL" clId="{B18DB96A-0F1B-4B04-B169-68D0DF683527}" dt="2024-08-13T15:00:19.077" v="26378" actId="20577"/>
          <ac:spMkLst>
            <pc:docMk/>
            <pc:sldMk cId="1664074779" sldId="617"/>
            <ac:spMk id="3" creationId="{93D9D57C-E69B-7021-6ED4-F10857B89DE5}"/>
          </ac:spMkLst>
        </pc:spChg>
        <pc:spChg chg="add del mod">
          <ac:chgData name="Bullinger, Marvin" userId="5b54ce5a-dc89-476f-af33-5abd75d5b1e8" providerId="ADAL" clId="{B18DB96A-0F1B-4B04-B169-68D0DF683527}" dt="2024-08-05T19:31:06.465" v="1636" actId="478"/>
          <ac:spMkLst>
            <pc:docMk/>
            <pc:sldMk cId="1664074779" sldId="617"/>
            <ac:spMk id="3" creationId="{B2A01419-0B9D-5104-0D80-1045099287E8}"/>
          </ac:spMkLst>
        </pc:spChg>
        <pc:spChg chg="add del mod">
          <ac:chgData name="Bullinger, Marvin" userId="5b54ce5a-dc89-476f-af33-5abd75d5b1e8" providerId="ADAL" clId="{B18DB96A-0F1B-4B04-B169-68D0DF683527}" dt="2024-08-07T19:50:11.406" v="7086" actId="478"/>
          <ac:spMkLst>
            <pc:docMk/>
            <pc:sldMk cId="1664074779" sldId="617"/>
            <ac:spMk id="6" creationId="{EB902B2B-8163-4051-5F79-1FD8B50F73C1}"/>
          </ac:spMkLst>
        </pc:spChg>
        <pc:spChg chg="del">
          <ac:chgData name="Bullinger, Marvin" userId="5b54ce5a-dc89-476f-af33-5abd75d5b1e8" providerId="ADAL" clId="{B18DB96A-0F1B-4B04-B169-68D0DF683527}" dt="2024-08-05T19:30:59.849" v="1634" actId="478"/>
          <ac:spMkLst>
            <pc:docMk/>
            <pc:sldMk cId="1664074779" sldId="617"/>
            <ac:spMk id="44" creationId="{B50F8766-8F11-BFCF-2390-E11E9FEF042F}"/>
          </ac:spMkLst>
        </pc:spChg>
        <pc:spChg chg="mod">
          <ac:chgData name="Bullinger, Marvin" userId="5b54ce5a-dc89-476f-af33-5abd75d5b1e8" providerId="ADAL" clId="{B18DB96A-0F1B-4B04-B169-68D0DF683527}" dt="2024-08-09T18:15:25.581" v="11147" actId="790"/>
          <ac:spMkLst>
            <pc:docMk/>
            <pc:sldMk cId="1664074779" sldId="617"/>
            <ac:spMk id="52" creationId="{EDAB3B68-56A8-4E54-DB7B-7DB8679F2F54}"/>
          </ac:spMkLst>
        </pc:spChg>
        <pc:graphicFrameChg chg="add del mod">
          <ac:chgData name="Bullinger, Marvin" userId="5b54ce5a-dc89-476f-af33-5abd75d5b1e8" providerId="ADAL" clId="{B18DB96A-0F1B-4B04-B169-68D0DF683527}" dt="2024-08-07T19:50:16.936" v="7089" actId="478"/>
          <ac:graphicFrameMkLst>
            <pc:docMk/>
            <pc:sldMk cId="1664074779" sldId="617"/>
            <ac:graphicFrameMk id="4" creationId="{2F021B1F-9E7F-0C54-6D49-A9A5BF15916E}"/>
          </ac:graphicFrameMkLst>
        </pc:graphicFrameChg>
        <pc:graphicFrameChg chg="add mod">
          <ac:chgData name="Bullinger, Marvin" userId="5b54ce5a-dc89-476f-af33-5abd75d5b1e8" providerId="ADAL" clId="{B18DB96A-0F1B-4B04-B169-68D0DF683527}" dt="2024-08-07T19:50:44.683" v="7092" actId="12788"/>
          <ac:graphicFrameMkLst>
            <pc:docMk/>
            <pc:sldMk cId="1664074779" sldId="617"/>
            <ac:graphicFrameMk id="5" creationId="{AB4EE8F0-C3BA-D8B0-AE58-67C604A2F694}"/>
          </ac:graphicFrameMkLst>
        </pc:graphicFrameChg>
        <pc:graphicFrameChg chg="add del mod">
          <ac:chgData name="Bullinger, Marvin" userId="5b54ce5a-dc89-476f-af33-5abd75d5b1e8" providerId="ADAL" clId="{B18DB96A-0F1B-4B04-B169-68D0DF683527}" dt="2024-08-05T19:38:47.680" v="1719" actId="478"/>
          <ac:graphicFrameMkLst>
            <pc:docMk/>
            <pc:sldMk cId="1664074779" sldId="617"/>
            <ac:graphicFrameMk id="6" creationId="{931194C2-3A64-2858-484E-A5AF6B0B28C4}"/>
          </ac:graphicFrameMkLst>
        </pc:graphicFrameChg>
        <pc:picChg chg="del">
          <ac:chgData name="Bullinger, Marvin" userId="5b54ce5a-dc89-476f-af33-5abd75d5b1e8" providerId="ADAL" clId="{B18DB96A-0F1B-4B04-B169-68D0DF683527}" dt="2024-08-05T19:31:01.631" v="1635" actId="478"/>
          <ac:picMkLst>
            <pc:docMk/>
            <pc:sldMk cId="1664074779" sldId="617"/>
            <ac:picMk id="47" creationId="{F35A8122-7050-179E-04D6-54E9CA6AA38D}"/>
          </ac:picMkLst>
        </pc:picChg>
      </pc:sldChg>
      <pc:sldChg chg="addSp modSp add del mod modAnim">
        <pc:chgData name="Bullinger, Marvin" userId="5b54ce5a-dc89-476f-af33-5abd75d5b1e8" providerId="ADAL" clId="{B18DB96A-0F1B-4B04-B169-68D0DF683527}" dt="2024-08-09T06:33:52.881" v="10891" actId="47"/>
        <pc:sldMkLst>
          <pc:docMk/>
          <pc:sldMk cId="2127501649" sldId="618"/>
        </pc:sldMkLst>
        <pc:spChg chg="add mod">
          <ac:chgData name="Bullinger, Marvin" userId="5b54ce5a-dc89-476f-af33-5abd75d5b1e8" providerId="ADAL" clId="{B18DB96A-0F1B-4B04-B169-68D0DF683527}" dt="2024-08-09T06:03:32.950" v="10602" actId="20577"/>
          <ac:spMkLst>
            <pc:docMk/>
            <pc:sldMk cId="2127501649" sldId="618"/>
            <ac:spMk id="2" creationId="{507DBCDB-9523-4E99-55BE-81BE60310004}"/>
          </ac:spMkLst>
        </pc:spChg>
        <pc:spChg chg="mod">
          <ac:chgData name="Bullinger, Marvin" userId="5b54ce5a-dc89-476f-af33-5abd75d5b1e8" providerId="ADAL" clId="{B18DB96A-0F1B-4B04-B169-68D0DF683527}" dt="2024-08-07T11:47:19.751" v="6936" actId="20577"/>
          <ac:spMkLst>
            <pc:docMk/>
            <pc:sldMk cId="2127501649" sldId="618"/>
            <ac:spMk id="44" creationId="{B50F8766-8F11-BFCF-2390-E11E9FEF042F}"/>
          </ac:spMkLst>
        </pc:spChg>
        <pc:spChg chg="mod">
          <ac:chgData name="Bullinger, Marvin" userId="5b54ce5a-dc89-476f-af33-5abd75d5b1e8" providerId="ADAL" clId="{B18DB96A-0F1B-4B04-B169-68D0DF683527}" dt="2024-08-07T11:33:18.405" v="6919" actId="20577"/>
          <ac:spMkLst>
            <pc:docMk/>
            <pc:sldMk cId="2127501649" sldId="618"/>
            <ac:spMk id="52" creationId="{EDAB3B68-56A8-4E54-DB7B-7DB8679F2F54}"/>
          </ac:spMkLst>
        </pc:spChg>
      </pc:sldChg>
      <pc:sldChg chg="addSp delSp modSp new del mod modClrScheme addAnim delAnim modAnim chgLayout">
        <pc:chgData name="Bullinger, Marvin" userId="5b54ce5a-dc89-476f-af33-5abd75d5b1e8" providerId="ADAL" clId="{B18DB96A-0F1B-4B04-B169-68D0DF683527}" dt="2024-08-08T11:42:08.312" v="8744" actId="47"/>
        <pc:sldMkLst>
          <pc:docMk/>
          <pc:sldMk cId="4277329764" sldId="619"/>
        </pc:sldMkLst>
        <pc:spChg chg="del">
          <ac:chgData name="Bullinger, Marvin" userId="5b54ce5a-dc89-476f-af33-5abd75d5b1e8" providerId="ADAL" clId="{B18DB96A-0F1B-4B04-B169-68D0DF683527}" dt="2024-08-05T19:33:22.196" v="1654" actId="700"/>
          <ac:spMkLst>
            <pc:docMk/>
            <pc:sldMk cId="4277329764" sldId="619"/>
            <ac:spMk id="2" creationId="{EEF23347-70E8-F64B-E0AB-9BDA899B9570}"/>
          </ac:spMkLst>
        </pc:spChg>
        <pc:spChg chg="del">
          <ac:chgData name="Bullinger, Marvin" userId="5b54ce5a-dc89-476f-af33-5abd75d5b1e8" providerId="ADAL" clId="{B18DB96A-0F1B-4B04-B169-68D0DF683527}" dt="2024-08-05T19:33:22.196" v="1654" actId="700"/>
          <ac:spMkLst>
            <pc:docMk/>
            <pc:sldMk cId="4277329764" sldId="619"/>
            <ac:spMk id="3" creationId="{4FF4F7C3-53EF-D377-8C40-349DD8335D4A}"/>
          </ac:spMkLst>
        </pc:spChg>
        <pc:spChg chg="del">
          <ac:chgData name="Bullinger, Marvin" userId="5b54ce5a-dc89-476f-af33-5abd75d5b1e8" providerId="ADAL" clId="{B18DB96A-0F1B-4B04-B169-68D0DF683527}" dt="2024-08-05T19:33:22.196" v="1654" actId="700"/>
          <ac:spMkLst>
            <pc:docMk/>
            <pc:sldMk cId="4277329764" sldId="619"/>
            <ac:spMk id="4" creationId="{787A452B-09E2-C516-E9B9-46DDD21544BA}"/>
          </ac:spMkLst>
        </pc:spChg>
        <pc:spChg chg="add del mod">
          <ac:chgData name="Bullinger, Marvin" userId="5b54ce5a-dc89-476f-af33-5abd75d5b1e8" providerId="ADAL" clId="{B18DB96A-0F1B-4B04-B169-68D0DF683527}" dt="2024-08-06T14:12:26.439" v="5135" actId="478"/>
          <ac:spMkLst>
            <pc:docMk/>
            <pc:sldMk cId="4277329764" sldId="619"/>
            <ac:spMk id="4" creationId="{B70F98C1-B224-06FA-FEF4-9A404BC4303D}"/>
          </ac:spMkLst>
        </pc:spChg>
        <pc:spChg chg="add del mod">
          <ac:chgData name="Bullinger, Marvin" userId="5b54ce5a-dc89-476f-af33-5abd75d5b1e8" providerId="ADAL" clId="{B18DB96A-0F1B-4B04-B169-68D0DF683527}" dt="2024-08-06T14:12:55.789" v="5144" actId="478"/>
          <ac:spMkLst>
            <pc:docMk/>
            <pc:sldMk cId="4277329764" sldId="619"/>
            <ac:spMk id="5" creationId="{49841ADB-EB3F-A7BD-10CE-3F8786B2C5CA}"/>
          </ac:spMkLst>
        </pc:spChg>
        <pc:spChg chg="del">
          <ac:chgData name="Bullinger, Marvin" userId="5b54ce5a-dc89-476f-af33-5abd75d5b1e8" providerId="ADAL" clId="{B18DB96A-0F1B-4B04-B169-68D0DF683527}" dt="2024-08-05T19:33:22.196" v="1654" actId="700"/>
          <ac:spMkLst>
            <pc:docMk/>
            <pc:sldMk cId="4277329764" sldId="619"/>
            <ac:spMk id="5" creationId="{7D9AA6E0-2E7E-7721-5E99-B4B731B94020}"/>
          </ac:spMkLst>
        </pc:spChg>
        <pc:spChg chg="del">
          <ac:chgData name="Bullinger, Marvin" userId="5b54ce5a-dc89-476f-af33-5abd75d5b1e8" providerId="ADAL" clId="{B18DB96A-0F1B-4B04-B169-68D0DF683527}" dt="2024-08-05T19:33:22.196" v="1654" actId="700"/>
          <ac:spMkLst>
            <pc:docMk/>
            <pc:sldMk cId="4277329764" sldId="619"/>
            <ac:spMk id="6" creationId="{6036964A-113E-E414-D465-B18C56C02473}"/>
          </ac:spMkLst>
        </pc:spChg>
        <pc:spChg chg="add del mod">
          <ac:chgData name="Bullinger, Marvin" userId="5b54ce5a-dc89-476f-af33-5abd75d5b1e8" providerId="ADAL" clId="{B18DB96A-0F1B-4B04-B169-68D0DF683527}" dt="2024-08-06T14:13:50.519" v="5152" actId="478"/>
          <ac:spMkLst>
            <pc:docMk/>
            <pc:sldMk cId="4277329764" sldId="619"/>
            <ac:spMk id="7" creationId="{95BB5775-EDD2-1C2B-1D3B-C4E707F9A880}"/>
          </ac:spMkLst>
        </pc:spChg>
        <pc:spChg chg="del">
          <ac:chgData name="Bullinger, Marvin" userId="5b54ce5a-dc89-476f-af33-5abd75d5b1e8" providerId="ADAL" clId="{B18DB96A-0F1B-4B04-B169-68D0DF683527}" dt="2024-08-05T19:33:22.196" v="1654" actId="700"/>
          <ac:spMkLst>
            <pc:docMk/>
            <pc:sldMk cId="4277329764" sldId="619"/>
            <ac:spMk id="7" creationId="{F1E396D0-50F1-F967-F141-4F2289704E18}"/>
          </ac:spMkLst>
        </pc:spChg>
        <pc:spChg chg="del">
          <ac:chgData name="Bullinger, Marvin" userId="5b54ce5a-dc89-476f-af33-5abd75d5b1e8" providerId="ADAL" clId="{B18DB96A-0F1B-4B04-B169-68D0DF683527}" dt="2024-08-05T19:33:22.196" v="1654" actId="700"/>
          <ac:spMkLst>
            <pc:docMk/>
            <pc:sldMk cId="4277329764" sldId="619"/>
            <ac:spMk id="8" creationId="{B0F5957C-6372-0439-39FB-CF77D3E1FED1}"/>
          </ac:spMkLst>
        </pc:spChg>
        <pc:spChg chg="add del mod">
          <ac:chgData name="Bullinger, Marvin" userId="5b54ce5a-dc89-476f-af33-5abd75d5b1e8" providerId="ADAL" clId="{B18DB96A-0F1B-4B04-B169-68D0DF683527}" dt="2024-08-06T14:14:19.267" v="5161" actId="478"/>
          <ac:spMkLst>
            <pc:docMk/>
            <pc:sldMk cId="4277329764" sldId="619"/>
            <ac:spMk id="8" creationId="{C47A87C8-7BC4-AA36-58A3-AE1A4890AA4C}"/>
          </ac:spMkLst>
        </pc:spChg>
        <pc:spChg chg="del">
          <ac:chgData name="Bullinger, Marvin" userId="5b54ce5a-dc89-476f-af33-5abd75d5b1e8" providerId="ADAL" clId="{B18DB96A-0F1B-4B04-B169-68D0DF683527}" dt="2024-08-05T19:33:22.196" v="1654" actId="700"/>
          <ac:spMkLst>
            <pc:docMk/>
            <pc:sldMk cId="4277329764" sldId="619"/>
            <ac:spMk id="9" creationId="{D1C07D2B-D00D-D18B-9EDE-06B184191234}"/>
          </ac:spMkLst>
        </pc:spChg>
        <pc:spChg chg="del mod ord">
          <ac:chgData name="Bullinger, Marvin" userId="5b54ce5a-dc89-476f-af33-5abd75d5b1e8" providerId="ADAL" clId="{B18DB96A-0F1B-4B04-B169-68D0DF683527}" dt="2024-08-05T19:33:22.196" v="1654" actId="700"/>
          <ac:spMkLst>
            <pc:docMk/>
            <pc:sldMk cId="4277329764" sldId="619"/>
            <ac:spMk id="10" creationId="{EBDF58AE-6817-2D9F-34C2-995DD31A1D26}"/>
          </ac:spMkLst>
        </pc:spChg>
        <pc:spChg chg="del mod ord">
          <ac:chgData name="Bullinger, Marvin" userId="5b54ce5a-dc89-476f-af33-5abd75d5b1e8" providerId="ADAL" clId="{B18DB96A-0F1B-4B04-B169-68D0DF683527}" dt="2024-08-05T19:33:22.196" v="1654" actId="700"/>
          <ac:spMkLst>
            <pc:docMk/>
            <pc:sldMk cId="4277329764" sldId="619"/>
            <ac:spMk id="11" creationId="{8F584FA3-2A71-8B3B-29ED-D46AF906D918}"/>
          </ac:spMkLst>
        </pc:spChg>
        <pc:spChg chg="del">
          <ac:chgData name="Bullinger, Marvin" userId="5b54ce5a-dc89-476f-af33-5abd75d5b1e8" providerId="ADAL" clId="{B18DB96A-0F1B-4B04-B169-68D0DF683527}" dt="2024-08-05T19:33:22.196" v="1654" actId="700"/>
          <ac:spMkLst>
            <pc:docMk/>
            <pc:sldMk cId="4277329764" sldId="619"/>
            <ac:spMk id="12" creationId="{AE5C679B-F503-F4EC-DA4C-C971194578C7}"/>
          </ac:spMkLst>
        </pc:spChg>
        <pc:spChg chg="del">
          <ac:chgData name="Bullinger, Marvin" userId="5b54ce5a-dc89-476f-af33-5abd75d5b1e8" providerId="ADAL" clId="{B18DB96A-0F1B-4B04-B169-68D0DF683527}" dt="2024-08-05T19:33:22.196" v="1654" actId="700"/>
          <ac:spMkLst>
            <pc:docMk/>
            <pc:sldMk cId="4277329764" sldId="619"/>
            <ac:spMk id="13" creationId="{E6B4900C-F258-81BC-8F88-C1ED20E763E1}"/>
          </ac:spMkLst>
        </pc:spChg>
        <pc:spChg chg="del">
          <ac:chgData name="Bullinger, Marvin" userId="5b54ce5a-dc89-476f-af33-5abd75d5b1e8" providerId="ADAL" clId="{B18DB96A-0F1B-4B04-B169-68D0DF683527}" dt="2024-08-05T19:33:22.196" v="1654" actId="700"/>
          <ac:spMkLst>
            <pc:docMk/>
            <pc:sldMk cId="4277329764" sldId="619"/>
            <ac:spMk id="14" creationId="{0B218B92-DFA9-5539-334D-B29D8F5A8F43}"/>
          </ac:spMkLst>
        </pc:spChg>
        <pc:spChg chg="del">
          <ac:chgData name="Bullinger, Marvin" userId="5b54ce5a-dc89-476f-af33-5abd75d5b1e8" providerId="ADAL" clId="{B18DB96A-0F1B-4B04-B169-68D0DF683527}" dt="2024-08-05T19:33:22.196" v="1654" actId="700"/>
          <ac:spMkLst>
            <pc:docMk/>
            <pc:sldMk cId="4277329764" sldId="619"/>
            <ac:spMk id="15" creationId="{ED3D7044-3E7F-EE9D-29A1-3806B25FE2A3}"/>
          </ac:spMkLst>
        </pc:spChg>
        <pc:spChg chg="del">
          <ac:chgData name="Bullinger, Marvin" userId="5b54ce5a-dc89-476f-af33-5abd75d5b1e8" providerId="ADAL" clId="{B18DB96A-0F1B-4B04-B169-68D0DF683527}" dt="2024-08-05T19:33:22.196" v="1654" actId="700"/>
          <ac:spMkLst>
            <pc:docMk/>
            <pc:sldMk cId="4277329764" sldId="619"/>
            <ac:spMk id="16" creationId="{68C7D6E4-DF0F-20A7-E4F5-EB6690C07E8C}"/>
          </ac:spMkLst>
        </pc:spChg>
        <pc:spChg chg="del mod ord">
          <ac:chgData name="Bullinger, Marvin" userId="5b54ce5a-dc89-476f-af33-5abd75d5b1e8" providerId="ADAL" clId="{B18DB96A-0F1B-4B04-B169-68D0DF683527}" dt="2024-08-05T19:33:22.196" v="1654" actId="700"/>
          <ac:spMkLst>
            <pc:docMk/>
            <pc:sldMk cId="4277329764" sldId="619"/>
            <ac:spMk id="17" creationId="{25B58825-CB75-9A13-33C6-D65D7D12D631}"/>
          </ac:spMkLst>
        </pc:spChg>
        <pc:spChg chg="del">
          <ac:chgData name="Bullinger, Marvin" userId="5b54ce5a-dc89-476f-af33-5abd75d5b1e8" providerId="ADAL" clId="{B18DB96A-0F1B-4B04-B169-68D0DF683527}" dt="2024-08-05T19:33:22.196" v="1654" actId="700"/>
          <ac:spMkLst>
            <pc:docMk/>
            <pc:sldMk cId="4277329764" sldId="619"/>
            <ac:spMk id="18" creationId="{431F5D8C-4DBB-7C1C-E7A3-CBE924287139}"/>
          </ac:spMkLst>
        </pc:spChg>
        <pc:spChg chg="del">
          <ac:chgData name="Bullinger, Marvin" userId="5b54ce5a-dc89-476f-af33-5abd75d5b1e8" providerId="ADAL" clId="{B18DB96A-0F1B-4B04-B169-68D0DF683527}" dt="2024-08-05T19:33:22.196" v="1654" actId="700"/>
          <ac:spMkLst>
            <pc:docMk/>
            <pc:sldMk cId="4277329764" sldId="619"/>
            <ac:spMk id="19" creationId="{C573D160-A75E-06DA-4CB3-BA90EA9F4298}"/>
          </ac:spMkLst>
        </pc:spChg>
        <pc:spChg chg="del">
          <ac:chgData name="Bullinger, Marvin" userId="5b54ce5a-dc89-476f-af33-5abd75d5b1e8" providerId="ADAL" clId="{B18DB96A-0F1B-4B04-B169-68D0DF683527}" dt="2024-08-05T19:33:22.196" v="1654" actId="700"/>
          <ac:spMkLst>
            <pc:docMk/>
            <pc:sldMk cId="4277329764" sldId="619"/>
            <ac:spMk id="20" creationId="{29050604-E6AF-1766-594A-80C1450312CB}"/>
          </ac:spMkLst>
        </pc:spChg>
        <pc:spChg chg="del">
          <ac:chgData name="Bullinger, Marvin" userId="5b54ce5a-dc89-476f-af33-5abd75d5b1e8" providerId="ADAL" clId="{B18DB96A-0F1B-4B04-B169-68D0DF683527}" dt="2024-08-05T19:33:22.196" v="1654" actId="700"/>
          <ac:spMkLst>
            <pc:docMk/>
            <pc:sldMk cId="4277329764" sldId="619"/>
            <ac:spMk id="21" creationId="{AE4C8923-2A71-0E7B-C93D-5B710C73807F}"/>
          </ac:spMkLst>
        </pc:spChg>
        <pc:spChg chg="del">
          <ac:chgData name="Bullinger, Marvin" userId="5b54ce5a-dc89-476f-af33-5abd75d5b1e8" providerId="ADAL" clId="{B18DB96A-0F1B-4B04-B169-68D0DF683527}" dt="2024-08-05T19:33:22.196" v="1654" actId="700"/>
          <ac:spMkLst>
            <pc:docMk/>
            <pc:sldMk cId="4277329764" sldId="619"/>
            <ac:spMk id="22" creationId="{99DF640F-4CB4-6583-59AA-A121A33FE6C6}"/>
          </ac:spMkLst>
        </pc:spChg>
        <pc:spChg chg="del">
          <ac:chgData name="Bullinger, Marvin" userId="5b54ce5a-dc89-476f-af33-5abd75d5b1e8" providerId="ADAL" clId="{B18DB96A-0F1B-4B04-B169-68D0DF683527}" dt="2024-08-05T19:33:22.196" v="1654" actId="700"/>
          <ac:spMkLst>
            <pc:docMk/>
            <pc:sldMk cId="4277329764" sldId="619"/>
            <ac:spMk id="23" creationId="{DF782AEE-BEF4-8F30-CC39-09CABE97F42E}"/>
          </ac:spMkLst>
        </pc:spChg>
        <pc:spChg chg="del">
          <ac:chgData name="Bullinger, Marvin" userId="5b54ce5a-dc89-476f-af33-5abd75d5b1e8" providerId="ADAL" clId="{B18DB96A-0F1B-4B04-B169-68D0DF683527}" dt="2024-08-05T19:33:22.196" v="1654" actId="700"/>
          <ac:spMkLst>
            <pc:docMk/>
            <pc:sldMk cId="4277329764" sldId="619"/>
            <ac:spMk id="24" creationId="{13DFB607-B5F4-F90C-784C-114FDCDE17C4}"/>
          </ac:spMkLst>
        </pc:spChg>
        <pc:spChg chg="del">
          <ac:chgData name="Bullinger, Marvin" userId="5b54ce5a-dc89-476f-af33-5abd75d5b1e8" providerId="ADAL" clId="{B18DB96A-0F1B-4B04-B169-68D0DF683527}" dt="2024-08-05T19:33:22.196" v="1654" actId="700"/>
          <ac:spMkLst>
            <pc:docMk/>
            <pc:sldMk cId="4277329764" sldId="619"/>
            <ac:spMk id="25" creationId="{02A31C2F-4E08-9F78-49CC-DB3EDB41742F}"/>
          </ac:spMkLst>
        </pc:spChg>
        <pc:spChg chg="del mod ord">
          <ac:chgData name="Bullinger, Marvin" userId="5b54ce5a-dc89-476f-af33-5abd75d5b1e8" providerId="ADAL" clId="{B18DB96A-0F1B-4B04-B169-68D0DF683527}" dt="2024-08-07T08:35:54.176" v="6030" actId="478"/>
          <ac:spMkLst>
            <pc:docMk/>
            <pc:sldMk cId="4277329764" sldId="619"/>
            <ac:spMk id="26" creationId="{655FB8A0-6E75-2B8A-B4EF-C22466BFD989}"/>
          </ac:spMkLst>
        </pc:spChg>
        <pc:spChg chg="mod ord">
          <ac:chgData name="Bullinger, Marvin" userId="5b54ce5a-dc89-476f-af33-5abd75d5b1e8" providerId="ADAL" clId="{B18DB96A-0F1B-4B04-B169-68D0DF683527}" dt="2024-08-05T19:33:22.196" v="1654" actId="700"/>
          <ac:spMkLst>
            <pc:docMk/>
            <pc:sldMk cId="4277329764" sldId="619"/>
            <ac:spMk id="27" creationId="{43CB9292-D0C7-753B-84EE-512C197BADB9}"/>
          </ac:spMkLst>
        </pc:spChg>
        <pc:spChg chg="del">
          <ac:chgData name="Bullinger, Marvin" userId="5b54ce5a-dc89-476f-af33-5abd75d5b1e8" providerId="ADAL" clId="{B18DB96A-0F1B-4B04-B169-68D0DF683527}" dt="2024-08-05T19:33:22.196" v="1654" actId="700"/>
          <ac:spMkLst>
            <pc:docMk/>
            <pc:sldMk cId="4277329764" sldId="619"/>
            <ac:spMk id="28" creationId="{4660B0F5-5930-2F7D-45BB-1AAA4EA2FC10}"/>
          </ac:spMkLst>
        </pc:spChg>
        <pc:spChg chg="del">
          <ac:chgData name="Bullinger, Marvin" userId="5b54ce5a-dc89-476f-af33-5abd75d5b1e8" providerId="ADAL" clId="{B18DB96A-0F1B-4B04-B169-68D0DF683527}" dt="2024-08-05T19:33:22.196" v="1654" actId="700"/>
          <ac:spMkLst>
            <pc:docMk/>
            <pc:sldMk cId="4277329764" sldId="619"/>
            <ac:spMk id="29" creationId="{67F65EE7-C5E7-01C4-0D5C-8AAA93D61316}"/>
          </ac:spMkLst>
        </pc:spChg>
        <pc:spChg chg="del">
          <ac:chgData name="Bullinger, Marvin" userId="5b54ce5a-dc89-476f-af33-5abd75d5b1e8" providerId="ADAL" clId="{B18DB96A-0F1B-4B04-B169-68D0DF683527}" dt="2024-08-05T19:33:22.196" v="1654" actId="700"/>
          <ac:spMkLst>
            <pc:docMk/>
            <pc:sldMk cId="4277329764" sldId="619"/>
            <ac:spMk id="30" creationId="{2003F2EF-CCE1-A09E-86C1-946D7F86B568}"/>
          </ac:spMkLst>
        </pc:spChg>
        <pc:spChg chg="del">
          <ac:chgData name="Bullinger, Marvin" userId="5b54ce5a-dc89-476f-af33-5abd75d5b1e8" providerId="ADAL" clId="{B18DB96A-0F1B-4B04-B169-68D0DF683527}" dt="2024-08-05T19:33:22.196" v="1654" actId="700"/>
          <ac:spMkLst>
            <pc:docMk/>
            <pc:sldMk cId="4277329764" sldId="619"/>
            <ac:spMk id="31" creationId="{3B5143DE-5020-7CEE-149C-FFCC97BAA37A}"/>
          </ac:spMkLst>
        </pc:spChg>
        <pc:spChg chg="del">
          <ac:chgData name="Bullinger, Marvin" userId="5b54ce5a-dc89-476f-af33-5abd75d5b1e8" providerId="ADAL" clId="{B18DB96A-0F1B-4B04-B169-68D0DF683527}" dt="2024-08-05T19:33:22.196" v="1654" actId="700"/>
          <ac:spMkLst>
            <pc:docMk/>
            <pc:sldMk cId="4277329764" sldId="619"/>
            <ac:spMk id="32" creationId="{3BEA2FCE-C0AC-FDB9-CA09-922C31671286}"/>
          </ac:spMkLst>
        </pc:spChg>
        <pc:spChg chg="del">
          <ac:chgData name="Bullinger, Marvin" userId="5b54ce5a-dc89-476f-af33-5abd75d5b1e8" providerId="ADAL" clId="{B18DB96A-0F1B-4B04-B169-68D0DF683527}" dt="2024-08-05T19:33:22.196" v="1654" actId="700"/>
          <ac:spMkLst>
            <pc:docMk/>
            <pc:sldMk cId="4277329764" sldId="619"/>
            <ac:spMk id="33" creationId="{1D9F9CFF-01D8-3726-3A27-939EAEA5B2C1}"/>
          </ac:spMkLst>
        </pc:spChg>
        <pc:spChg chg="del">
          <ac:chgData name="Bullinger, Marvin" userId="5b54ce5a-dc89-476f-af33-5abd75d5b1e8" providerId="ADAL" clId="{B18DB96A-0F1B-4B04-B169-68D0DF683527}" dt="2024-08-05T19:33:22.196" v="1654" actId="700"/>
          <ac:spMkLst>
            <pc:docMk/>
            <pc:sldMk cId="4277329764" sldId="619"/>
            <ac:spMk id="34" creationId="{A65D8DBF-F5EC-7D20-C14C-99A094C9865E}"/>
          </ac:spMkLst>
        </pc:spChg>
        <pc:spChg chg="del">
          <ac:chgData name="Bullinger, Marvin" userId="5b54ce5a-dc89-476f-af33-5abd75d5b1e8" providerId="ADAL" clId="{B18DB96A-0F1B-4B04-B169-68D0DF683527}" dt="2024-08-05T19:33:22.196" v="1654" actId="700"/>
          <ac:spMkLst>
            <pc:docMk/>
            <pc:sldMk cId="4277329764" sldId="619"/>
            <ac:spMk id="35" creationId="{AEF4B8F3-6638-9F18-D764-DED9FEE58319}"/>
          </ac:spMkLst>
        </pc:spChg>
        <pc:spChg chg="del">
          <ac:chgData name="Bullinger, Marvin" userId="5b54ce5a-dc89-476f-af33-5abd75d5b1e8" providerId="ADAL" clId="{B18DB96A-0F1B-4B04-B169-68D0DF683527}" dt="2024-08-05T19:33:22.196" v="1654" actId="700"/>
          <ac:spMkLst>
            <pc:docMk/>
            <pc:sldMk cId="4277329764" sldId="619"/>
            <ac:spMk id="36" creationId="{EAF21BC7-E633-A036-5266-A229B9BE9B15}"/>
          </ac:spMkLst>
        </pc:spChg>
        <pc:spChg chg="del">
          <ac:chgData name="Bullinger, Marvin" userId="5b54ce5a-dc89-476f-af33-5abd75d5b1e8" providerId="ADAL" clId="{B18DB96A-0F1B-4B04-B169-68D0DF683527}" dt="2024-08-05T19:33:22.196" v="1654" actId="700"/>
          <ac:spMkLst>
            <pc:docMk/>
            <pc:sldMk cId="4277329764" sldId="619"/>
            <ac:spMk id="37" creationId="{1C2A385D-67F2-9607-691D-3F51A82C78F1}"/>
          </ac:spMkLst>
        </pc:spChg>
        <pc:spChg chg="del">
          <ac:chgData name="Bullinger, Marvin" userId="5b54ce5a-dc89-476f-af33-5abd75d5b1e8" providerId="ADAL" clId="{B18DB96A-0F1B-4B04-B169-68D0DF683527}" dt="2024-08-05T19:33:22.196" v="1654" actId="700"/>
          <ac:spMkLst>
            <pc:docMk/>
            <pc:sldMk cId="4277329764" sldId="619"/>
            <ac:spMk id="38" creationId="{DFD1B874-7205-6016-B206-7106A4C6931A}"/>
          </ac:spMkLst>
        </pc:spChg>
        <pc:spChg chg="del">
          <ac:chgData name="Bullinger, Marvin" userId="5b54ce5a-dc89-476f-af33-5abd75d5b1e8" providerId="ADAL" clId="{B18DB96A-0F1B-4B04-B169-68D0DF683527}" dt="2024-08-05T19:33:22.196" v="1654" actId="700"/>
          <ac:spMkLst>
            <pc:docMk/>
            <pc:sldMk cId="4277329764" sldId="619"/>
            <ac:spMk id="39" creationId="{A69D21B8-2BAC-99BD-D247-F0770B244966}"/>
          </ac:spMkLst>
        </pc:spChg>
        <pc:spChg chg="del">
          <ac:chgData name="Bullinger, Marvin" userId="5b54ce5a-dc89-476f-af33-5abd75d5b1e8" providerId="ADAL" clId="{B18DB96A-0F1B-4B04-B169-68D0DF683527}" dt="2024-08-05T19:33:22.196" v="1654" actId="700"/>
          <ac:spMkLst>
            <pc:docMk/>
            <pc:sldMk cId="4277329764" sldId="619"/>
            <ac:spMk id="40" creationId="{4C65470A-B625-F7A0-12A6-FC4E29847772}"/>
          </ac:spMkLst>
        </pc:spChg>
        <pc:spChg chg="del">
          <ac:chgData name="Bullinger, Marvin" userId="5b54ce5a-dc89-476f-af33-5abd75d5b1e8" providerId="ADAL" clId="{B18DB96A-0F1B-4B04-B169-68D0DF683527}" dt="2024-08-05T19:33:22.196" v="1654" actId="700"/>
          <ac:spMkLst>
            <pc:docMk/>
            <pc:sldMk cId="4277329764" sldId="619"/>
            <ac:spMk id="41" creationId="{5580AFD1-B5EE-237B-DB9D-AEE4B0F643FF}"/>
          </ac:spMkLst>
        </pc:spChg>
        <pc:spChg chg="add mod ord">
          <ac:chgData name="Bullinger, Marvin" userId="5b54ce5a-dc89-476f-af33-5abd75d5b1e8" providerId="ADAL" clId="{B18DB96A-0F1B-4B04-B169-68D0DF683527}" dt="2024-08-06T12:24:00.662" v="4476" actId="20577"/>
          <ac:spMkLst>
            <pc:docMk/>
            <pc:sldMk cId="4277329764" sldId="619"/>
            <ac:spMk id="42" creationId="{37E498E5-B12F-C560-73A7-3F4E3163020F}"/>
          </ac:spMkLst>
        </pc:spChg>
        <pc:spChg chg="add mod ord">
          <ac:chgData name="Bullinger, Marvin" userId="5b54ce5a-dc89-476f-af33-5abd75d5b1e8" providerId="ADAL" clId="{B18DB96A-0F1B-4B04-B169-68D0DF683527}" dt="2024-08-06T12:24:12.198" v="4495" actId="20577"/>
          <ac:spMkLst>
            <pc:docMk/>
            <pc:sldMk cId="4277329764" sldId="619"/>
            <ac:spMk id="43" creationId="{18A985D8-8844-EE64-06BA-37B64FD077A0}"/>
          </ac:spMkLst>
        </pc:spChg>
        <pc:spChg chg="add mod ord">
          <ac:chgData name="Bullinger, Marvin" userId="5b54ce5a-dc89-476f-af33-5abd75d5b1e8" providerId="ADAL" clId="{B18DB96A-0F1B-4B04-B169-68D0DF683527}" dt="2024-08-06T14:28:46.373" v="5498" actId="1076"/>
          <ac:spMkLst>
            <pc:docMk/>
            <pc:sldMk cId="4277329764" sldId="619"/>
            <ac:spMk id="44" creationId="{26EC6D5F-42D3-9AFC-16AD-CE3B0C6A3BDA}"/>
          </ac:spMkLst>
        </pc:spChg>
        <pc:picChg chg="add mod">
          <ac:chgData name="Bullinger, Marvin" userId="5b54ce5a-dc89-476f-af33-5abd75d5b1e8" providerId="ADAL" clId="{B18DB96A-0F1B-4B04-B169-68D0DF683527}" dt="2024-08-07T19:51:35.959" v="7103" actId="1076"/>
          <ac:picMkLst>
            <pc:docMk/>
            <pc:sldMk cId="4277329764" sldId="619"/>
            <ac:picMk id="2" creationId="{E7BB2746-1DC0-F9E2-C8EF-5FC0F4380E66}"/>
          </ac:picMkLst>
        </pc:picChg>
        <pc:picChg chg="add del mod">
          <ac:chgData name="Bullinger, Marvin" userId="5b54ce5a-dc89-476f-af33-5abd75d5b1e8" providerId="ADAL" clId="{B18DB96A-0F1B-4B04-B169-68D0DF683527}" dt="2024-08-06T14:12:06.144" v="5132" actId="478"/>
          <ac:picMkLst>
            <pc:docMk/>
            <pc:sldMk cId="4277329764" sldId="619"/>
            <ac:picMk id="3" creationId="{F5F82462-7565-F074-F621-260C41CC1F4A}"/>
          </ac:picMkLst>
        </pc:picChg>
        <pc:picChg chg="add del mod">
          <ac:chgData name="Bullinger, Marvin" userId="5b54ce5a-dc89-476f-af33-5abd75d5b1e8" providerId="ADAL" clId="{B18DB96A-0F1B-4B04-B169-68D0DF683527}" dt="2024-08-06T14:13:33.854" v="5149" actId="478"/>
          <ac:picMkLst>
            <pc:docMk/>
            <pc:sldMk cId="4277329764" sldId="619"/>
            <ac:picMk id="6" creationId="{AD60804A-AFF7-66E4-A522-7E97BDA2F9F8}"/>
          </ac:picMkLst>
        </pc:picChg>
        <pc:picChg chg="add del mod ord">
          <ac:chgData name="Bullinger, Marvin" userId="5b54ce5a-dc89-476f-af33-5abd75d5b1e8" providerId="ADAL" clId="{B18DB96A-0F1B-4B04-B169-68D0DF683527}" dt="2024-08-07T19:53:01.810" v="7107" actId="478"/>
          <ac:picMkLst>
            <pc:docMk/>
            <pc:sldMk cId="4277329764" sldId="619"/>
            <ac:picMk id="10" creationId="{9AF020F0-FFEA-AB28-4F52-2A5B8FE521F0}"/>
          </ac:picMkLst>
        </pc:picChg>
        <pc:cxnChg chg="add del mod">
          <ac:chgData name="Bullinger, Marvin" userId="5b54ce5a-dc89-476f-af33-5abd75d5b1e8" providerId="ADAL" clId="{B18DB96A-0F1B-4B04-B169-68D0DF683527}" dt="2024-08-06T14:26:24.142" v="5409" actId="478"/>
          <ac:cxnSpMkLst>
            <pc:docMk/>
            <pc:sldMk cId="4277329764" sldId="619"/>
            <ac:cxnSpMk id="12" creationId="{7447066F-4C90-F314-2F3D-F92C7B14495F}"/>
          </ac:cxnSpMkLst>
        </pc:cxnChg>
        <pc:cxnChg chg="add mod">
          <ac:chgData name="Bullinger, Marvin" userId="5b54ce5a-dc89-476f-af33-5abd75d5b1e8" providerId="ADAL" clId="{B18DB96A-0F1B-4B04-B169-68D0DF683527}" dt="2024-08-07T09:03:54.079" v="6354" actId="1037"/>
          <ac:cxnSpMkLst>
            <pc:docMk/>
            <pc:sldMk cId="4277329764" sldId="619"/>
            <ac:cxnSpMk id="15" creationId="{96BADDB8-BC11-EDCF-B39F-46EE13CDF91D}"/>
          </ac:cxnSpMkLst>
        </pc:cxnChg>
        <pc:cxnChg chg="add del mod">
          <ac:chgData name="Bullinger, Marvin" userId="5b54ce5a-dc89-476f-af33-5abd75d5b1e8" providerId="ADAL" clId="{B18DB96A-0F1B-4B04-B169-68D0DF683527}" dt="2024-08-07T10:13:41.858" v="6829" actId="478"/>
          <ac:cxnSpMkLst>
            <pc:docMk/>
            <pc:sldMk cId="4277329764" sldId="619"/>
            <ac:cxnSpMk id="17" creationId="{B517C63E-E63E-6E55-D3C2-B7DDDD0A87A9}"/>
          </ac:cxnSpMkLst>
        </pc:cxnChg>
        <pc:cxnChg chg="add del mod">
          <ac:chgData name="Bullinger, Marvin" userId="5b54ce5a-dc89-476f-af33-5abd75d5b1e8" providerId="ADAL" clId="{B18DB96A-0F1B-4B04-B169-68D0DF683527}" dt="2024-08-07T10:13:42.255" v="6830" actId="478"/>
          <ac:cxnSpMkLst>
            <pc:docMk/>
            <pc:sldMk cId="4277329764" sldId="619"/>
            <ac:cxnSpMk id="19" creationId="{67F83B29-604A-9DAD-66F4-F6FFAB2C8D99}"/>
          </ac:cxnSpMkLst>
        </pc:cxnChg>
        <pc:cxnChg chg="add del mod">
          <ac:chgData name="Bullinger, Marvin" userId="5b54ce5a-dc89-476f-af33-5abd75d5b1e8" providerId="ADAL" clId="{B18DB96A-0F1B-4B04-B169-68D0DF683527}" dt="2024-08-07T10:13:43.117" v="6831" actId="478"/>
          <ac:cxnSpMkLst>
            <pc:docMk/>
            <pc:sldMk cId="4277329764" sldId="619"/>
            <ac:cxnSpMk id="21" creationId="{B8A01343-B02A-39DD-1F94-88C6C718D59A}"/>
          </ac:cxnSpMkLst>
        </pc:cxnChg>
      </pc:sldChg>
      <pc:sldChg chg="addSp delSp modSp add mod modAnim">
        <pc:chgData name="Bullinger, Marvin" userId="5b54ce5a-dc89-476f-af33-5abd75d5b1e8" providerId="ADAL" clId="{B18DB96A-0F1B-4B04-B169-68D0DF683527}" dt="2024-08-07T20:25:08.049" v="8143" actId="1036"/>
        <pc:sldMkLst>
          <pc:docMk/>
          <pc:sldMk cId="2130696095" sldId="620"/>
        </pc:sldMkLst>
        <pc:spChg chg="add mod">
          <ac:chgData name="Bullinger, Marvin" userId="5b54ce5a-dc89-476f-af33-5abd75d5b1e8" providerId="ADAL" clId="{B18DB96A-0F1B-4B04-B169-68D0DF683527}" dt="2024-08-07T20:25:08.049" v="8143" actId="1036"/>
          <ac:spMkLst>
            <pc:docMk/>
            <pc:sldMk cId="2130696095" sldId="620"/>
            <ac:spMk id="2" creationId="{2EBCF1DB-A728-D224-D7A1-46B7A95ECB6E}"/>
          </ac:spMkLst>
        </pc:spChg>
        <pc:graphicFrameChg chg="del">
          <ac:chgData name="Bullinger, Marvin" userId="5b54ce5a-dc89-476f-af33-5abd75d5b1e8" providerId="ADAL" clId="{B18DB96A-0F1B-4B04-B169-68D0DF683527}" dt="2024-08-05T19:38:51.824" v="1721" actId="478"/>
          <ac:graphicFrameMkLst>
            <pc:docMk/>
            <pc:sldMk cId="2130696095" sldId="620"/>
            <ac:graphicFrameMk id="4" creationId="{2F021B1F-9E7F-0C54-6D49-A9A5BF15916E}"/>
          </ac:graphicFrameMkLst>
        </pc:graphicFrameChg>
        <pc:graphicFrameChg chg="del">
          <ac:chgData name="Bullinger, Marvin" userId="5b54ce5a-dc89-476f-af33-5abd75d5b1e8" providerId="ADAL" clId="{B18DB96A-0F1B-4B04-B169-68D0DF683527}" dt="2024-08-05T19:38:53.962" v="1722" actId="478"/>
          <ac:graphicFrameMkLst>
            <pc:docMk/>
            <pc:sldMk cId="2130696095" sldId="620"/>
            <ac:graphicFrameMk id="5" creationId="{AB4EE8F0-C3BA-D8B0-AE58-67C604A2F694}"/>
          </ac:graphicFrameMkLst>
        </pc:graphicFrameChg>
      </pc:sldChg>
      <pc:sldChg chg="delSp modSp del mod">
        <pc:chgData name="Bullinger, Marvin" userId="5b54ce5a-dc89-476f-af33-5abd75d5b1e8" providerId="ADAL" clId="{B18DB96A-0F1B-4B04-B169-68D0DF683527}" dt="2024-08-06T09:48:24.513" v="2884" actId="2696"/>
        <pc:sldMkLst>
          <pc:docMk/>
          <pc:sldMk cId="1885596654" sldId="621"/>
        </pc:sldMkLst>
        <pc:spChg chg="del">
          <ac:chgData name="Bullinger, Marvin" userId="5b54ce5a-dc89-476f-af33-5abd75d5b1e8" providerId="ADAL" clId="{B18DB96A-0F1B-4B04-B169-68D0DF683527}" dt="2024-08-06T09:48:24.513" v="2882" actId="478"/>
          <ac:spMkLst>
            <pc:docMk/>
            <pc:sldMk cId="1885596654" sldId="621"/>
            <ac:spMk id="42" creationId="{51A0FB6A-04B8-ADDA-8E21-CD3FFD459388}"/>
          </ac:spMkLst>
        </pc:spChg>
        <pc:spChg chg="mod">
          <ac:chgData name="Bullinger, Marvin" userId="5b54ce5a-dc89-476f-af33-5abd75d5b1e8" providerId="ADAL" clId="{B18DB96A-0F1B-4B04-B169-68D0DF683527}" dt="2024-08-06T09:48:23.366" v="2261" actId="207"/>
          <ac:spMkLst>
            <pc:docMk/>
            <pc:sldMk cId="1885596654" sldId="621"/>
            <ac:spMk id="44" creationId="{A9D5F2A2-6384-ADAB-DEEE-DF93E6E6F344}"/>
          </ac:spMkLst>
        </pc:spChg>
        <pc:spChg chg="mod modVis">
          <ac:chgData name="Bullinger, Marvin" userId="5b54ce5a-dc89-476f-af33-5abd75d5b1e8" providerId="ADAL" clId="{B18DB96A-0F1B-4B04-B169-68D0DF683527}" dt="2024-08-06T09:48:23.413" v="2262" actId="962"/>
          <ac:spMkLst>
            <pc:docMk/>
            <pc:sldMk cId="1885596654" sldId="621"/>
            <ac:spMk id="46" creationId="{651EC61F-CB3C-A332-49F2-AEA50B1C4EEE}"/>
          </ac:spMkLst>
        </pc:spChg>
        <pc:spChg chg="mod modVis">
          <ac:chgData name="Bullinger, Marvin" userId="5b54ce5a-dc89-476f-af33-5abd75d5b1e8" providerId="ADAL" clId="{B18DB96A-0F1B-4B04-B169-68D0DF683527}" dt="2024-08-06T09:48:23.413" v="2263" actId="962"/>
          <ac:spMkLst>
            <pc:docMk/>
            <pc:sldMk cId="1885596654" sldId="621"/>
            <ac:spMk id="47" creationId="{5D058E52-9A93-7774-D35B-174436C3584B}"/>
          </ac:spMkLst>
        </pc:spChg>
        <pc:spChg chg="mod modVis">
          <ac:chgData name="Bullinger, Marvin" userId="5b54ce5a-dc89-476f-af33-5abd75d5b1e8" providerId="ADAL" clId="{B18DB96A-0F1B-4B04-B169-68D0DF683527}" dt="2024-08-06T09:48:23.428" v="2264" actId="962"/>
          <ac:spMkLst>
            <pc:docMk/>
            <pc:sldMk cId="1885596654" sldId="621"/>
            <ac:spMk id="48" creationId="{1E88559D-B26A-E02E-163D-9405959E509B}"/>
          </ac:spMkLst>
        </pc:spChg>
        <pc:spChg chg="mod modVis">
          <ac:chgData name="Bullinger, Marvin" userId="5b54ce5a-dc89-476f-af33-5abd75d5b1e8" providerId="ADAL" clId="{B18DB96A-0F1B-4B04-B169-68D0DF683527}" dt="2024-08-06T09:48:23.435" v="2265" actId="962"/>
          <ac:spMkLst>
            <pc:docMk/>
            <pc:sldMk cId="1885596654" sldId="621"/>
            <ac:spMk id="49" creationId="{762C1298-1964-EEC8-2555-DADB6198510A}"/>
          </ac:spMkLst>
        </pc:spChg>
        <pc:spChg chg="mod modVis">
          <ac:chgData name="Bullinger, Marvin" userId="5b54ce5a-dc89-476f-af33-5abd75d5b1e8" providerId="ADAL" clId="{B18DB96A-0F1B-4B04-B169-68D0DF683527}" dt="2024-08-06T09:48:23.435" v="2266" actId="962"/>
          <ac:spMkLst>
            <pc:docMk/>
            <pc:sldMk cId="1885596654" sldId="621"/>
            <ac:spMk id="50" creationId="{1CF878E9-07F2-871E-4469-4979977425C9}"/>
          </ac:spMkLst>
        </pc:spChg>
        <pc:spChg chg="mod modVis">
          <ac:chgData name="Bullinger, Marvin" userId="5b54ce5a-dc89-476f-af33-5abd75d5b1e8" providerId="ADAL" clId="{B18DB96A-0F1B-4B04-B169-68D0DF683527}" dt="2024-08-06T09:48:23.444" v="2267" actId="962"/>
          <ac:spMkLst>
            <pc:docMk/>
            <pc:sldMk cId="1885596654" sldId="621"/>
            <ac:spMk id="51" creationId="{97542998-5EC6-5BB4-92D9-6BEF890E2BF7}"/>
          </ac:spMkLst>
        </pc:spChg>
        <pc:spChg chg="mod modVis">
          <ac:chgData name="Bullinger, Marvin" userId="5b54ce5a-dc89-476f-af33-5abd75d5b1e8" providerId="ADAL" clId="{B18DB96A-0F1B-4B04-B169-68D0DF683527}" dt="2024-08-06T09:48:23.444" v="2268" actId="962"/>
          <ac:spMkLst>
            <pc:docMk/>
            <pc:sldMk cId="1885596654" sldId="621"/>
            <ac:spMk id="52" creationId="{003FDB01-B8E5-1579-4B67-7D1030710AC6}"/>
          </ac:spMkLst>
        </pc:spChg>
        <pc:spChg chg="mod modVis">
          <ac:chgData name="Bullinger, Marvin" userId="5b54ce5a-dc89-476f-af33-5abd75d5b1e8" providerId="ADAL" clId="{B18DB96A-0F1B-4B04-B169-68D0DF683527}" dt="2024-08-06T09:48:23.444" v="2269" actId="962"/>
          <ac:spMkLst>
            <pc:docMk/>
            <pc:sldMk cId="1885596654" sldId="621"/>
            <ac:spMk id="53" creationId="{F14FF8BD-6BD0-7DDE-6D59-808CAC10E534}"/>
          </ac:spMkLst>
        </pc:spChg>
        <pc:spChg chg="mod modVis">
          <ac:chgData name="Bullinger, Marvin" userId="5b54ce5a-dc89-476f-af33-5abd75d5b1e8" providerId="ADAL" clId="{B18DB96A-0F1B-4B04-B169-68D0DF683527}" dt="2024-08-06T09:48:23.460" v="2270" actId="962"/>
          <ac:spMkLst>
            <pc:docMk/>
            <pc:sldMk cId="1885596654" sldId="621"/>
            <ac:spMk id="54" creationId="{81F6F20F-2D84-E398-7E8F-B9114A068C37}"/>
          </ac:spMkLst>
        </pc:spChg>
        <pc:spChg chg="mod modVis">
          <ac:chgData name="Bullinger, Marvin" userId="5b54ce5a-dc89-476f-af33-5abd75d5b1e8" providerId="ADAL" clId="{B18DB96A-0F1B-4B04-B169-68D0DF683527}" dt="2024-08-06T09:48:23.460" v="2271" actId="962"/>
          <ac:spMkLst>
            <pc:docMk/>
            <pc:sldMk cId="1885596654" sldId="621"/>
            <ac:spMk id="55" creationId="{283BF9EC-DCF7-531F-FF43-7F4138D3CD25}"/>
          </ac:spMkLst>
        </pc:spChg>
        <pc:spChg chg="mod modVis">
          <ac:chgData name="Bullinger, Marvin" userId="5b54ce5a-dc89-476f-af33-5abd75d5b1e8" providerId="ADAL" clId="{B18DB96A-0F1B-4B04-B169-68D0DF683527}" dt="2024-08-06T09:48:23.460" v="2272" actId="962"/>
          <ac:spMkLst>
            <pc:docMk/>
            <pc:sldMk cId="1885596654" sldId="621"/>
            <ac:spMk id="56" creationId="{FA18ED33-1F43-BE7B-29B7-E6D6F3024A08}"/>
          </ac:spMkLst>
        </pc:spChg>
        <pc:spChg chg="mod modVis">
          <ac:chgData name="Bullinger, Marvin" userId="5b54ce5a-dc89-476f-af33-5abd75d5b1e8" providerId="ADAL" clId="{B18DB96A-0F1B-4B04-B169-68D0DF683527}" dt="2024-08-06T09:48:23.476" v="2273" actId="962"/>
          <ac:spMkLst>
            <pc:docMk/>
            <pc:sldMk cId="1885596654" sldId="621"/>
            <ac:spMk id="57" creationId="{C88E6C3D-FD76-3139-DEE5-7C2EB46A6CDF}"/>
          </ac:spMkLst>
        </pc:spChg>
        <pc:spChg chg="mod modVis">
          <ac:chgData name="Bullinger, Marvin" userId="5b54ce5a-dc89-476f-af33-5abd75d5b1e8" providerId="ADAL" clId="{B18DB96A-0F1B-4B04-B169-68D0DF683527}" dt="2024-08-06T09:48:23.476" v="2274" actId="962"/>
          <ac:spMkLst>
            <pc:docMk/>
            <pc:sldMk cId="1885596654" sldId="621"/>
            <ac:spMk id="58" creationId="{08B9566F-3C62-620C-4286-5D2EC7455F1D}"/>
          </ac:spMkLst>
        </pc:spChg>
        <pc:spChg chg="mod modVis">
          <ac:chgData name="Bullinger, Marvin" userId="5b54ce5a-dc89-476f-af33-5abd75d5b1e8" providerId="ADAL" clId="{B18DB96A-0F1B-4B04-B169-68D0DF683527}" dt="2024-08-06T09:48:23.476" v="2275" actId="962"/>
          <ac:spMkLst>
            <pc:docMk/>
            <pc:sldMk cId="1885596654" sldId="621"/>
            <ac:spMk id="59" creationId="{C5A39C2E-C850-A461-DA3B-169444FA0789}"/>
          </ac:spMkLst>
        </pc:spChg>
        <pc:spChg chg="mod modVis">
          <ac:chgData name="Bullinger, Marvin" userId="5b54ce5a-dc89-476f-af33-5abd75d5b1e8" providerId="ADAL" clId="{B18DB96A-0F1B-4B04-B169-68D0DF683527}" dt="2024-08-06T09:48:23.491" v="2276" actId="962"/>
          <ac:spMkLst>
            <pc:docMk/>
            <pc:sldMk cId="1885596654" sldId="621"/>
            <ac:spMk id="60" creationId="{13E1A58E-7D6C-3050-467D-8F8B5B6A3692}"/>
          </ac:spMkLst>
        </pc:spChg>
        <pc:spChg chg="mod modVis">
          <ac:chgData name="Bullinger, Marvin" userId="5b54ce5a-dc89-476f-af33-5abd75d5b1e8" providerId="ADAL" clId="{B18DB96A-0F1B-4B04-B169-68D0DF683527}" dt="2024-08-06T09:48:23.491" v="2277" actId="962"/>
          <ac:spMkLst>
            <pc:docMk/>
            <pc:sldMk cId="1885596654" sldId="621"/>
            <ac:spMk id="61" creationId="{1F28B4DC-15AB-14A3-56B2-8D0A481E170C}"/>
          </ac:spMkLst>
        </pc:spChg>
        <pc:spChg chg="mod modVis">
          <ac:chgData name="Bullinger, Marvin" userId="5b54ce5a-dc89-476f-af33-5abd75d5b1e8" providerId="ADAL" clId="{B18DB96A-0F1B-4B04-B169-68D0DF683527}" dt="2024-08-06T09:48:23.491" v="2278" actId="962"/>
          <ac:spMkLst>
            <pc:docMk/>
            <pc:sldMk cId="1885596654" sldId="621"/>
            <ac:spMk id="62" creationId="{DEA05AF9-8755-D54C-36EC-C57BFB56F2C5}"/>
          </ac:spMkLst>
        </pc:spChg>
        <pc:spChg chg="mod modVis">
          <ac:chgData name="Bullinger, Marvin" userId="5b54ce5a-dc89-476f-af33-5abd75d5b1e8" providerId="ADAL" clId="{B18DB96A-0F1B-4B04-B169-68D0DF683527}" dt="2024-08-06T09:48:23.507" v="2279" actId="962"/>
          <ac:spMkLst>
            <pc:docMk/>
            <pc:sldMk cId="1885596654" sldId="621"/>
            <ac:spMk id="63" creationId="{E4F5F155-992E-DD84-7AF0-36C7121532A8}"/>
          </ac:spMkLst>
        </pc:spChg>
        <pc:spChg chg="mod modVis">
          <ac:chgData name="Bullinger, Marvin" userId="5b54ce5a-dc89-476f-af33-5abd75d5b1e8" providerId="ADAL" clId="{B18DB96A-0F1B-4B04-B169-68D0DF683527}" dt="2024-08-06T09:48:23.507" v="2280" actId="962"/>
          <ac:spMkLst>
            <pc:docMk/>
            <pc:sldMk cId="1885596654" sldId="621"/>
            <ac:spMk id="64" creationId="{766CB7EE-FE88-7517-29A7-E8DA90B509BE}"/>
          </ac:spMkLst>
        </pc:spChg>
        <pc:spChg chg="mod modVis">
          <ac:chgData name="Bullinger, Marvin" userId="5b54ce5a-dc89-476f-af33-5abd75d5b1e8" providerId="ADAL" clId="{B18DB96A-0F1B-4B04-B169-68D0DF683527}" dt="2024-08-06T09:48:23.523" v="2281" actId="962"/>
          <ac:spMkLst>
            <pc:docMk/>
            <pc:sldMk cId="1885596654" sldId="621"/>
            <ac:spMk id="65" creationId="{7816BDC6-6FD9-879F-8832-5050A8EBC608}"/>
          </ac:spMkLst>
        </pc:spChg>
        <pc:spChg chg="mod modVis">
          <ac:chgData name="Bullinger, Marvin" userId="5b54ce5a-dc89-476f-af33-5abd75d5b1e8" providerId="ADAL" clId="{B18DB96A-0F1B-4B04-B169-68D0DF683527}" dt="2024-08-06T09:48:23.523" v="2282" actId="962"/>
          <ac:spMkLst>
            <pc:docMk/>
            <pc:sldMk cId="1885596654" sldId="621"/>
            <ac:spMk id="66" creationId="{81E064D8-7A9E-BF79-F3FC-378D7A42BF76}"/>
          </ac:spMkLst>
        </pc:spChg>
        <pc:spChg chg="mod modVis">
          <ac:chgData name="Bullinger, Marvin" userId="5b54ce5a-dc89-476f-af33-5abd75d5b1e8" providerId="ADAL" clId="{B18DB96A-0F1B-4B04-B169-68D0DF683527}" dt="2024-08-06T09:48:23.536" v="2283" actId="962"/>
          <ac:spMkLst>
            <pc:docMk/>
            <pc:sldMk cId="1885596654" sldId="621"/>
            <ac:spMk id="67" creationId="{AA6244F6-F67C-62A1-DA5A-7086A8D02246}"/>
          </ac:spMkLst>
        </pc:spChg>
        <pc:spChg chg="mod modVis">
          <ac:chgData name="Bullinger, Marvin" userId="5b54ce5a-dc89-476f-af33-5abd75d5b1e8" providerId="ADAL" clId="{B18DB96A-0F1B-4B04-B169-68D0DF683527}" dt="2024-08-06T09:48:23.539" v="2284" actId="962"/>
          <ac:spMkLst>
            <pc:docMk/>
            <pc:sldMk cId="1885596654" sldId="621"/>
            <ac:spMk id="68" creationId="{86250FDE-516E-A9D8-8195-1A778B7F15D4}"/>
          </ac:spMkLst>
        </pc:spChg>
        <pc:spChg chg="mod modVis">
          <ac:chgData name="Bullinger, Marvin" userId="5b54ce5a-dc89-476f-af33-5abd75d5b1e8" providerId="ADAL" clId="{B18DB96A-0F1B-4B04-B169-68D0DF683527}" dt="2024-08-06T09:48:23.539" v="2285" actId="962"/>
          <ac:spMkLst>
            <pc:docMk/>
            <pc:sldMk cId="1885596654" sldId="621"/>
            <ac:spMk id="69" creationId="{77B90739-BC2D-84FC-9A41-7E74FA6B7527}"/>
          </ac:spMkLst>
        </pc:spChg>
        <pc:spChg chg="mod modVis">
          <ac:chgData name="Bullinger, Marvin" userId="5b54ce5a-dc89-476f-af33-5abd75d5b1e8" providerId="ADAL" clId="{B18DB96A-0F1B-4B04-B169-68D0DF683527}" dt="2024-08-06T09:48:23.539" v="2286" actId="962"/>
          <ac:spMkLst>
            <pc:docMk/>
            <pc:sldMk cId="1885596654" sldId="621"/>
            <ac:spMk id="70" creationId="{6385101D-AD4E-E5F0-1DE9-86B1C527C527}"/>
          </ac:spMkLst>
        </pc:spChg>
        <pc:spChg chg="mod modVis">
          <ac:chgData name="Bullinger, Marvin" userId="5b54ce5a-dc89-476f-af33-5abd75d5b1e8" providerId="ADAL" clId="{B18DB96A-0F1B-4B04-B169-68D0DF683527}" dt="2024-08-06T09:48:23.555" v="2287" actId="962"/>
          <ac:spMkLst>
            <pc:docMk/>
            <pc:sldMk cId="1885596654" sldId="621"/>
            <ac:spMk id="71" creationId="{94D448B5-B826-DCDD-FC4A-1BE3D95C98A8}"/>
          </ac:spMkLst>
        </pc:spChg>
        <pc:spChg chg="mod modVis">
          <ac:chgData name="Bullinger, Marvin" userId="5b54ce5a-dc89-476f-af33-5abd75d5b1e8" providerId="ADAL" clId="{B18DB96A-0F1B-4B04-B169-68D0DF683527}" dt="2024-08-06T09:48:23.555" v="2288" actId="962"/>
          <ac:spMkLst>
            <pc:docMk/>
            <pc:sldMk cId="1885596654" sldId="621"/>
            <ac:spMk id="72" creationId="{CFB30A24-2435-ADAB-5FDF-340BFC9E6020}"/>
          </ac:spMkLst>
        </pc:spChg>
        <pc:spChg chg="mod modVis">
          <ac:chgData name="Bullinger, Marvin" userId="5b54ce5a-dc89-476f-af33-5abd75d5b1e8" providerId="ADAL" clId="{B18DB96A-0F1B-4B04-B169-68D0DF683527}" dt="2024-08-06T09:48:23.555" v="2289" actId="962"/>
          <ac:spMkLst>
            <pc:docMk/>
            <pc:sldMk cId="1885596654" sldId="621"/>
            <ac:spMk id="73" creationId="{024DE094-B361-2DD5-3187-1A69119B0263}"/>
          </ac:spMkLst>
        </pc:spChg>
        <pc:spChg chg="mod modVis">
          <ac:chgData name="Bullinger, Marvin" userId="5b54ce5a-dc89-476f-af33-5abd75d5b1e8" providerId="ADAL" clId="{B18DB96A-0F1B-4B04-B169-68D0DF683527}" dt="2024-08-06T09:48:23.570" v="2290" actId="962"/>
          <ac:spMkLst>
            <pc:docMk/>
            <pc:sldMk cId="1885596654" sldId="621"/>
            <ac:spMk id="74" creationId="{67704943-7F6F-0221-110F-078438F396F8}"/>
          </ac:spMkLst>
        </pc:spChg>
        <pc:spChg chg="mod modVis">
          <ac:chgData name="Bullinger, Marvin" userId="5b54ce5a-dc89-476f-af33-5abd75d5b1e8" providerId="ADAL" clId="{B18DB96A-0F1B-4B04-B169-68D0DF683527}" dt="2024-08-06T09:48:23.570" v="2291" actId="962"/>
          <ac:spMkLst>
            <pc:docMk/>
            <pc:sldMk cId="1885596654" sldId="621"/>
            <ac:spMk id="75" creationId="{8DF13CDD-783C-D582-A0C6-4013E3BEF0EE}"/>
          </ac:spMkLst>
        </pc:spChg>
        <pc:spChg chg="mod modVis">
          <ac:chgData name="Bullinger, Marvin" userId="5b54ce5a-dc89-476f-af33-5abd75d5b1e8" providerId="ADAL" clId="{B18DB96A-0F1B-4B04-B169-68D0DF683527}" dt="2024-08-06T09:48:23.586" v="2292" actId="962"/>
          <ac:spMkLst>
            <pc:docMk/>
            <pc:sldMk cId="1885596654" sldId="621"/>
            <ac:spMk id="76" creationId="{D1F5C90D-0A43-E974-D6E7-A98DC2DD00E7}"/>
          </ac:spMkLst>
        </pc:spChg>
        <pc:spChg chg="mod modVis">
          <ac:chgData name="Bullinger, Marvin" userId="5b54ce5a-dc89-476f-af33-5abd75d5b1e8" providerId="ADAL" clId="{B18DB96A-0F1B-4B04-B169-68D0DF683527}" dt="2024-08-06T09:48:23.586" v="2293" actId="962"/>
          <ac:spMkLst>
            <pc:docMk/>
            <pc:sldMk cId="1885596654" sldId="621"/>
            <ac:spMk id="77" creationId="{CE7994EC-AC44-E746-4CAE-9B8685724323}"/>
          </ac:spMkLst>
        </pc:spChg>
        <pc:spChg chg="mod modVis">
          <ac:chgData name="Bullinger, Marvin" userId="5b54ce5a-dc89-476f-af33-5abd75d5b1e8" providerId="ADAL" clId="{B18DB96A-0F1B-4B04-B169-68D0DF683527}" dt="2024-08-06T09:48:23.586" v="2294" actId="962"/>
          <ac:spMkLst>
            <pc:docMk/>
            <pc:sldMk cId="1885596654" sldId="621"/>
            <ac:spMk id="78" creationId="{1FEEA3B9-688F-9128-DCB9-E7842DAB007C}"/>
          </ac:spMkLst>
        </pc:spChg>
        <pc:spChg chg="mod modVis">
          <ac:chgData name="Bullinger, Marvin" userId="5b54ce5a-dc89-476f-af33-5abd75d5b1e8" providerId="ADAL" clId="{B18DB96A-0F1B-4B04-B169-68D0DF683527}" dt="2024-08-06T09:48:23.601" v="2295" actId="962"/>
          <ac:spMkLst>
            <pc:docMk/>
            <pc:sldMk cId="1885596654" sldId="621"/>
            <ac:spMk id="79" creationId="{C91C2F4E-1B5B-4335-F6DC-CC69ED5B0E38}"/>
          </ac:spMkLst>
        </pc:spChg>
        <pc:spChg chg="mod modVis">
          <ac:chgData name="Bullinger, Marvin" userId="5b54ce5a-dc89-476f-af33-5abd75d5b1e8" providerId="ADAL" clId="{B18DB96A-0F1B-4B04-B169-68D0DF683527}" dt="2024-08-06T09:48:23.601" v="2296" actId="962"/>
          <ac:spMkLst>
            <pc:docMk/>
            <pc:sldMk cId="1885596654" sldId="621"/>
            <ac:spMk id="80" creationId="{F83B8892-055D-8BCF-562F-E48E4C3A25B9}"/>
          </ac:spMkLst>
        </pc:spChg>
        <pc:spChg chg="mod modVis">
          <ac:chgData name="Bullinger, Marvin" userId="5b54ce5a-dc89-476f-af33-5abd75d5b1e8" providerId="ADAL" clId="{B18DB96A-0F1B-4B04-B169-68D0DF683527}" dt="2024-08-06T09:48:23.601" v="2297" actId="962"/>
          <ac:spMkLst>
            <pc:docMk/>
            <pc:sldMk cId="1885596654" sldId="621"/>
            <ac:spMk id="81" creationId="{4837463D-1729-580C-D5E3-CA1B5EA8B946}"/>
          </ac:spMkLst>
        </pc:spChg>
        <pc:spChg chg="mod modVis">
          <ac:chgData name="Bullinger, Marvin" userId="5b54ce5a-dc89-476f-af33-5abd75d5b1e8" providerId="ADAL" clId="{B18DB96A-0F1B-4B04-B169-68D0DF683527}" dt="2024-08-06T09:48:23.617" v="2298" actId="962"/>
          <ac:spMkLst>
            <pc:docMk/>
            <pc:sldMk cId="1885596654" sldId="621"/>
            <ac:spMk id="82" creationId="{F743A46F-0550-F9EB-9C02-4B78DDAC13E0}"/>
          </ac:spMkLst>
        </pc:spChg>
        <pc:spChg chg="mod modVis">
          <ac:chgData name="Bullinger, Marvin" userId="5b54ce5a-dc89-476f-af33-5abd75d5b1e8" providerId="ADAL" clId="{B18DB96A-0F1B-4B04-B169-68D0DF683527}" dt="2024-08-06T09:48:23.617" v="2299" actId="962"/>
          <ac:spMkLst>
            <pc:docMk/>
            <pc:sldMk cId="1885596654" sldId="621"/>
            <ac:spMk id="83" creationId="{8131842E-8C58-60E9-D067-6F3BCB474F97}"/>
          </ac:spMkLst>
        </pc:spChg>
        <pc:spChg chg="mod modVis">
          <ac:chgData name="Bullinger, Marvin" userId="5b54ce5a-dc89-476f-af33-5abd75d5b1e8" providerId="ADAL" clId="{B18DB96A-0F1B-4B04-B169-68D0DF683527}" dt="2024-08-06T09:48:23.633" v="2300" actId="962"/>
          <ac:spMkLst>
            <pc:docMk/>
            <pc:sldMk cId="1885596654" sldId="621"/>
            <ac:spMk id="84" creationId="{4D5CC354-FE2C-420B-A510-316A0369A0D6}"/>
          </ac:spMkLst>
        </pc:spChg>
        <pc:spChg chg="mod modVis">
          <ac:chgData name="Bullinger, Marvin" userId="5b54ce5a-dc89-476f-af33-5abd75d5b1e8" providerId="ADAL" clId="{B18DB96A-0F1B-4B04-B169-68D0DF683527}" dt="2024-08-06T09:48:23.636" v="2301" actId="962"/>
          <ac:spMkLst>
            <pc:docMk/>
            <pc:sldMk cId="1885596654" sldId="621"/>
            <ac:spMk id="85" creationId="{C814E1C9-41CD-1A05-324B-89C72FCBB52B}"/>
          </ac:spMkLst>
        </pc:spChg>
        <pc:cxnChg chg="del">
          <ac:chgData name="Bullinger, Marvin" userId="5b54ce5a-dc89-476f-af33-5abd75d5b1e8" providerId="ADAL" clId="{B18DB96A-0F1B-4B04-B169-68D0DF683527}" dt="2024-08-06T09:48:24.513" v="2883" actId="478"/>
          <ac:cxnSpMkLst>
            <pc:docMk/>
            <pc:sldMk cId="1885596654" sldId="621"/>
            <ac:cxnSpMk id="43" creationId="{F6D5BF7A-42BC-71E3-9EBD-4F4AC0B0B60B}"/>
          </ac:cxnSpMkLst>
        </pc:cxnChg>
      </pc:sldChg>
      <pc:sldChg chg="new del">
        <pc:chgData name="Bullinger, Marvin" userId="5b54ce5a-dc89-476f-af33-5abd75d5b1e8" providerId="ADAL" clId="{B18DB96A-0F1B-4B04-B169-68D0DF683527}" dt="2024-08-05T19:43:25.462" v="1936" actId="47"/>
        <pc:sldMkLst>
          <pc:docMk/>
          <pc:sldMk cId="2051177188" sldId="621"/>
        </pc:sldMkLst>
      </pc:sldChg>
      <pc:sldChg chg="del">
        <pc:chgData name="Bullinger, Marvin" userId="5b54ce5a-dc89-476f-af33-5abd75d5b1e8" providerId="ADAL" clId="{B18DB96A-0F1B-4B04-B169-68D0DF683527}" dt="2024-08-06T09:48:24.497" v="2881" actId="2696"/>
        <pc:sldMkLst>
          <pc:docMk/>
          <pc:sldMk cId="2284461873" sldId="622"/>
        </pc:sldMkLst>
      </pc:sldChg>
      <pc:sldChg chg="del">
        <pc:chgData name="Bullinger, Marvin" userId="5b54ce5a-dc89-476f-af33-5abd75d5b1e8" providerId="ADAL" clId="{B18DB96A-0F1B-4B04-B169-68D0DF683527}" dt="2024-08-06T09:48:24.497" v="2880" actId="2696"/>
        <pc:sldMkLst>
          <pc:docMk/>
          <pc:sldMk cId="3042588058" sldId="623"/>
        </pc:sldMkLst>
      </pc:sldChg>
      <pc:sldChg chg="delSp modSp del mod replTag">
        <pc:chgData name="Bullinger, Marvin" userId="5b54ce5a-dc89-476f-af33-5abd75d5b1e8" providerId="ADAL" clId="{B18DB96A-0F1B-4B04-B169-68D0DF683527}" dt="2024-08-07T07:45:06.639" v="5962" actId="47"/>
        <pc:sldMkLst>
          <pc:docMk/>
          <pc:sldMk cId="318484148" sldId="624"/>
        </pc:sldMkLst>
        <pc:spChg chg="del">
          <ac:chgData name="Bullinger, Marvin" userId="5b54ce5a-dc89-476f-af33-5abd75d5b1e8" providerId="ADAL" clId="{B18DB96A-0F1B-4B04-B169-68D0DF683527}" dt="2024-08-06T09:48:24.497" v="2877" actId="478"/>
          <ac:spMkLst>
            <pc:docMk/>
            <pc:sldMk cId="318484148" sldId="624"/>
            <ac:spMk id="2" creationId="{BE133FED-8F11-AD3E-2A23-C8CB06008ABD}"/>
          </ac:spMkLst>
        </pc:spChg>
        <pc:spChg chg="del">
          <ac:chgData name="Bullinger, Marvin" userId="5b54ce5a-dc89-476f-af33-5abd75d5b1e8" providerId="ADAL" clId="{B18DB96A-0F1B-4B04-B169-68D0DF683527}" dt="2024-08-06T09:48:24.497" v="2876" actId="478"/>
          <ac:spMkLst>
            <pc:docMk/>
            <pc:sldMk cId="318484148" sldId="624"/>
            <ac:spMk id="3" creationId="{2AF687AB-F96E-6268-8D39-607877D81C0B}"/>
          </ac:spMkLst>
        </pc:spChg>
        <pc:spChg chg="del">
          <ac:chgData name="Bullinger, Marvin" userId="5b54ce5a-dc89-476f-af33-5abd75d5b1e8" providerId="ADAL" clId="{B18DB96A-0F1B-4B04-B169-68D0DF683527}" dt="2024-08-06T09:48:24.497" v="2875" actId="478"/>
          <ac:spMkLst>
            <pc:docMk/>
            <pc:sldMk cId="318484148" sldId="624"/>
            <ac:spMk id="4" creationId="{1A0AEA43-5BA2-CF25-AC57-30460AAB559B}"/>
          </ac:spMkLst>
        </pc:spChg>
        <pc:spChg chg="del">
          <ac:chgData name="Bullinger, Marvin" userId="5b54ce5a-dc89-476f-af33-5abd75d5b1e8" providerId="ADAL" clId="{B18DB96A-0F1B-4B04-B169-68D0DF683527}" dt="2024-08-06T09:48:24.497" v="2874" actId="478"/>
          <ac:spMkLst>
            <pc:docMk/>
            <pc:sldMk cId="318484148" sldId="624"/>
            <ac:spMk id="5" creationId="{47626AF8-7277-CA22-CB8B-8B11DA5A9DEC}"/>
          </ac:spMkLst>
        </pc:spChg>
        <pc:spChg chg="del">
          <ac:chgData name="Bullinger, Marvin" userId="5b54ce5a-dc89-476f-af33-5abd75d5b1e8" providerId="ADAL" clId="{B18DB96A-0F1B-4B04-B169-68D0DF683527}" dt="2024-08-06T09:48:24.497" v="2873" actId="478"/>
          <ac:spMkLst>
            <pc:docMk/>
            <pc:sldMk cId="318484148" sldId="624"/>
            <ac:spMk id="6" creationId="{20346CDA-9BC1-E9C7-3177-55A0B2AEBD18}"/>
          </ac:spMkLst>
        </pc:spChg>
        <pc:spChg chg="del">
          <ac:chgData name="Bullinger, Marvin" userId="5b54ce5a-dc89-476f-af33-5abd75d5b1e8" providerId="ADAL" clId="{B18DB96A-0F1B-4B04-B169-68D0DF683527}" dt="2024-08-06T09:48:24.497" v="2872" actId="478"/>
          <ac:spMkLst>
            <pc:docMk/>
            <pc:sldMk cId="318484148" sldId="624"/>
            <ac:spMk id="7" creationId="{1971671A-DA96-C894-F205-EAD4091DC6F8}"/>
          </ac:spMkLst>
        </pc:spChg>
        <pc:spChg chg="del">
          <ac:chgData name="Bullinger, Marvin" userId="5b54ce5a-dc89-476f-af33-5abd75d5b1e8" providerId="ADAL" clId="{B18DB96A-0F1B-4B04-B169-68D0DF683527}" dt="2024-08-06T09:48:24.497" v="2871" actId="478"/>
          <ac:spMkLst>
            <pc:docMk/>
            <pc:sldMk cId="318484148" sldId="624"/>
            <ac:spMk id="8" creationId="{EE3D9EFF-73C7-C857-3CC9-90AC45D31039}"/>
          </ac:spMkLst>
        </pc:spChg>
        <pc:spChg chg="del">
          <ac:chgData name="Bullinger, Marvin" userId="5b54ce5a-dc89-476f-af33-5abd75d5b1e8" providerId="ADAL" clId="{B18DB96A-0F1B-4B04-B169-68D0DF683527}" dt="2024-08-06T09:48:24.497" v="2870" actId="478"/>
          <ac:spMkLst>
            <pc:docMk/>
            <pc:sldMk cId="318484148" sldId="624"/>
            <ac:spMk id="9" creationId="{02B52AB5-41FF-0ED5-D467-E91D99D89430}"/>
          </ac:spMkLst>
        </pc:spChg>
        <pc:spChg chg="del">
          <ac:chgData name="Bullinger, Marvin" userId="5b54ce5a-dc89-476f-af33-5abd75d5b1e8" providerId="ADAL" clId="{B18DB96A-0F1B-4B04-B169-68D0DF683527}" dt="2024-08-06T09:48:24.497" v="2869" actId="478"/>
          <ac:spMkLst>
            <pc:docMk/>
            <pc:sldMk cId="318484148" sldId="624"/>
            <ac:spMk id="10" creationId="{C4D2637C-2E14-0C1F-8DCD-CF6B606A8DCF}"/>
          </ac:spMkLst>
        </pc:spChg>
        <pc:spChg chg="del">
          <ac:chgData name="Bullinger, Marvin" userId="5b54ce5a-dc89-476f-af33-5abd75d5b1e8" providerId="ADAL" clId="{B18DB96A-0F1B-4B04-B169-68D0DF683527}" dt="2024-08-06T09:48:24.497" v="2868" actId="478"/>
          <ac:spMkLst>
            <pc:docMk/>
            <pc:sldMk cId="318484148" sldId="624"/>
            <ac:spMk id="11" creationId="{50A1E4A4-DB0B-9E9E-A623-91266CE84128}"/>
          </ac:spMkLst>
        </pc:spChg>
        <pc:spChg chg="del">
          <ac:chgData name="Bullinger, Marvin" userId="5b54ce5a-dc89-476f-af33-5abd75d5b1e8" providerId="ADAL" clId="{B18DB96A-0F1B-4B04-B169-68D0DF683527}" dt="2024-08-06T09:48:24.482" v="2867" actId="478"/>
          <ac:spMkLst>
            <pc:docMk/>
            <pc:sldMk cId="318484148" sldId="624"/>
            <ac:spMk id="12" creationId="{9E5DC9A4-3C8C-F0F7-F2E5-47C01CCB943A}"/>
          </ac:spMkLst>
        </pc:spChg>
        <pc:spChg chg="del">
          <ac:chgData name="Bullinger, Marvin" userId="5b54ce5a-dc89-476f-af33-5abd75d5b1e8" providerId="ADAL" clId="{B18DB96A-0F1B-4B04-B169-68D0DF683527}" dt="2024-08-06T09:48:24.482" v="2866" actId="478"/>
          <ac:spMkLst>
            <pc:docMk/>
            <pc:sldMk cId="318484148" sldId="624"/>
            <ac:spMk id="13" creationId="{8E80BDCF-6B90-74D1-5DD9-2D1877F41CCD}"/>
          </ac:spMkLst>
        </pc:spChg>
        <pc:spChg chg="del">
          <ac:chgData name="Bullinger, Marvin" userId="5b54ce5a-dc89-476f-af33-5abd75d5b1e8" providerId="ADAL" clId="{B18DB96A-0F1B-4B04-B169-68D0DF683527}" dt="2024-08-06T09:48:24.482" v="2865" actId="478"/>
          <ac:spMkLst>
            <pc:docMk/>
            <pc:sldMk cId="318484148" sldId="624"/>
            <ac:spMk id="14" creationId="{32948846-9EC4-FA65-04EB-EB183A9A7692}"/>
          </ac:spMkLst>
        </pc:spChg>
        <pc:spChg chg="del">
          <ac:chgData name="Bullinger, Marvin" userId="5b54ce5a-dc89-476f-af33-5abd75d5b1e8" providerId="ADAL" clId="{B18DB96A-0F1B-4B04-B169-68D0DF683527}" dt="2024-08-06T09:48:24.482" v="2864" actId="478"/>
          <ac:spMkLst>
            <pc:docMk/>
            <pc:sldMk cId="318484148" sldId="624"/>
            <ac:spMk id="15" creationId="{33EF9D69-AC18-847B-1141-BE2002B6B926}"/>
          </ac:spMkLst>
        </pc:spChg>
        <pc:spChg chg="del">
          <ac:chgData name="Bullinger, Marvin" userId="5b54ce5a-dc89-476f-af33-5abd75d5b1e8" providerId="ADAL" clId="{B18DB96A-0F1B-4B04-B169-68D0DF683527}" dt="2024-08-06T09:48:24.482" v="2863" actId="478"/>
          <ac:spMkLst>
            <pc:docMk/>
            <pc:sldMk cId="318484148" sldId="624"/>
            <ac:spMk id="16" creationId="{D1EDBDAF-EDE8-1155-7820-D937E50EE8A5}"/>
          </ac:spMkLst>
        </pc:spChg>
        <pc:spChg chg="mod replST">
          <ac:chgData name="Bullinger, Marvin" userId="5b54ce5a-dc89-476f-af33-5abd75d5b1e8" providerId="ADAL" clId="{B18DB96A-0F1B-4B04-B169-68D0DF683527}" dt="2024-08-06T09:48:24.497" v="2879" actId="20577"/>
          <ac:spMkLst>
            <pc:docMk/>
            <pc:sldMk cId="318484148" sldId="624"/>
            <ac:spMk id="17" creationId="{9594C0D4-FDC7-A33E-01B0-4841DBCF38BC}"/>
          </ac:spMkLst>
        </pc:spChg>
        <pc:spChg chg="del">
          <ac:chgData name="Bullinger, Marvin" userId="5b54ce5a-dc89-476f-af33-5abd75d5b1e8" providerId="ADAL" clId="{B18DB96A-0F1B-4B04-B169-68D0DF683527}" dt="2024-08-06T09:48:24.482" v="2862" actId="478"/>
          <ac:spMkLst>
            <pc:docMk/>
            <pc:sldMk cId="318484148" sldId="624"/>
            <ac:spMk id="18" creationId="{8958AB06-67BB-9564-E948-329AB6B430CD}"/>
          </ac:spMkLst>
        </pc:spChg>
        <pc:spChg chg="del">
          <ac:chgData name="Bullinger, Marvin" userId="5b54ce5a-dc89-476f-af33-5abd75d5b1e8" providerId="ADAL" clId="{B18DB96A-0F1B-4B04-B169-68D0DF683527}" dt="2024-08-06T09:48:24.482" v="2861" actId="478"/>
          <ac:spMkLst>
            <pc:docMk/>
            <pc:sldMk cId="318484148" sldId="624"/>
            <ac:spMk id="19" creationId="{3E771485-E852-5B22-4CC9-4CB5821F6912}"/>
          </ac:spMkLst>
        </pc:spChg>
        <pc:spChg chg="del">
          <ac:chgData name="Bullinger, Marvin" userId="5b54ce5a-dc89-476f-af33-5abd75d5b1e8" providerId="ADAL" clId="{B18DB96A-0F1B-4B04-B169-68D0DF683527}" dt="2024-08-06T09:48:24.482" v="2860" actId="478"/>
          <ac:spMkLst>
            <pc:docMk/>
            <pc:sldMk cId="318484148" sldId="624"/>
            <ac:spMk id="20" creationId="{343423C5-60A4-F806-947D-E08494FFCB63}"/>
          </ac:spMkLst>
        </pc:spChg>
        <pc:spChg chg="del">
          <ac:chgData name="Bullinger, Marvin" userId="5b54ce5a-dc89-476f-af33-5abd75d5b1e8" providerId="ADAL" clId="{B18DB96A-0F1B-4B04-B169-68D0DF683527}" dt="2024-08-06T09:48:24.482" v="2859" actId="478"/>
          <ac:spMkLst>
            <pc:docMk/>
            <pc:sldMk cId="318484148" sldId="624"/>
            <ac:spMk id="21" creationId="{DE9BEE8A-E9ED-F61D-571C-26622AE2E13B}"/>
          </ac:spMkLst>
        </pc:spChg>
        <pc:spChg chg="del">
          <ac:chgData name="Bullinger, Marvin" userId="5b54ce5a-dc89-476f-af33-5abd75d5b1e8" providerId="ADAL" clId="{B18DB96A-0F1B-4B04-B169-68D0DF683527}" dt="2024-08-06T09:48:24.482" v="2858" actId="478"/>
          <ac:spMkLst>
            <pc:docMk/>
            <pc:sldMk cId="318484148" sldId="624"/>
            <ac:spMk id="22" creationId="{5E0BF6BB-632D-7892-3533-776984DCCC8C}"/>
          </ac:spMkLst>
        </pc:spChg>
        <pc:spChg chg="del">
          <ac:chgData name="Bullinger, Marvin" userId="5b54ce5a-dc89-476f-af33-5abd75d5b1e8" providerId="ADAL" clId="{B18DB96A-0F1B-4B04-B169-68D0DF683527}" dt="2024-08-06T09:48:24.482" v="2857" actId="478"/>
          <ac:spMkLst>
            <pc:docMk/>
            <pc:sldMk cId="318484148" sldId="624"/>
            <ac:spMk id="23" creationId="{EDD2AFCB-1057-EDAF-D610-ECFD17E57C23}"/>
          </ac:spMkLst>
        </pc:spChg>
        <pc:spChg chg="del">
          <ac:chgData name="Bullinger, Marvin" userId="5b54ce5a-dc89-476f-af33-5abd75d5b1e8" providerId="ADAL" clId="{B18DB96A-0F1B-4B04-B169-68D0DF683527}" dt="2024-08-06T09:48:24.482" v="2856" actId="478"/>
          <ac:spMkLst>
            <pc:docMk/>
            <pc:sldMk cId="318484148" sldId="624"/>
            <ac:spMk id="24" creationId="{29AEA9AC-5B68-658F-08A2-FA7793C3D0FE}"/>
          </ac:spMkLst>
        </pc:spChg>
        <pc:spChg chg="del">
          <ac:chgData name="Bullinger, Marvin" userId="5b54ce5a-dc89-476f-af33-5abd75d5b1e8" providerId="ADAL" clId="{B18DB96A-0F1B-4B04-B169-68D0DF683527}" dt="2024-08-06T09:48:24.482" v="2855" actId="478"/>
          <ac:spMkLst>
            <pc:docMk/>
            <pc:sldMk cId="318484148" sldId="624"/>
            <ac:spMk id="25" creationId="{15739D20-ED47-E2E8-DF75-26073B36811F}"/>
          </ac:spMkLst>
        </pc:spChg>
        <pc:spChg chg="del">
          <ac:chgData name="Bullinger, Marvin" userId="5b54ce5a-dc89-476f-af33-5abd75d5b1e8" providerId="ADAL" clId="{B18DB96A-0F1B-4B04-B169-68D0DF683527}" dt="2024-08-06T09:48:24.482" v="2854" actId="478"/>
          <ac:spMkLst>
            <pc:docMk/>
            <pc:sldMk cId="318484148" sldId="624"/>
            <ac:spMk id="28" creationId="{1BFEF87C-1E4F-4E31-8CFC-AEC3F5DEBB47}"/>
          </ac:spMkLst>
        </pc:spChg>
        <pc:spChg chg="del">
          <ac:chgData name="Bullinger, Marvin" userId="5b54ce5a-dc89-476f-af33-5abd75d5b1e8" providerId="ADAL" clId="{B18DB96A-0F1B-4B04-B169-68D0DF683527}" dt="2024-08-06T09:48:24.482" v="2853" actId="478"/>
          <ac:spMkLst>
            <pc:docMk/>
            <pc:sldMk cId="318484148" sldId="624"/>
            <ac:spMk id="29" creationId="{203467BD-5106-DB93-8E19-07B72F54A2DD}"/>
          </ac:spMkLst>
        </pc:spChg>
        <pc:spChg chg="del">
          <ac:chgData name="Bullinger, Marvin" userId="5b54ce5a-dc89-476f-af33-5abd75d5b1e8" providerId="ADAL" clId="{B18DB96A-0F1B-4B04-B169-68D0DF683527}" dt="2024-08-06T09:48:24.482" v="2852" actId="478"/>
          <ac:spMkLst>
            <pc:docMk/>
            <pc:sldMk cId="318484148" sldId="624"/>
            <ac:spMk id="30" creationId="{D0A77341-1B89-5524-F4C9-B2AA3CC86BC0}"/>
          </ac:spMkLst>
        </pc:spChg>
        <pc:spChg chg="del">
          <ac:chgData name="Bullinger, Marvin" userId="5b54ce5a-dc89-476f-af33-5abd75d5b1e8" providerId="ADAL" clId="{B18DB96A-0F1B-4B04-B169-68D0DF683527}" dt="2024-08-06T09:48:24.482" v="2851" actId="478"/>
          <ac:spMkLst>
            <pc:docMk/>
            <pc:sldMk cId="318484148" sldId="624"/>
            <ac:spMk id="31" creationId="{B4FCB9E4-40A7-8AD3-E88B-41331C4E6022}"/>
          </ac:spMkLst>
        </pc:spChg>
        <pc:spChg chg="del">
          <ac:chgData name="Bullinger, Marvin" userId="5b54ce5a-dc89-476f-af33-5abd75d5b1e8" providerId="ADAL" clId="{B18DB96A-0F1B-4B04-B169-68D0DF683527}" dt="2024-08-06T09:48:24.482" v="2850" actId="478"/>
          <ac:spMkLst>
            <pc:docMk/>
            <pc:sldMk cId="318484148" sldId="624"/>
            <ac:spMk id="32" creationId="{F62DB9A9-2BFF-CD82-E98C-79BEDD407DA2}"/>
          </ac:spMkLst>
        </pc:spChg>
        <pc:spChg chg="del">
          <ac:chgData name="Bullinger, Marvin" userId="5b54ce5a-dc89-476f-af33-5abd75d5b1e8" providerId="ADAL" clId="{B18DB96A-0F1B-4B04-B169-68D0DF683527}" dt="2024-08-06T09:48:24.482" v="2849" actId="478"/>
          <ac:spMkLst>
            <pc:docMk/>
            <pc:sldMk cId="318484148" sldId="624"/>
            <ac:spMk id="33" creationId="{8D3C910E-F7F5-2BD7-D040-A7738B618632}"/>
          </ac:spMkLst>
        </pc:spChg>
        <pc:spChg chg="del">
          <ac:chgData name="Bullinger, Marvin" userId="5b54ce5a-dc89-476f-af33-5abd75d5b1e8" providerId="ADAL" clId="{B18DB96A-0F1B-4B04-B169-68D0DF683527}" dt="2024-08-06T09:48:24.482" v="2848" actId="478"/>
          <ac:spMkLst>
            <pc:docMk/>
            <pc:sldMk cId="318484148" sldId="624"/>
            <ac:spMk id="34" creationId="{E6BA3E28-445D-1A02-4783-CB355D8F78F0}"/>
          </ac:spMkLst>
        </pc:spChg>
        <pc:spChg chg="del">
          <ac:chgData name="Bullinger, Marvin" userId="5b54ce5a-dc89-476f-af33-5abd75d5b1e8" providerId="ADAL" clId="{B18DB96A-0F1B-4B04-B169-68D0DF683527}" dt="2024-08-06T09:48:24.482" v="2847" actId="478"/>
          <ac:spMkLst>
            <pc:docMk/>
            <pc:sldMk cId="318484148" sldId="624"/>
            <ac:spMk id="35" creationId="{2847C54D-E9B5-727E-319E-BAC233D49C13}"/>
          </ac:spMkLst>
        </pc:spChg>
        <pc:spChg chg="del">
          <ac:chgData name="Bullinger, Marvin" userId="5b54ce5a-dc89-476f-af33-5abd75d5b1e8" providerId="ADAL" clId="{B18DB96A-0F1B-4B04-B169-68D0DF683527}" dt="2024-08-06T09:48:24.482" v="2846" actId="478"/>
          <ac:spMkLst>
            <pc:docMk/>
            <pc:sldMk cId="318484148" sldId="624"/>
            <ac:spMk id="36" creationId="{838FEFE0-7E10-99C0-B6C6-1E452652D380}"/>
          </ac:spMkLst>
        </pc:spChg>
        <pc:spChg chg="del">
          <ac:chgData name="Bullinger, Marvin" userId="5b54ce5a-dc89-476f-af33-5abd75d5b1e8" providerId="ADAL" clId="{B18DB96A-0F1B-4B04-B169-68D0DF683527}" dt="2024-08-06T09:48:24.482" v="2845" actId="478"/>
          <ac:spMkLst>
            <pc:docMk/>
            <pc:sldMk cId="318484148" sldId="624"/>
            <ac:spMk id="37" creationId="{BA387CEB-8615-4F9E-D5D1-C2FEC965F717}"/>
          </ac:spMkLst>
        </pc:spChg>
        <pc:spChg chg="del">
          <ac:chgData name="Bullinger, Marvin" userId="5b54ce5a-dc89-476f-af33-5abd75d5b1e8" providerId="ADAL" clId="{B18DB96A-0F1B-4B04-B169-68D0DF683527}" dt="2024-08-06T09:48:24.482" v="2844" actId="478"/>
          <ac:spMkLst>
            <pc:docMk/>
            <pc:sldMk cId="318484148" sldId="624"/>
            <ac:spMk id="38" creationId="{CA502A0C-7630-8375-6B2A-0E9AA78DAEFF}"/>
          </ac:spMkLst>
        </pc:spChg>
        <pc:spChg chg="del">
          <ac:chgData name="Bullinger, Marvin" userId="5b54ce5a-dc89-476f-af33-5abd75d5b1e8" providerId="ADAL" clId="{B18DB96A-0F1B-4B04-B169-68D0DF683527}" dt="2024-08-06T09:48:24.482" v="2843" actId="478"/>
          <ac:spMkLst>
            <pc:docMk/>
            <pc:sldMk cId="318484148" sldId="624"/>
            <ac:spMk id="39" creationId="{96C8F416-D210-E9BE-B80E-F8129D34B9BC}"/>
          </ac:spMkLst>
        </pc:spChg>
        <pc:spChg chg="del">
          <ac:chgData name="Bullinger, Marvin" userId="5b54ce5a-dc89-476f-af33-5abd75d5b1e8" providerId="ADAL" clId="{B18DB96A-0F1B-4B04-B169-68D0DF683527}" dt="2024-08-06T09:48:24.482" v="2842" actId="478"/>
          <ac:spMkLst>
            <pc:docMk/>
            <pc:sldMk cId="318484148" sldId="624"/>
            <ac:spMk id="40" creationId="{D25C3031-83CE-703C-9141-FBB4E2AD6923}"/>
          </ac:spMkLst>
        </pc:spChg>
        <pc:spChg chg="del">
          <ac:chgData name="Bullinger, Marvin" userId="5b54ce5a-dc89-476f-af33-5abd75d5b1e8" providerId="ADAL" clId="{B18DB96A-0F1B-4B04-B169-68D0DF683527}" dt="2024-08-06T09:48:24.482" v="2841" actId="478"/>
          <ac:spMkLst>
            <pc:docMk/>
            <pc:sldMk cId="318484148" sldId="624"/>
            <ac:spMk id="41" creationId="{6E8E5A12-A1D7-F325-AD21-83362C8E3B4A}"/>
          </ac:spMkLst>
        </pc:spChg>
      </pc:sldChg>
      <pc:sldChg chg="new del">
        <pc:chgData name="Bullinger, Marvin" userId="5b54ce5a-dc89-476f-af33-5abd75d5b1e8" providerId="ADAL" clId="{B18DB96A-0F1B-4B04-B169-68D0DF683527}" dt="2024-08-06T09:53:27.955" v="2989" actId="2696"/>
        <pc:sldMkLst>
          <pc:docMk/>
          <pc:sldMk cId="1585218130" sldId="625"/>
        </pc:sldMkLst>
      </pc:sldChg>
      <pc:sldChg chg="addSp delSp modSp new del mod modClrScheme chgLayout">
        <pc:chgData name="Bullinger, Marvin" userId="5b54ce5a-dc89-476f-af33-5abd75d5b1e8" providerId="ADAL" clId="{B18DB96A-0F1B-4B04-B169-68D0DF683527}" dt="2024-08-06T12:16:44.250" v="4410" actId="47"/>
        <pc:sldMkLst>
          <pc:docMk/>
          <pc:sldMk cId="2385845203" sldId="625"/>
        </pc:sldMkLst>
        <pc:spChg chg="del">
          <ac:chgData name="Bullinger, Marvin" userId="5b54ce5a-dc89-476f-af33-5abd75d5b1e8" providerId="ADAL" clId="{B18DB96A-0F1B-4B04-B169-68D0DF683527}" dt="2024-08-06T09:54:01.494" v="2991" actId="700"/>
          <ac:spMkLst>
            <pc:docMk/>
            <pc:sldMk cId="2385845203" sldId="625"/>
            <ac:spMk id="2" creationId="{A7BBAD01-A470-E8D4-957B-8B0CF4DA5AA7}"/>
          </ac:spMkLst>
        </pc:spChg>
        <pc:spChg chg="del">
          <ac:chgData name="Bullinger, Marvin" userId="5b54ce5a-dc89-476f-af33-5abd75d5b1e8" providerId="ADAL" clId="{B18DB96A-0F1B-4B04-B169-68D0DF683527}" dt="2024-08-06T09:54:01.494" v="2991" actId="700"/>
          <ac:spMkLst>
            <pc:docMk/>
            <pc:sldMk cId="2385845203" sldId="625"/>
            <ac:spMk id="3" creationId="{D7658C33-7645-4ADE-7706-A8002F233C62}"/>
          </ac:spMkLst>
        </pc:spChg>
        <pc:spChg chg="del">
          <ac:chgData name="Bullinger, Marvin" userId="5b54ce5a-dc89-476f-af33-5abd75d5b1e8" providerId="ADAL" clId="{B18DB96A-0F1B-4B04-B169-68D0DF683527}" dt="2024-08-06T09:54:01.494" v="2991" actId="700"/>
          <ac:spMkLst>
            <pc:docMk/>
            <pc:sldMk cId="2385845203" sldId="625"/>
            <ac:spMk id="4" creationId="{1D23DBC7-60D2-95B0-239C-76BBF2353964}"/>
          </ac:spMkLst>
        </pc:spChg>
        <pc:spChg chg="del">
          <ac:chgData name="Bullinger, Marvin" userId="5b54ce5a-dc89-476f-af33-5abd75d5b1e8" providerId="ADAL" clId="{B18DB96A-0F1B-4B04-B169-68D0DF683527}" dt="2024-08-06T09:54:01.494" v="2991" actId="700"/>
          <ac:spMkLst>
            <pc:docMk/>
            <pc:sldMk cId="2385845203" sldId="625"/>
            <ac:spMk id="5" creationId="{F31D7623-05CB-3B11-C2F1-C9A45F4BA132}"/>
          </ac:spMkLst>
        </pc:spChg>
        <pc:spChg chg="del">
          <ac:chgData name="Bullinger, Marvin" userId="5b54ce5a-dc89-476f-af33-5abd75d5b1e8" providerId="ADAL" clId="{B18DB96A-0F1B-4B04-B169-68D0DF683527}" dt="2024-08-06T09:54:01.494" v="2991" actId="700"/>
          <ac:spMkLst>
            <pc:docMk/>
            <pc:sldMk cId="2385845203" sldId="625"/>
            <ac:spMk id="6" creationId="{A70B8EAA-2F84-DA47-6B55-F1BE2E171956}"/>
          </ac:spMkLst>
        </pc:spChg>
        <pc:spChg chg="del">
          <ac:chgData name="Bullinger, Marvin" userId="5b54ce5a-dc89-476f-af33-5abd75d5b1e8" providerId="ADAL" clId="{B18DB96A-0F1B-4B04-B169-68D0DF683527}" dt="2024-08-06T09:54:01.494" v="2991" actId="700"/>
          <ac:spMkLst>
            <pc:docMk/>
            <pc:sldMk cId="2385845203" sldId="625"/>
            <ac:spMk id="7" creationId="{744E10E8-AEA1-AAE2-BDE5-BEC7420EF445}"/>
          </ac:spMkLst>
        </pc:spChg>
        <pc:spChg chg="del">
          <ac:chgData name="Bullinger, Marvin" userId="5b54ce5a-dc89-476f-af33-5abd75d5b1e8" providerId="ADAL" clId="{B18DB96A-0F1B-4B04-B169-68D0DF683527}" dt="2024-08-06T09:54:01.494" v="2991" actId="700"/>
          <ac:spMkLst>
            <pc:docMk/>
            <pc:sldMk cId="2385845203" sldId="625"/>
            <ac:spMk id="8" creationId="{DCCA862A-7B82-A426-5872-9CFA7557B83D}"/>
          </ac:spMkLst>
        </pc:spChg>
        <pc:spChg chg="del">
          <ac:chgData name="Bullinger, Marvin" userId="5b54ce5a-dc89-476f-af33-5abd75d5b1e8" providerId="ADAL" clId="{B18DB96A-0F1B-4B04-B169-68D0DF683527}" dt="2024-08-06T09:54:01.494" v="2991" actId="700"/>
          <ac:spMkLst>
            <pc:docMk/>
            <pc:sldMk cId="2385845203" sldId="625"/>
            <ac:spMk id="9" creationId="{4D4293A1-1535-517F-8BD1-D7CF36553D35}"/>
          </ac:spMkLst>
        </pc:spChg>
        <pc:spChg chg="del mod ord">
          <ac:chgData name="Bullinger, Marvin" userId="5b54ce5a-dc89-476f-af33-5abd75d5b1e8" providerId="ADAL" clId="{B18DB96A-0F1B-4B04-B169-68D0DF683527}" dt="2024-08-06T09:54:01.494" v="2991" actId="700"/>
          <ac:spMkLst>
            <pc:docMk/>
            <pc:sldMk cId="2385845203" sldId="625"/>
            <ac:spMk id="10" creationId="{C3EC4F22-7E92-B910-E96B-FC34134B63BF}"/>
          </ac:spMkLst>
        </pc:spChg>
        <pc:spChg chg="del mod ord">
          <ac:chgData name="Bullinger, Marvin" userId="5b54ce5a-dc89-476f-af33-5abd75d5b1e8" providerId="ADAL" clId="{B18DB96A-0F1B-4B04-B169-68D0DF683527}" dt="2024-08-06T09:54:01.494" v="2991" actId="700"/>
          <ac:spMkLst>
            <pc:docMk/>
            <pc:sldMk cId="2385845203" sldId="625"/>
            <ac:spMk id="11" creationId="{79F2612E-501E-35EC-4CD5-32E13362506E}"/>
          </ac:spMkLst>
        </pc:spChg>
        <pc:spChg chg="del">
          <ac:chgData name="Bullinger, Marvin" userId="5b54ce5a-dc89-476f-af33-5abd75d5b1e8" providerId="ADAL" clId="{B18DB96A-0F1B-4B04-B169-68D0DF683527}" dt="2024-08-06T09:54:01.494" v="2991" actId="700"/>
          <ac:spMkLst>
            <pc:docMk/>
            <pc:sldMk cId="2385845203" sldId="625"/>
            <ac:spMk id="12" creationId="{35BDF8EE-B5D7-242C-1F86-E3B913DAA19A}"/>
          </ac:spMkLst>
        </pc:spChg>
        <pc:spChg chg="del">
          <ac:chgData name="Bullinger, Marvin" userId="5b54ce5a-dc89-476f-af33-5abd75d5b1e8" providerId="ADAL" clId="{B18DB96A-0F1B-4B04-B169-68D0DF683527}" dt="2024-08-06T09:54:01.494" v="2991" actId="700"/>
          <ac:spMkLst>
            <pc:docMk/>
            <pc:sldMk cId="2385845203" sldId="625"/>
            <ac:spMk id="13" creationId="{8817AADF-6A88-D25F-4B16-0CAD1C3F67A8}"/>
          </ac:spMkLst>
        </pc:spChg>
        <pc:spChg chg="del">
          <ac:chgData name="Bullinger, Marvin" userId="5b54ce5a-dc89-476f-af33-5abd75d5b1e8" providerId="ADAL" clId="{B18DB96A-0F1B-4B04-B169-68D0DF683527}" dt="2024-08-06T09:54:01.494" v="2991" actId="700"/>
          <ac:spMkLst>
            <pc:docMk/>
            <pc:sldMk cId="2385845203" sldId="625"/>
            <ac:spMk id="14" creationId="{F311C2A1-D400-7AF0-3265-9303FBDEAD4D}"/>
          </ac:spMkLst>
        </pc:spChg>
        <pc:spChg chg="del">
          <ac:chgData name="Bullinger, Marvin" userId="5b54ce5a-dc89-476f-af33-5abd75d5b1e8" providerId="ADAL" clId="{B18DB96A-0F1B-4B04-B169-68D0DF683527}" dt="2024-08-06T09:54:01.494" v="2991" actId="700"/>
          <ac:spMkLst>
            <pc:docMk/>
            <pc:sldMk cId="2385845203" sldId="625"/>
            <ac:spMk id="15" creationId="{C83609EF-E70B-7824-B5B6-C724AEE448B1}"/>
          </ac:spMkLst>
        </pc:spChg>
        <pc:spChg chg="del">
          <ac:chgData name="Bullinger, Marvin" userId="5b54ce5a-dc89-476f-af33-5abd75d5b1e8" providerId="ADAL" clId="{B18DB96A-0F1B-4B04-B169-68D0DF683527}" dt="2024-08-06T09:54:01.494" v="2991" actId="700"/>
          <ac:spMkLst>
            <pc:docMk/>
            <pc:sldMk cId="2385845203" sldId="625"/>
            <ac:spMk id="16" creationId="{33C55FB8-7B10-468C-E611-AAC46F1FE34B}"/>
          </ac:spMkLst>
        </pc:spChg>
        <pc:spChg chg="del mod ord">
          <ac:chgData name="Bullinger, Marvin" userId="5b54ce5a-dc89-476f-af33-5abd75d5b1e8" providerId="ADAL" clId="{B18DB96A-0F1B-4B04-B169-68D0DF683527}" dt="2024-08-06T09:54:01.494" v="2991" actId="700"/>
          <ac:spMkLst>
            <pc:docMk/>
            <pc:sldMk cId="2385845203" sldId="625"/>
            <ac:spMk id="17" creationId="{D6405092-2B64-2CFE-10AD-EB9A3B624E3C}"/>
          </ac:spMkLst>
        </pc:spChg>
        <pc:spChg chg="del">
          <ac:chgData name="Bullinger, Marvin" userId="5b54ce5a-dc89-476f-af33-5abd75d5b1e8" providerId="ADAL" clId="{B18DB96A-0F1B-4B04-B169-68D0DF683527}" dt="2024-08-06T09:54:01.494" v="2991" actId="700"/>
          <ac:spMkLst>
            <pc:docMk/>
            <pc:sldMk cId="2385845203" sldId="625"/>
            <ac:spMk id="18" creationId="{C0EB1B52-C84F-DC65-9356-B703618E3752}"/>
          </ac:spMkLst>
        </pc:spChg>
        <pc:spChg chg="del">
          <ac:chgData name="Bullinger, Marvin" userId="5b54ce5a-dc89-476f-af33-5abd75d5b1e8" providerId="ADAL" clId="{B18DB96A-0F1B-4B04-B169-68D0DF683527}" dt="2024-08-06T09:54:01.494" v="2991" actId="700"/>
          <ac:spMkLst>
            <pc:docMk/>
            <pc:sldMk cId="2385845203" sldId="625"/>
            <ac:spMk id="19" creationId="{8F9282DC-F569-747D-97B9-1A87FF98F4CB}"/>
          </ac:spMkLst>
        </pc:spChg>
        <pc:spChg chg="del">
          <ac:chgData name="Bullinger, Marvin" userId="5b54ce5a-dc89-476f-af33-5abd75d5b1e8" providerId="ADAL" clId="{B18DB96A-0F1B-4B04-B169-68D0DF683527}" dt="2024-08-06T09:54:01.494" v="2991" actId="700"/>
          <ac:spMkLst>
            <pc:docMk/>
            <pc:sldMk cId="2385845203" sldId="625"/>
            <ac:spMk id="20" creationId="{4A078146-9A67-65B8-E2EB-01959A0D1DF1}"/>
          </ac:spMkLst>
        </pc:spChg>
        <pc:spChg chg="del">
          <ac:chgData name="Bullinger, Marvin" userId="5b54ce5a-dc89-476f-af33-5abd75d5b1e8" providerId="ADAL" clId="{B18DB96A-0F1B-4B04-B169-68D0DF683527}" dt="2024-08-06T09:54:01.494" v="2991" actId="700"/>
          <ac:spMkLst>
            <pc:docMk/>
            <pc:sldMk cId="2385845203" sldId="625"/>
            <ac:spMk id="21" creationId="{56817CD0-D406-FDAE-D1BE-1710CC6CC07C}"/>
          </ac:spMkLst>
        </pc:spChg>
        <pc:spChg chg="del">
          <ac:chgData name="Bullinger, Marvin" userId="5b54ce5a-dc89-476f-af33-5abd75d5b1e8" providerId="ADAL" clId="{B18DB96A-0F1B-4B04-B169-68D0DF683527}" dt="2024-08-06T09:54:01.494" v="2991" actId="700"/>
          <ac:spMkLst>
            <pc:docMk/>
            <pc:sldMk cId="2385845203" sldId="625"/>
            <ac:spMk id="22" creationId="{D3DAF78B-E97E-2BAA-E99D-D0E06D783FF2}"/>
          </ac:spMkLst>
        </pc:spChg>
        <pc:spChg chg="del">
          <ac:chgData name="Bullinger, Marvin" userId="5b54ce5a-dc89-476f-af33-5abd75d5b1e8" providerId="ADAL" clId="{B18DB96A-0F1B-4B04-B169-68D0DF683527}" dt="2024-08-06T09:54:01.494" v="2991" actId="700"/>
          <ac:spMkLst>
            <pc:docMk/>
            <pc:sldMk cId="2385845203" sldId="625"/>
            <ac:spMk id="23" creationId="{A50FA60C-7C6D-18E7-5D90-5E1C082C8208}"/>
          </ac:spMkLst>
        </pc:spChg>
        <pc:spChg chg="del">
          <ac:chgData name="Bullinger, Marvin" userId="5b54ce5a-dc89-476f-af33-5abd75d5b1e8" providerId="ADAL" clId="{B18DB96A-0F1B-4B04-B169-68D0DF683527}" dt="2024-08-06T09:54:01.494" v="2991" actId="700"/>
          <ac:spMkLst>
            <pc:docMk/>
            <pc:sldMk cId="2385845203" sldId="625"/>
            <ac:spMk id="24" creationId="{01630D5F-8535-A657-CFEE-4CA2EDBCDEDF}"/>
          </ac:spMkLst>
        </pc:spChg>
        <pc:spChg chg="del">
          <ac:chgData name="Bullinger, Marvin" userId="5b54ce5a-dc89-476f-af33-5abd75d5b1e8" providerId="ADAL" clId="{B18DB96A-0F1B-4B04-B169-68D0DF683527}" dt="2024-08-06T09:54:01.494" v="2991" actId="700"/>
          <ac:spMkLst>
            <pc:docMk/>
            <pc:sldMk cId="2385845203" sldId="625"/>
            <ac:spMk id="25" creationId="{8256BA0B-E14C-A4B1-0DDF-99C96055C9B9}"/>
          </ac:spMkLst>
        </pc:spChg>
        <pc:spChg chg="mod ord">
          <ac:chgData name="Bullinger, Marvin" userId="5b54ce5a-dc89-476f-af33-5abd75d5b1e8" providerId="ADAL" clId="{B18DB96A-0F1B-4B04-B169-68D0DF683527}" dt="2024-08-06T09:54:01.494" v="2991" actId="700"/>
          <ac:spMkLst>
            <pc:docMk/>
            <pc:sldMk cId="2385845203" sldId="625"/>
            <ac:spMk id="26" creationId="{B4AA1EE9-C12E-86A2-1D68-42D2B26AFBBD}"/>
          </ac:spMkLst>
        </pc:spChg>
        <pc:spChg chg="mod ord">
          <ac:chgData name="Bullinger, Marvin" userId="5b54ce5a-dc89-476f-af33-5abd75d5b1e8" providerId="ADAL" clId="{B18DB96A-0F1B-4B04-B169-68D0DF683527}" dt="2024-08-06T09:54:01.494" v="2991" actId="700"/>
          <ac:spMkLst>
            <pc:docMk/>
            <pc:sldMk cId="2385845203" sldId="625"/>
            <ac:spMk id="27" creationId="{899F73A0-9550-4CF7-DA2F-050835F19C5E}"/>
          </ac:spMkLst>
        </pc:spChg>
        <pc:spChg chg="del">
          <ac:chgData name="Bullinger, Marvin" userId="5b54ce5a-dc89-476f-af33-5abd75d5b1e8" providerId="ADAL" clId="{B18DB96A-0F1B-4B04-B169-68D0DF683527}" dt="2024-08-06T09:54:01.494" v="2991" actId="700"/>
          <ac:spMkLst>
            <pc:docMk/>
            <pc:sldMk cId="2385845203" sldId="625"/>
            <ac:spMk id="28" creationId="{F96EDA1C-BFD8-81D7-3A4C-9AC45F6FFC19}"/>
          </ac:spMkLst>
        </pc:spChg>
        <pc:spChg chg="del">
          <ac:chgData name="Bullinger, Marvin" userId="5b54ce5a-dc89-476f-af33-5abd75d5b1e8" providerId="ADAL" clId="{B18DB96A-0F1B-4B04-B169-68D0DF683527}" dt="2024-08-06T09:54:01.494" v="2991" actId="700"/>
          <ac:spMkLst>
            <pc:docMk/>
            <pc:sldMk cId="2385845203" sldId="625"/>
            <ac:spMk id="29" creationId="{FF06F30A-CCBC-E5EB-F498-6BC9830085B7}"/>
          </ac:spMkLst>
        </pc:spChg>
        <pc:spChg chg="del">
          <ac:chgData name="Bullinger, Marvin" userId="5b54ce5a-dc89-476f-af33-5abd75d5b1e8" providerId="ADAL" clId="{B18DB96A-0F1B-4B04-B169-68D0DF683527}" dt="2024-08-06T09:54:01.494" v="2991" actId="700"/>
          <ac:spMkLst>
            <pc:docMk/>
            <pc:sldMk cId="2385845203" sldId="625"/>
            <ac:spMk id="30" creationId="{89AA61CA-65C7-78D2-5F4E-0C31FB92C646}"/>
          </ac:spMkLst>
        </pc:spChg>
        <pc:spChg chg="del">
          <ac:chgData name="Bullinger, Marvin" userId="5b54ce5a-dc89-476f-af33-5abd75d5b1e8" providerId="ADAL" clId="{B18DB96A-0F1B-4B04-B169-68D0DF683527}" dt="2024-08-06T09:54:01.494" v="2991" actId="700"/>
          <ac:spMkLst>
            <pc:docMk/>
            <pc:sldMk cId="2385845203" sldId="625"/>
            <ac:spMk id="31" creationId="{54175484-CF54-42C0-C5FD-810386A10865}"/>
          </ac:spMkLst>
        </pc:spChg>
        <pc:spChg chg="del">
          <ac:chgData name="Bullinger, Marvin" userId="5b54ce5a-dc89-476f-af33-5abd75d5b1e8" providerId="ADAL" clId="{B18DB96A-0F1B-4B04-B169-68D0DF683527}" dt="2024-08-06T09:54:01.494" v="2991" actId="700"/>
          <ac:spMkLst>
            <pc:docMk/>
            <pc:sldMk cId="2385845203" sldId="625"/>
            <ac:spMk id="32" creationId="{5D88B1D7-B197-8CCB-CA16-907C900761D0}"/>
          </ac:spMkLst>
        </pc:spChg>
        <pc:spChg chg="del">
          <ac:chgData name="Bullinger, Marvin" userId="5b54ce5a-dc89-476f-af33-5abd75d5b1e8" providerId="ADAL" clId="{B18DB96A-0F1B-4B04-B169-68D0DF683527}" dt="2024-08-06T09:54:01.494" v="2991" actId="700"/>
          <ac:spMkLst>
            <pc:docMk/>
            <pc:sldMk cId="2385845203" sldId="625"/>
            <ac:spMk id="33" creationId="{1DB50C09-06FA-D241-B3B6-82E194417D49}"/>
          </ac:spMkLst>
        </pc:spChg>
        <pc:spChg chg="del">
          <ac:chgData name="Bullinger, Marvin" userId="5b54ce5a-dc89-476f-af33-5abd75d5b1e8" providerId="ADAL" clId="{B18DB96A-0F1B-4B04-B169-68D0DF683527}" dt="2024-08-06T09:54:01.494" v="2991" actId="700"/>
          <ac:spMkLst>
            <pc:docMk/>
            <pc:sldMk cId="2385845203" sldId="625"/>
            <ac:spMk id="34" creationId="{12B4539E-D102-FC9F-D4E4-0A03A4A9DD39}"/>
          </ac:spMkLst>
        </pc:spChg>
        <pc:spChg chg="del">
          <ac:chgData name="Bullinger, Marvin" userId="5b54ce5a-dc89-476f-af33-5abd75d5b1e8" providerId="ADAL" clId="{B18DB96A-0F1B-4B04-B169-68D0DF683527}" dt="2024-08-06T09:54:01.494" v="2991" actId="700"/>
          <ac:spMkLst>
            <pc:docMk/>
            <pc:sldMk cId="2385845203" sldId="625"/>
            <ac:spMk id="35" creationId="{36665F36-FF61-0B48-727A-F96801815C3B}"/>
          </ac:spMkLst>
        </pc:spChg>
        <pc:spChg chg="del">
          <ac:chgData name="Bullinger, Marvin" userId="5b54ce5a-dc89-476f-af33-5abd75d5b1e8" providerId="ADAL" clId="{B18DB96A-0F1B-4B04-B169-68D0DF683527}" dt="2024-08-06T09:54:01.494" v="2991" actId="700"/>
          <ac:spMkLst>
            <pc:docMk/>
            <pc:sldMk cId="2385845203" sldId="625"/>
            <ac:spMk id="36" creationId="{0CAD8480-0EC4-2295-DA3D-A64A870EF9C6}"/>
          </ac:spMkLst>
        </pc:spChg>
        <pc:spChg chg="del">
          <ac:chgData name="Bullinger, Marvin" userId="5b54ce5a-dc89-476f-af33-5abd75d5b1e8" providerId="ADAL" clId="{B18DB96A-0F1B-4B04-B169-68D0DF683527}" dt="2024-08-06T09:54:01.494" v="2991" actId="700"/>
          <ac:spMkLst>
            <pc:docMk/>
            <pc:sldMk cId="2385845203" sldId="625"/>
            <ac:spMk id="37" creationId="{633C248D-1E1A-92FC-B151-0FF2449980C5}"/>
          </ac:spMkLst>
        </pc:spChg>
        <pc:spChg chg="del">
          <ac:chgData name="Bullinger, Marvin" userId="5b54ce5a-dc89-476f-af33-5abd75d5b1e8" providerId="ADAL" clId="{B18DB96A-0F1B-4B04-B169-68D0DF683527}" dt="2024-08-06T09:54:01.494" v="2991" actId="700"/>
          <ac:spMkLst>
            <pc:docMk/>
            <pc:sldMk cId="2385845203" sldId="625"/>
            <ac:spMk id="38" creationId="{394F1360-C67E-8865-93F3-F1A01FD214EB}"/>
          </ac:spMkLst>
        </pc:spChg>
        <pc:spChg chg="del">
          <ac:chgData name="Bullinger, Marvin" userId="5b54ce5a-dc89-476f-af33-5abd75d5b1e8" providerId="ADAL" clId="{B18DB96A-0F1B-4B04-B169-68D0DF683527}" dt="2024-08-06T09:54:01.494" v="2991" actId="700"/>
          <ac:spMkLst>
            <pc:docMk/>
            <pc:sldMk cId="2385845203" sldId="625"/>
            <ac:spMk id="39" creationId="{8574F905-C569-56BB-CC3E-06C80C7D5C27}"/>
          </ac:spMkLst>
        </pc:spChg>
        <pc:spChg chg="del">
          <ac:chgData name="Bullinger, Marvin" userId="5b54ce5a-dc89-476f-af33-5abd75d5b1e8" providerId="ADAL" clId="{B18DB96A-0F1B-4B04-B169-68D0DF683527}" dt="2024-08-06T09:54:01.494" v="2991" actId="700"/>
          <ac:spMkLst>
            <pc:docMk/>
            <pc:sldMk cId="2385845203" sldId="625"/>
            <ac:spMk id="40" creationId="{1E833D64-595A-249B-5128-1F698C598DB4}"/>
          </ac:spMkLst>
        </pc:spChg>
        <pc:spChg chg="del">
          <ac:chgData name="Bullinger, Marvin" userId="5b54ce5a-dc89-476f-af33-5abd75d5b1e8" providerId="ADAL" clId="{B18DB96A-0F1B-4B04-B169-68D0DF683527}" dt="2024-08-06T09:54:01.494" v="2991" actId="700"/>
          <ac:spMkLst>
            <pc:docMk/>
            <pc:sldMk cId="2385845203" sldId="625"/>
            <ac:spMk id="41" creationId="{0DC85A04-67DD-21CA-0738-4CBCFDF95A48}"/>
          </ac:spMkLst>
        </pc:spChg>
        <pc:spChg chg="add mod ord">
          <ac:chgData name="Bullinger, Marvin" userId="5b54ce5a-dc89-476f-af33-5abd75d5b1e8" providerId="ADAL" clId="{B18DB96A-0F1B-4B04-B169-68D0DF683527}" dt="2024-08-06T09:54:08.037" v="3016" actId="20577"/>
          <ac:spMkLst>
            <pc:docMk/>
            <pc:sldMk cId="2385845203" sldId="625"/>
            <ac:spMk id="42" creationId="{F35C71A9-A494-87F1-3003-427B9A8F62DC}"/>
          </ac:spMkLst>
        </pc:spChg>
        <pc:spChg chg="add mod ord">
          <ac:chgData name="Bullinger, Marvin" userId="5b54ce5a-dc89-476f-af33-5abd75d5b1e8" providerId="ADAL" clId="{B18DB96A-0F1B-4B04-B169-68D0DF683527}" dt="2024-08-06T09:54:01.494" v="2991" actId="700"/>
          <ac:spMkLst>
            <pc:docMk/>
            <pc:sldMk cId="2385845203" sldId="625"/>
            <ac:spMk id="43" creationId="{78AB30E4-29AE-D7BC-7C32-A0D804BD65B8}"/>
          </ac:spMkLst>
        </pc:spChg>
        <pc:spChg chg="add mod ord">
          <ac:chgData name="Bullinger, Marvin" userId="5b54ce5a-dc89-476f-af33-5abd75d5b1e8" providerId="ADAL" clId="{B18DB96A-0F1B-4B04-B169-68D0DF683527}" dt="2024-08-06T11:58:10.080" v="4321" actId="5793"/>
          <ac:spMkLst>
            <pc:docMk/>
            <pc:sldMk cId="2385845203" sldId="625"/>
            <ac:spMk id="44" creationId="{B26C11EE-FA77-127E-0DDF-7F2777A4141A}"/>
          </ac:spMkLst>
        </pc:spChg>
      </pc:sldChg>
      <pc:sldChg chg="modSp add del mod">
        <pc:chgData name="Bullinger, Marvin" userId="5b54ce5a-dc89-476f-af33-5abd75d5b1e8" providerId="ADAL" clId="{B18DB96A-0F1B-4B04-B169-68D0DF683527}" dt="2024-08-06T12:16:43.527" v="4409" actId="47"/>
        <pc:sldMkLst>
          <pc:docMk/>
          <pc:sldMk cId="4068106918" sldId="626"/>
        </pc:sldMkLst>
        <pc:spChg chg="mod">
          <ac:chgData name="Bullinger, Marvin" userId="5b54ce5a-dc89-476f-af33-5abd75d5b1e8" providerId="ADAL" clId="{B18DB96A-0F1B-4B04-B169-68D0DF683527}" dt="2024-08-06T12:01:49.466" v="4328" actId="5793"/>
          <ac:spMkLst>
            <pc:docMk/>
            <pc:sldMk cId="4068106918" sldId="626"/>
            <ac:spMk id="44" creationId="{B26C11EE-FA77-127E-0DDF-7F2777A4141A}"/>
          </ac:spMkLst>
        </pc:spChg>
      </pc:sldChg>
      <pc:sldChg chg="modSp add del mod">
        <pc:chgData name="Bullinger, Marvin" userId="5b54ce5a-dc89-476f-af33-5abd75d5b1e8" providerId="ADAL" clId="{B18DB96A-0F1B-4B04-B169-68D0DF683527}" dt="2024-08-06T12:16:41.966" v="4408" actId="47"/>
        <pc:sldMkLst>
          <pc:docMk/>
          <pc:sldMk cId="2496421118" sldId="627"/>
        </pc:sldMkLst>
        <pc:spChg chg="mod">
          <ac:chgData name="Bullinger, Marvin" userId="5b54ce5a-dc89-476f-af33-5abd75d5b1e8" providerId="ADAL" clId="{B18DB96A-0F1B-4B04-B169-68D0DF683527}" dt="2024-08-06T12:04:39.366" v="4343" actId="207"/>
          <ac:spMkLst>
            <pc:docMk/>
            <pc:sldMk cId="2496421118" sldId="627"/>
            <ac:spMk id="44" creationId="{B26C11EE-FA77-127E-0DDF-7F2777A4141A}"/>
          </ac:spMkLst>
        </pc:spChg>
      </pc:sldChg>
      <pc:sldChg chg="new del">
        <pc:chgData name="Bullinger, Marvin" userId="5b54ce5a-dc89-476f-af33-5abd75d5b1e8" providerId="ADAL" clId="{B18DB96A-0F1B-4B04-B169-68D0DF683527}" dt="2024-08-06T12:03:14.768" v="4339" actId="47"/>
        <pc:sldMkLst>
          <pc:docMk/>
          <pc:sldMk cId="1000504507" sldId="628"/>
        </pc:sldMkLst>
      </pc:sldChg>
      <pc:sldChg chg="addSp delSp modSp add del mod ord addAnim delAnim modAnim">
        <pc:chgData name="Bullinger, Marvin" userId="5b54ce5a-dc89-476f-af33-5abd75d5b1e8" providerId="ADAL" clId="{B18DB96A-0F1B-4B04-B169-68D0DF683527}" dt="2024-08-07T20:20:47.718" v="7949" actId="47"/>
        <pc:sldMkLst>
          <pc:docMk/>
          <pc:sldMk cId="2455969618" sldId="629"/>
        </pc:sldMkLst>
        <pc:spChg chg="add del mod">
          <ac:chgData name="Bullinger, Marvin" userId="5b54ce5a-dc89-476f-af33-5abd75d5b1e8" providerId="ADAL" clId="{B18DB96A-0F1B-4B04-B169-68D0DF683527}" dt="2024-08-06T12:05:55.125" v="4347" actId="478"/>
          <ac:spMkLst>
            <pc:docMk/>
            <pc:sldMk cId="2455969618" sldId="629"/>
            <ac:spMk id="2" creationId="{22CBC78D-72B2-7DAE-1751-FA12C72CA57C}"/>
          </ac:spMkLst>
        </pc:spChg>
        <pc:spChg chg="add del">
          <ac:chgData name="Bullinger, Marvin" userId="5b54ce5a-dc89-476f-af33-5abd75d5b1e8" providerId="ADAL" clId="{B18DB96A-0F1B-4B04-B169-68D0DF683527}" dt="2024-08-06T12:06:04.193" v="4349" actId="478"/>
          <ac:spMkLst>
            <pc:docMk/>
            <pc:sldMk cId="2455969618" sldId="629"/>
            <ac:spMk id="3" creationId="{A0F6385B-B3C9-8A93-A9EC-55E81CFD7B29}"/>
          </ac:spMkLst>
        </pc:spChg>
        <pc:spChg chg="del">
          <ac:chgData name="Bullinger, Marvin" userId="5b54ce5a-dc89-476f-af33-5abd75d5b1e8" providerId="ADAL" clId="{B18DB96A-0F1B-4B04-B169-68D0DF683527}" dt="2024-08-07T08:35:37.725" v="6025" actId="478"/>
          <ac:spMkLst>
            <pc:docMk/>
            <pc:sldMk cId="2455969618" sldId="629"/>
            <ac:spMk id="26" creationId="{B4AA1EE9-C12E-86A2-1D68-42D2B26AFBBD}"/>
          </ac:spMkLst>
        </pc:spChg>
        <pc:spChg chg="mod">
          <ac:chgData name="Bullinger, Marvin" userId="5b54ce5a-dc89-476f-af33-5abd75d5b1e8" providerId="ADAL" clId="{B18DB96A-0F1B-4B04-B169-68D0DF683527}" dt="2024-08-06T12:40:57.021" v="4707" actId="5793"/>
          <ac:spMkLst>
            <pc:docMk/>
            <pc:sldMk cId="2455969618" sldId="629"/>
            <ac:spMk id="44" creationId="{B26C11EE-FA77-127E-0DDF-7F2777A4141A}"/>
          </ac:spMkLst>
        </pc:spChg>
        <pc:graphicFrameChg chg="add del mod modGraphic">
          <ac:chgData name="Bullinger, Marvin" userId="5b54ce5a-dc89-476f-af33-5abd75d5b1e8" providerId="ADAL" clId="{B18DB96A-0F1B-4B04-B169-68D0DF683527}" dt="2024-08-06T12:43:35.409" v="4726" actId="478"/>
          <ac:graphicFrameMkLst>
            <pc:docMk/>
            <pc:sldMk cId="2455969618" sldId="629"/>
            <ac:graphicFrameMk id="12" creationId="{FC544FA0-5338-6F8E-8358-D5A56D666E33}"/>
          </ac:graphicFrameMkLst>
        </pc:graphicFrameChg>
        <pc:graphicFrameChg chg="add del mod">
          <ac:chgData name="Bullinger, Marvin" userId="5b54ce5a-dc89-476f-af33-5abd75d5b1e8" providerId="ADAL" clId="{B18DB96A-0F1B-4B04-B169-68D0DF683527}" dt="2024-08-07T20:19:21.691" v="7941" actId="478"/>
          <ac:graphicFrameMkLst>
            <pc:docMk/>
            <pc:sldMk cId="2455969618" sldId="629"/>
            <ac:graphicFrameMk id="13" creationId="{CA2F708C-2952-9944-F49C-0303B3899E3E}"/>
          </ac:graphicFrameMkLst>
        </pc:graphicFrameChg>
        <pc:picChg chg="add del mod">
          <ac:chgData name="Bullinger, Marvin" userId="5b54ce5a-dc89-476f-af33-5abd75d5b1e8" providerId="ADAL" clId="{B18DB96A-0F1B-4B04-B169-68D0DF683527}" dt="2024-08-06T12:40:59.884" v="4709" actId="478"/>
          <ac:picMkLst>
            <pc:docMk/>
            <pc:sldMk cId="2455969618" sldId="629"/>
            <ac:picMk id="5" creationId="{12BBD38B-917F-E7F5-87FE-CC2FF07C5AFD}"/>
          </ac:picMkLst>
        </pc:picChg>
        <pc:picChg chg="add del mod">
          <ac:chgData name="Bullinger, Marvin" userId="5b54ce5a-dc89-476f-af33-5abd75d5b1e8" providerId="ADAL" clId="{B18DB96A-0F1B-4B04-B169-68D0DF683527}" dt="2024-08-06T12:40:59.285" v="4708" actId="478"/>
          <ac:picMkLst>
            <pc:docMk/>
            <pc:sldMk cId="2455969618" sldId="629"/>
            <ac:picMk id="7" creationId="{C727F60B-E82C-B270-E096-2369533FA35A}"/>
          </ac:picMkLst>
        </pc:picChg>
        <pc:picChg chg="add del mod">
          <ac:chgData name="Bullinger, Marvin" userId="5b54ce5a-dc89-476f-af33-5abd75d5b1e8" providerId="ADAL" clId="{B18DB96A-0F1B-4B04-B169-68D0DF683527}" dt="2024-08-06T12:12:45.033" v="4365" actId="478"/>
          <ac:picMkLst>
            <pc:docMk/>
            <pc:sldMk cId="2455969618" sldId="629"/>
            <ac:picMk id="9" creationId="{C4C77479-C032-B04B-14EF-A32E6353F083}"/>
          </ac:picMkLst>
        </pc:picChg>
        <pc:picChg chg="add del mod">
          <ac:chgData name="Bullinger, Marvin" userId="5b54ce5a-dc89-476f-af33-5abd75d5b1e8" providerId="ADAL" clId="{B18DB96A-0F1B-4B04-B169-68D0DF683527}" dt="2024-08-06T12:45:27.956" v="4734" actId="478"/>
          <ac:picMkLst>
            <pc:docMk/>
            <pc:sldMk cId="2455969618" sldId="629"/>
            <ac:picMk id="11" creationId="{1438B3AB-C79A-3564-3A5E-5A2BF728D8CB}"/>
          </ac:picMkLst>
        </pc:picChg>
      </pc:sldChg>
      <pc:sldChg chg="addSp delSp modSp new mod ord modClrScheme chgLayout modNotesTx">
        <pc:chgData name="Bullinger, Marvin" userId="5b54ce5a-dc89-476f-af33-5abd75d5b1e8" providerId="ADAL" clId="{B18DB96A-0F1B-4B04-B169-68D0DF683527}" dt="2024-08-13T21:44:54.087" v="26732" actId="20577"/>
        <pc:sldMkLst>
          <pc:docMk/>
          <pc:sldMk cId="4108023729" sldId="630"/>
        </pc:sldMkLst>
        <pc:spChg chg="del">
          <ac:chgData name="Bullinger, Marvin" userId="5b54ce5a-dc89-476f-af33-5abd75d5b1e8" providerId="ADAL" clId="{B18DB96A-0F1B-4B04-B169-68D0DF683527}" dt="2024-08-06T12:26:47.167" v="4663" actId="700"/>
          <ac:spMkLst>
            <pc:docMk/>
            <pc:sldMk cId="4108023729" sldId="630"/>
            <ac:spMk id="2" creationId="{6EE4C555-8F8C-6177-6472-4E346B4DCF21}"/>
          </ac:spMkLst>
        </pc:spChg>
        <pc:spChg chg="del">
          <ac:chgData name="Bullinger, Marvin" userId="5b54ce5a-dc89-476f-af33-5abd75d5b1e8" providerId="ADAL" clId="{B18DB96A-0F1B-4B04-B169-68D0DF683527}" dt="2024-08-06T12:26:47.167" v="4663" actId="700"/>
          <ac:spMkLst>
            <pc:docMk/>
            <pc:sldMk cId="4108023729" sldId="630"/>
            <ac:spMk id="3" creationId="{8A11E9E1-CA1E-BD87-EE66-4F57C2061E6F}"/>
          </ac:spMkLst>
        </pc:spChg>
        <pc:spChg chg="del">
          <ac:chgData name="Bullinger, Marvin" userId="5b54ce5a-dc89-476f-af33-5abd75d5b1e8" providerId="ADAL" clId="{B18DB96A-0F1B-4B04-B169-68D0DF683527}" dt="2024-08-06T12:26:47.167" v="4663" actId="700"/>
          <ac:spMkLst>
            <pc:docMk/>
            <pc:sldMk cId="4108023729" sldId="630"/>
            <ac:spMk id="4" creationId="{809DFD79-8E95-30CD-EDB4-96E142F0822A}"/>
          </ac:spMkLst>
        </pc:spChg>
        <pc:spChg chg="del">
          <ac:chgData name="Bullinger, Marvin" userId="5b54ce5a-dc89-476f-af33-5abd75d5b1e8" providerId="ADAL" clId="{B18DB96A-0F1B-4B04-B169-68D0DF683527}" dt="2024-08-06T12:26:47.167" v="4663" actId="700"/>
          <ac:spMkLst>
            <pc:docMk/>
            <pc:sldMk cId="4108023729" sldId="630"/>
            <ac:spMk id="5" creationId="{1275FA75-2655-2950-FC24-88703F5E9902}"/>
          </ac:spMkLst>
        </pc:spChg>
        <pc:spChg chg="del">
          <ac:chgData name="Bullinger, Marvin" userId="5b54ce5a-dc89-476f-af33-5abd75d5b1e8" providerId="ADAL" clId="{B18DB96A-0F1B-4B04-B169-68D0DF683527}" dt="2024-08-06T12:26:47.167" v="4663" actId="700"/>
          <ac:spMkLst>
            <pc:docMk/>
            <pc:sldMk cId="4108023729" sldId="630"/>
            <ac:spMk id="6" creationId="{16859B0F-72AF-D90D-0444-237A4BFE1872}"/>
          </ac:spMkLst>
        </pc:spChg>
        <pc:spChg chg="del">
          <ac:chgData name="Bullinger, Marvin" userId="5b54ce5a-dc89-476f-af33-5abd75d5b1e8" providerId="ADAL" clId="{B18DB96A-0F1B-4B04-B169-68D0DF683527}" dt="2024-08-06T12:26:47.167" v="4663" actId="700"/>
          <ac:spMkLst>
            <pc:docMk/>
            <pc:sldMk cId="4108023729" sldId="630"/>
            <ac:spMk id="7" creationId="{BDAD0ADA-76FF-4FE3-F568-C2B9E6BDC40A}"/>
          </ac:spMkLst>
        </pc:spChg>
        <pc:spChg chg="del">
          <ac:chgData name="Bullinger, Marvin" userId="5b54ce5a-dc89-476f-af33-5abd75d5b1e8" providerId="ADAL" clId="{B18DB96A-0F1B-4B04-B169-68D0DF683527}" dt="2024-08-06T12:26:47.167" v="4663" actId="700"/>
          <ac:spMkLst>
            <pc:docMk/>
            <pc:sldMk cId="4108023729" sldId="630"/>
            <ac:spMk id="8" creationId="{308FECF2-F510-58BA-189E-DE952988056E}"/>
          </ac:spMkLst>
        </pc:spChg>
        <pc:spChg chg="del">
          <ac:chgData name="Bullinger, Marvin" userId="5b54ce5a-dc89-476f-af33-5abd75d5b1e8" providerId="ADAL" clId="{B18DB96A-0F1B-4B04-B169-68D0DF683527}" dt="2024-08-06T12:26:47.167" v="4663" actId="700"/>
          <ac:spMkLst>
            <pc:docMk/>
            <pc:sldMk cId="4108023729" sldId="630"/>
            <ac:spMk id="9" creationId="{BEEDB54E-3435-B21E-FEDC-A0B5BB55B6C9}"/>
          </ac:spMkLst>
        </pc:spChg>
        <pc:spChg chg="del mod ord">
          <ac:chgData name="Bullinger, Marvin" userId="5b54ce5a-dc89-476f-af33-5abd75d5b1e8" providerId="ADAL" clId="{B18DB96A-0F1B-4B04-B169-68D0DF683527}" dt="2024-08-06T12:26:47.167" v="4663" actId="700"/>
          <ac:spMkLst>
            <pc:docMk/>
            <pc:sldMk cId="4108023729" sldId="630"/>
            <ac:spMk id="10" creationId="{395093FD-3BA4-2FE0-471B-8B9AD0A27419}"/>
          </ac:spMkLst>
        </pc:spChg>
        <pc:spChg chg="del mod ord">
          <ac:chgData name="Bullinger, Marvin" userId="5b54ce5a-dc89-476f-af33-5abd75d5b1e8" providerId="ADAL" clId="{B18DB96A-0F1B-4B04-B169-68D0DF683527}" dt="2024-08-06T12:26:47.167" v="4663" actId="700"/>
          <ac:spMkLst>
            <pc:docMk/>
            <pc:sldMk cId="4108023729" sldId="630"/>
            <ac:spMk id="11" creationId="{E6129722-7AE2-E239-FCDA-7D93F93BD38F}"/>
          </ac:spMkLst>
        </pc:spChg>
        <pc:spChg chg="del">
          <ac:chgData name="Bullinger, Marvin" userId="5b54ce5a-dc89-476f-af33-5abd75d5b1e8" providerId="ADAL" clId="{B18DB96A-0F1B-4B04-B169-68D0DF683527}" dt="2024-08-06T12:26:47.167" v="4663" actId="700"/>
          <ac:spMkLst>
            <pc:docMk/>
            <pc:sldMk cId="4108023729" sldId="630"/>
            <ac:spMk id="12" creationId="{9DE08F5E-CF06-FEF9-0236-8B94DCA990FD}"/>
          </ac:spMkLst>
        </pc:spChg>
        <pc:spChg chg="del">
          <ac:chgData name="Bullinger, Marvin" userId="5b54ce5a-dc89-476f-af33-5abd75d5b1e8" providerId="ADAL" clId="{B18DB96A-0F1B-4B04-B169-68D0DF683527}" dt="2024-08-06T12:26:47.167" v="4663" actId="700"/>
          <ac:spMkLst>
            <pc:docMk/>
            <pc:sldMk cId="4108023729" sldId="630"/>
            <ac:spMk id="13" creationId="{2AB12335-451A-E067-A6DF-E725A8370EA4}"/>
          </ac:spMkLst>
        </pc:spChg>
        <pc:spChg chg="del">
          <ac:chgData name="Bullinger, Marvin" userId="5b54ce5a-dc89-476f-af33-5abd75d5b1e8" providerId="ADAL" clId="{B18DB96A-0F1B-4B04-B169-68D0DF683527}" dt="2024-08-06T12:26:47.167" v="4663" actId="700"/>
          <ac:spMkLst>
            <pc:docMk/>
            <pc:sldMk cId="4108023729" sldId="630"/>
            <ac:spMk id="14" creationId="{30CC7AE6-FEF8-556A-F049-1F546ED9857B}"/>
          </ac:spMkLst>
        </pc:spChg>
        <pc:spChg chg="del">
          <ac:chgData name="Bullinger, Marvin" userId="5b54ce5a-dc89-476f-af33-5abd75d5b1e8" providerId="ADAL" clId="{B18DB96A-0F1B-4B04-B169-68D0DF683527}" dt="2024-08-06T12:26:47.167" v="4663" actId="700"/>
          <ac:spMkLst>
            <pc:docMk/>
            <pc:sldMk cId="4108023729" sldId="630"/>
            <ac:spMk id="15" creationId="{F759C918-A190-3588-F07D-3ACE475A28AA}"/>
          </ac:spMkLst>
        </pc:spChg>
        <pc:spChg chg="del">
          <ac:chgData name="Bullinger, Marvin" userId="5b54ce5a-dc89-476f-af33-5abd75d5b1e8" providerId="ADAL" clId="{B18DB96A-0F1B-4B04-B169-68D0DF683527}" dt="2024-08-06T12:26:47.167" v="4663" actId="700"/>
          <ac:spMkLst>
            <pc:docMk/>
            <pc:sldMk cId="4108023729" sldId="630"/>
            <ac:spMk id="16" creationId="{6DEF0BCD-262A-0E59-04EA-C47585C0A541}"/>
          </ac:spMkLst>
        </pc:spChg>
        <pc:spChg chg="del mod ord">
          <ac:chgData name="Bullinger, Marvin" userId="5b54ce5a-dc89-476f-af33-5abd75d5b1e8" providerId="ADAL" clId="{B18DB96A-0F1B-4B04-B169-68D0DF683527}" dt="2024-08-06T12:26:47.167" v="4663" actId="700"/>
          <ac:spMkLst>
            <pc:docMk/>
            <pc:sldMk cId="4108023729" sldId="630"/>
            <ac:spMk id="17" creationId="{F49FFEC6-747F-BEE2-090F-17D12F11ED06}"/>
          </ac:spMkLst>
        </pc:spChg>
        <pc:spChg chg="del">
          <ac:chgData name="Bullinger, Marvin" userId="5b54ce5a-dc89-476f-af33-5abd75d5b1e8" providerId="ADAL" clId="{B18DB96A-0F1B-4B04-B169-68D0DF683527}" dt="2024-08-06T12:26:47.167" v="4663" actId="700"/>
          <ac:spMkLst>
            <pc:docMk/>
            <pc:sldMk cId="4108023729" sldId="630"/>
            <ac:spMk id="18" creationId="{38C9A562-05E7-13AE-BCDA-198F22073C93}"/>
          </ac:spMkLst>
        </pc:spChg>
        <pc:spChg chg="del">
          <ac:chgData name="Bullinger, Marvin" userId="5b54ce5a-dc89-476f-af33-5abd75d5b1e8" providerId="ADAL" clId="{B18DB96A-0F1B-4B04-B169-68D0DF683527}" dt="2024-08-06T12:26:47.167" v="4663" actId="700"/>
          <ac:spMkLst>
            <pc:docMk/>
            <pc:sldMk cId="4108023729" sldId="630"/>
            <ac:spMk id="19" creationId="{3F65590E-F5F3-1A42-0039-9E837560CEEB}"/>
          </ac:spMkLst>
        </pc:spChg>
        <pc:spChg chg="del">
          <ac:chgData name="Bullinger, Marvin" userId="5b54ce5a-dc89-476f-af33-5abd75d5b1e8" providerId="ADAL" clId="{B18DB96A-0F1B-4B04-B169-68D0DF683527}" dt="2024-08-06T12:26:47.167" v="4663" actId="700"/>
          <ac:spMkLst>
            <pc:docMk/>
            <pc:sldMk cId="4108023729" sldId="630"/>
            <ac:spMk id="20" creationId="{EBFED963-21C1-1D5C-48E0-465E2546DBB4}"/>
          </ac:spMkLst>
        </pc:spChg>
        <pc:spChg chg="del">
          <ac:chgData name="Bullinger, Marvin" userId="5b54ce5a-dc89-476f-af33-5abd75d5b1e8" providerId="ADAL" clId="{B18DB96A-0F1B-4B04-B169-68D0DF683527}" dt="2024-08-06T12:26:47.167" v="4663" actId="700"/>
          <ac:spMkLst>
            <pc:docMk/>
            <pc:sldMk cId="4108023729" sldId="630"/>
            <ac:spMk id="21" creationId="{2A0AC19F-2237-4C70-4EC0-9838C923281A}"/>
          </ac:spMkLst>
        </pc:spChg>
        <pc:spChg chg="del">
          <ac:chgData name="Bullinger, Marvin" userId="5b54ce5a-dc89-476f-af33-5abd75d5b1e8" providerId="ADAL" clId="{B18DB96A-0F1B-4B04-B169-68D0DF683527}" dt="2024-08-06T12:26:47.167" v="4663" actId="700"/>
          <ac:spMkLst>
            <pc:docMk/>
            <pc:sldMk cId="4108023729" sldId="630"/>
            <ac:spMk id="22" creationId="{953B0B2B-C411-D8F3-B4C8-68912D206EE2}"/>
          </ac:spMkLst>
        </pc:spChg>
        <pc:spChg chg="del">
          <ac:chgData name="Bullinger, Marvin" userId="5b54ce5a-dc89-476f-af33-5abd75d5b1e8" providerId="ADAL" clId="{B18DB96A-0F1B-4B04-B169-68D0DF683527}" dt="2024-08-06T12:26:47.167" v="4663" actId="700"/>
          <ac:spMkLst>
            <pc:docMk/>
            <pc:sldMk cId="4108023729" sldId="630"/>
            <ac:spMk id="23" creationId="{49550254-EACF-233B-BACD-9FA40ADC4EC3}"/>
          </ac:spMkLst>
        </pc:spChg>
        <pc:spChg chg="del">
          <ac:chgData name="Bullinger, Marvin" userId="5b54ce5a-dc89-476f-af33-5abd75d5b1e8" providerId="ADAL" clId="{B18DB96A-0F1B-4B04-B169-68D0DF683527}" dt="2024-08-06T12:26:47.167" v="4663" actId="700"/>
          <ac:spMkLst>
            <pc:docMk/>
            <pc:sldMk cId="4108023729" sldId="630"/>
            <ac:spMk id="24" creationId="{7647A5F3-91C0-DF49-F487-FA8FBC172041}"/>
          </ac:spMkLst>
        </pc:spChg>
        <pc:spChg chg="del">
          <ac:chgData name="Bullinger, Marvin" userId="5b54ce5a-dc89-476f-af33-5abd75d5b1e8" providerId="ADAL" clId="{B18DB96A-0F1B-4B04-B169-68D0DF683527}" dt="2024-08-06T12:26:47.167" v="4663" actId="700"/>
          <ac:spMkLst>
            <pc:docMk/>
            <pc:sldMk cId="4108023729" sldId="630"/>
            <ac:spMk id="25" creationId="{0FA518C9-6874-63BE-ED3C-F08AD301900A}"/>
          </ac:spMkLst>
        </pc:spChg>
        <pc:spChg chg="del mod ord modVis">
          <ac:chgData name="Bullinger, Marvin" userId="5b54ce5a-dc89-476f-af33-5abd75d5b1e8" providerId="ADAL" clId="{B18DB96A-0F1B-4B04-B169-68D0DF683527}" dt="2024-08-07T08:35:52.861" v="6029" actId="478"/>
          <ac:spMkLst>
            <pc:docMk/>
            <pc:sldMk cId="4108023729" sldId="630"/>
            <ac:spMk id="26" creationId="{00CF9F85-2927-4B4F-C493-111C4ABD0690}"/>
          </ac:spMkLst>
        </pc:spChg>
        <pc:spChg chg="mod ord">
          <ac:chgData name="Bullinger, Marvin" userId="5b54ce5a-dc89-476f-af33-5abd75d5b1e8" providerId="ADAL" clId="{B18DB96A-0F1B-4B04-B169-68D0DF683527}" dt="2024-08-06T12:57:34.260" v="4769" actId="26606"/>
          <ac:spMkLst>
            <pc:docMk/>
            <pc:sldMk cId="4108023729" sldId="630"/>
            <ac:spMk id="27" creationId="{C93F9E21-E1D9-BA34-D0B3-B60418FC6803}"/>
          </ac:spMkLst>
        </pc:spChg>
        <pc:spChg chg="del">
          <ac:chgData name="Bullinger, Marvin" userId="5b54ce5a-dc89-476f-af33-5abd75d5b1e8" providerId="ADAL" clId="{B18DB96A-0F1B-4B04-B169-68D0DF683527}" dt="2024-08-06T12:26:47.167" v="4663" actId="700"/>
          <ac:spMkLst>
            <pc:docMk/>
            <pc:sldMk cId="4108023729" sldId="630"/>
            <ac:spMk id="28" creationId="{D5EB89B8-AD14-D35C-400A-ED1309D83E78}"/>
          </ac:spMkLst>
        </pc:spChg>
        <pc:spChg chg="del">
          <ac:chgData name="Bullinger, Marvin" userId="5b54ce5a-dc89-476f-af33-5abd75d5b1e8" providerId="ADAL" clId="{B18DB96A-0F1B-4B04-B169-68D0DF683527}" dt="2024-08-06T12:26:47.167" v="4663" actId="700"/>
          <ac:spMkLst>
            <pc:docMk/>
            <pc:sldMk cId="4108023729" sldId="630"/>
            <ac:spMk id="29" creationId="{6EFE36BC-65ED-EBE1-FE13-7123F91D1F10}"/>
          </ac:spMkLst>
        </pc:spChg>
        <pc:spChg chg="del">
          <ac:chgData name="Bullinger, Marvin" userId="5b54ce5a-dc89-476f-af33-5abd75d5b1e8" providerId="ADAL" clId="{B18DB96A-0F1B-4B04-B169-68D0DF683527}" dt="2024-08-06T12:26:47.167" v="4663" actId="700"/>
          <ac:spMkLst>
            <pc:docMk/>
            <pc:sldMk cId="4108023729" sldId="630"/>
            <ac:spMk id="30" creationId="{08F40D75-5C7B-EF46-BA6A-C3BE80779322}"/>
          </ac:spMkLst>
        </pc:spChg>
        <pc:spChg chg="del">
          <ac:chgData name="Bullinger, Marvin" userId="5b54ce5a-dc89-476f-af33-5abd75d5b1e8" providerId="ADAL" clId="{B18DB96A-0F1B-4B04-B169-68D0DF683527}" dt="2024-08-06T12:26:47.167" v="4663" actId="700"/>
          <ac:spMkLst>
            <pc:docMk/>
            <pc:sldMk cId="4108023729" sldId="630"/>
            <ac:spMk id="31" creationId="{3FCD08E4-EDA9-E494-F151-4E187EB1482F}"/>
          </ac:spMkLst>
        </pc:spChg>
        <pc:spChg chg="del">
          <ac:chgData name="Bullinger, Marvin" userId="5b54ce5a-dc89-476f-af33-5abd75d5b1e8" providerId="ADAL" clId="{B18DB96A-0F1B-4B04-B169-68D0DF683527}" dt="2024-08-06T12:26:47.167" v="4663" actId="700"/>
          <ac:spMkLst>
            <pc:docMk/>
            <pc:sldMk cId="4108023729" sldId="630"/>
            <ac:spMk id="32" creationId="{C949AF00-CD30-0F7A-27AA-3050C9A4A60E}"/>
          </ac:spMkLst>
        </pc:spChg>
        <pc:spChg chg="del">
          <ac:chgData name="Bullinger, Marvin" userId="5b54ce5a-dc89-476f-af33-5abd75d5b1e8" providerId="ADAL" clId="{B18DB96A-0F1B-4B04-B169-68D0DF683527}" dt="2024-08-06T12:26:47.167" v="4663" actId="700"/>
          <ac:spMkLst>
            <pc:docMk/>
            <pc:sldMk cId="4108023729" sldId="630"/>
            <ac:spMk id="33" creationId="{5A30CA96-D1BA-8308-86F4-7077D0400AE1}"/>
          </ac:spMkLst>
        </pc:spChg>
        <pc:spChg chg="del">
          <ac:chgData name="Bullinger, Marvin" userId="5b54ce5a-dc89-476f-af33-5abd75d5b1e8" providerId="ADAL" clId="{B18DB96A-0F1B-4B04-B169-68D0DF683527}" dt="2024-08-06T12:26:47.167" v="4663" actId="700"/>
          <ac:spMkLst>
            <pc:docMk/>
            <pc:sldMk cId="4108023729" sldId="630"/>
            <ac:spMk id="34" creationId="{3E38E20B-89A4-0EE7-89A7-A0FB79CB3528}"/>
          </ac:spMkLst>
        </pc:spChg>
        <pc:spChg chg="del">
          <ac:chgData name="Bullinger, Marvin" userId="5b54ce5a-dc89-476f-af33-5abd75d5b1e8" providerId="ADAL" clId="{B18DB96A-0F1B-4B04-B169-68D0DF683527}" dt="2024-08-06T12:26:47.167" v="4663" actId="700"/>
          <ac:spMkLst>
            <pc:docMk/>
            <pc:sldMk cId="4108023729" sldId="630"/>
            <ac:spMk id="35" creationId="{F743C14B-7E7F-F836-99F8-DA4B0CACBACF}"/>
          </ac:spMkLst>
        </pc:spChg>
        <pc:spChg chg="del">
          <ac:chgData name="Bullinger, Marvin" userId="5b54ce5a-dc89-476f-af33-5abd75d5b1e8" providerId="ADAL" clId="{B18DB96A-0F1B-4B04-B169-68D0DF683527}" dt="2024-08-06T12:26:47.167" v="4663" actId="700"/>
          <ac:spMkLst>
            <pc:docMk/>
            <pc:sldMk cId="4108023729" sldId="630"/>
            <ac:spMk id="36" creationId="{3D980543-C0AA-4D28-2F42-4374016C1EEE}"/>
          </ac:spMkLst>
        </pc:spChg>
        <pc:spChg chg="del">
          <ac:chgData name="Bullinger, Marvin" userId="5b54ce5a-dc89-476f-af33-5abd75d5b1e8" providerId="ADAL" clId="{B18DB96A-0F1B-4B04-B169-68D0DF683527}" dt="2024-08-06T12:26:47.167" v="4663" actId="700"/>
          <ac:spMkLst>
            <pc:docMk/>
            <pc:sldMk cId="4108023729" sldId="630"/>
            <ac:spMk id="37" creationId="{FA611E5E-EBB1-EE00-15CF-A930686C828A}"/>
          </ac:spMkLst>
        </pc:spChg>
        <pc:spChg chg="del">
          <ac:chgData name="Bullinger, Marvin" userId="5b54ce5a-dc89-476f-af33-5abd75d5b1e8" providerId="ADAL" clId="{B18DB96A-0F1B-4B04-B169-68D0DF683527}" dt="2024-08-06T12:26:47.167" v="4663" actId="700"/>
          <ac:spMkLst>
            <pc:docMk/>
            <pc:sldMk cId="4108023729" sldId="630"/>
            <ac:spMk id="38" creationId="{E05687C7-FA9E-E1D5-3825-71C1A090A8E8}"/>
          </ac:spMkLst>
        </pc:spChg>
        <pc:spChg chg="del">
          <ac:chgData name="Bullinger, Marvin" userId="5b54ce5a-dc89-476f-af33-5abd75d5b1e8" providerId="ADAL" clId="{B18DB96A-0F1B-4B04-B169-68D0DF683527}" dt="2024-08-06T12:26:47.167" v="4663" actId="700"/>
          <ac:spMkLst>
            <pc:docMk/>
            <pc:sldMk cId="4108023729" sldId="630"/>
            <ac:spMk id="39" creationId="{F5D5EEC4-4BD2-A76D-49AB-97A3BD95C163}"/>
          </ac:spMkLst>
        </pc:spChg>
        <pc:spChg chg="del">
          <ac:chgData name="Bullinger, Marvin" userId="5b54ce5a-dc89-476f-af33-5abd75d5b1e8" providerId="ADAL" clId="{B18DB96A-0F1B-4B04-B169-68D0DF683527}" dt="2024-08-06T12:26:47.167" v="4663" actId="700"/>
          <ac:spMkLst>
            <pc:docMk/>
            <pc:sldMk cId="4108023729" sldId="630"/>
            <ac:spMk id="40" creationId="{986672B4-3E5B-312B-0CEF-2A48DD8C5DC8}"/>
          </ac:spMkLst>
        </pc:spChg>
        <pc:spChg chg="del">
          <ac:chgData name="Bullinger, Marvin" userId="5b54ce5a-dc89-476f-af33-5abd75d5b1e8" providerId="ADAL" clId="{B18DB96A-0F1B-4B04-B169-68D0DF683527}" dt="2024-08-06T12:26:47.167" v="4663" actId="700"/>
          <ac:spMkLst>
            <pc:docMk/>
            <pc:sldMk cId="4108023729" sldId="630"/>
            <ac:spMk id="41" creationId="{4BAFA765-319B-42E5-B172-799196255A28}"/>
          </ac:spMkLst>
        </pc:spChg>
        <pc:spChg chg="add mod ord">
          <ac:chgData name="Bullinger, Marvin" userId="5b54ce5a-dc89-476f-af33-5abd75d5b1e8" providerId="ADAL" clId="{B18DB96A-0F1B-4B04-B169-68D0DF683527}" dt="2024-08-06T12:57:34.260" v="4769" actId="26606"/>
          <ac:spMkLst>
            <pc:docMk/>
            <pc:sldMk cId="4108023729" sldId="630"/>
            <ac:spMk id="42" creationId="{F99240D5-0D46-C2B2-8A0C-BDEB4DA98635}"/>
          </ac:spMkLst>
        </pc:spChg>
        <pc:spChg chg="add del mod ord">
          <ac:chgData name="Bullinger, Marvin" userId="5b54ce5a-dc89-476f-af33-5abd75d5b1e8" providerId="ADAL" clId="{B18DB96A-0F1B-4B04-B169-68D0DF683527}" dt="2024-08-06T13:57:53.030" v="5096" actId="20577"/>
          <ac:spMkLst>
            <pc:docMk/>
            <pc:sldMk cId="4108023729" sldId="630"/>
            <ac:spMk id="43" creationId="{C995A2EA-63D3-F87C-F326-F0101471CC64}"/>
          </ac:spMkLst>
        </pc:spChg>
        <pc:spChg chg="add del mod ord">
          <ac:chgData name="Bullinger, Marvin" userId="5b54ce5a-dc89-476f-af33-5abd75d5b1e8" providerId="ADAL" clId="{B18DB96A-0F1B-4B04-B169-68D0DF683527}" dt="2024-08-06T14:03:19.329" v="5097" actId="478"/>
          <ac:spMkLst>
            <pc:docMk/>
            <pc:sldMk cId="4108023729" sldId="630"/>
            <ac:spMk id="44" creationId="{028F7E42-A180-F4E1-55DF-56ED99DC8E53}"/>
          </ac:spMkLst>
        </pc:spChg>
        <pc:spChg chg="add del mod">
          <ac:chgData name="Bullinger, Marvin" userId="5b54ce5a-dc89-476f-af33-5abd75d5b1e8" providerId="ADAL" clId="{B18DB96A-0F1B-4B04-B169-68D0DF683527}" dt="2024-08-06T12:57:34.260" v="4769" actId="26606"/>
          <ac:spMkLst>
            <pc:docMk/>
            <pc:sldMk cId="4108023729" sldId="630"/>
            <ac:spMk id="58" creationId="{81A29AA8-5DB5-863A-BD99-71BBB177497C}"/>
          </ac:spMkLst>
        </pc:spChg>
        <pc:spChg chg="add del mod">
          <ac:chgData name="Bullinger, Marvin" userId="5b54ce5a-dc89-476f-af33-5abd75d5b1e8" providerId="ADAL" clId="{B18DB96A-0F1B-4B04-B169-68D0DF683527}" dt="2024-08-06T12:57:34.260" v="4769" actId="26606"/>
          <ac:spMkLst>
            <pc:docMk/>
            <pc:sldMk cId="4108023729" sldId="630"/>
            <ac:spMk id="60" creationId="{B80B7C1E-4D30-2203-14CF-B85456771F72}"/>
          </ac:spMkLst>
        </pc:spChg>
        <pc:spChg chg="add del mod">
          <ac:chgData name="Bullinger, Marvin" userId="5b54ce5a-dc89-476f-af33-5abd75d5b1e8" providerId="ADAL" clId="{B18DB96A-0F1B-4B04-B169-68D0DF683527}" dt="2024-08-06T14:04:01.846" v="5110" actId="478"/>
          <ac:spMkLst>
            <pc:docMk/>
            <pc:sldMk cId="4108023729" sldId="630"/>
            <ac:spMk id="61" creationId="{94E58A2F-D3B7-2E04-3379-EADD30D974CD}"/>
          </ac:spMkLst>
        </pc:spChg>
        <pc:graphicFrameChg chg="add del mod">
          <ac:chgData name="Bullinger, Marvin" userId="5b54ce5a-dc89-476f-af33-5abd75d5b1e8" providerId="ADAL" clId="{B18DB96A-0F1B-4B04-B169-68D0DF683527}" dt="2024-08-06T12:51:25.190" v="4748" actId="478"/>
          <ac:graphicFrameMkLst>
            <pc:docMk/>
            <pc:sldMk cId="4108023729" sldId="630"/>
            <ac:graphicFrameMk id="45" creationId="{311B96EF-073F-7EBB-F152-4D21BEDA6313}"/>
          </ac:graphicFrameMkLst>
        </pc:graphicFrameChg>
        <pc:graphicFrameChg chg="add del mod">
          <ac:chgData name="Bullinger, Marvin" userId="5b54ce5a-dc89-476f-af33-5abd75d5b1e8" providerId="ADAL" clId="{B18DB96A-0F1B-4B04-B169-68D0DF683527}" dt="2024-08-06T12:52:42.800" v="4754" actId="478"/>
          <ac:graphicFrameMkLst>
            <pc:docMk/>
            <pc:sldMk cId="4108023729" sldId="630"/>
            <ac:graphicFrameMk id="48" creationId="{F427E4B5-5EE0-0742-5F40-B7DB14736471}"/>
          </ac:graphicFrameMkLst>
        </pc:graphicFrameChg>
        <pc:graphicFrameChg chg="add del mod">
          <ac:chgData name="Bullinger, Marvin" userId="5b54ce5a-dc89-476f-af33-5abd75d5b1e8" providerId="ADAL" clId="{B18DB96A-0F1B-4B04-B169-68D0DF683527}" dt="2024-08-06T12:57:09.721" v="4765" actId="478"/>
          <ac:graphicFrameMkLst>
            <pc:docMk/>
            <pc:sldMk cId="4108023729" sldId="630"/>
            <ac:graphicFrameMk id="51" creationId="{6E601996-8E36-95A2-7D9B-0CBE66DF0B3E}"/>
          </ac:graphicFrameMkLst>
        </pc:graphicFrameChg>
        <pc:picChg chg="add del mod">
          <ac:chgData name="Bullinger, Marvin" userId="5b54ce5a-dc89-476f-af33-5abd75d5b1e8" providerId="ADAL" clId="{B18DB96A-0F1B-4B04-B169-68D0DF683527}" dt="2024-08-06T12:51:43.358" v="4750" actId="478"/>
          <ac:picMkLst>
            <pc:docMk/>
            <pc:sldMk cId="4108023729" sldId="630"/>
            <ac:picMk id="47" creationId="{04DEF87B-D557-8681-F738-CD4050E1FD92}"/>
          </ac:picMkLst>
        </pc:picChg>
        <pc:picChg chg="add del mod">
          <ac:chgData name="Bullinger, Marvin" userId="5b54ce5a-dc89-476f-af33-5abd75d5b1e8" providerId="ADAL" clId="{B18DB96A-0F1B-4B04-B169-68D0DF683527}" dt="2024-08-06T12:54:01.202" v="4758" actId="478"/>
          <ac:picMkLst>
            <pc:docMk/>
            <pc:sldMk cId="4108023729" sldId="630"/>
            <ac:picMk id="50" creationId="{A9314FA9-B0B5-358C-55FD-0D85CB217FC8}"/>
          </ac:picMkLst>
        </pc:picChg>
        <pc:picChg chg="add del mod ord">
          <ac:chgData name="Bullinger, Marvin" userId="5b54ce5a-dc89-476f-af33-5abd75d5b1e8" providerId="ADAL" clId="{B18DB96A-0F1B-4B04-B169-68D0DF683527}" dt="2024-08-06T12:58:29.533" v="4774" actId="478"/>
          <ac:picMkLst>
            <pc:docMk/>
            <pc:sldMk cId="4108023729" sldId="630"/>
            <ac:picMk id="53" creationId="{171E07F9-5CE5-F78C-FC96-8E0A3FF53AA9}"/>
          </ac:picMkLst>
        </pc:picChg>
        <pc:picChg chg="add del mod">
          <ac:chgData name="Bullinger, Marvin" userId="5b54ce5a-dc89-476f-af33-5abd75d5b1e8" providerId="ADAL" clId="{B18DB96A-0F1B-4B04-B169-68D0DF683527}" dt="2024-08-06T12:58:38.760" v="4776" actId="478"/>
          <ac:picMkLst>
            <pc:docMk/>
            <pc:sldMk cId="4108023729" sldId="630"/>
            <ac:picMk id="55" creationId="{E4FAC3E9-DC1C-8D39-B811-C88A57B755CF}"/>
          </ac:picMkLst>
        </pc:picChg>
        <pc:picChg chg="add del mod">
          <ac:chgData name="Bullinger, Marvin" userId="5b54ce5a-dc89-476f-af33-5abd75d5b1e8" providerId="ADAL" clId="{B18DB96A-0F1B-4B04-B169-68D0DF683527}" dt="2024-08-06T14:04:43.967" v="5112" actId="478"/>
          <ac:picMkLst>
            <pc:docMk/>
            <pc:sldMk cId="4108023729" sldId="630"/>
            <ac:picMk id="57" creationId="{2A820688-00CD-77A2-2CB4-4B382603ACF3}"/>
          </ac:picMkLst>
        </pc:picChg>
        <pc:picChg chg="add del mod modCrop">
          <ac:chgData name="Bullinger, Marvin" userId="5b54ce5a-dc89-476f-af33-5abd75d5b1e8" providerId="ADAL" clId="{B18DB96A-0F1B-4B04-B169-68D0DF683527}" dt="2024-08-06T14:06:32.424" v="5120" actId="478"/>
          <ac:picMkLst>
            <pc:docMk/>
            <pc:sldMk cId="4108023729" sldId="630"/>
            <ac:picMk id="63" creationId="{BEBC03F0-33B3-90C6-5198-146C5FAEC276}"/>
          </ac:picMkLst>
        </pc:picChg>
        <pc:picChg chg="add mod">
          <ac:chgData name="Bullinger, Marvin" userId="5b54ce5a-dc89-476f-af33-5abd75d5b1e8" providerId="ADAL" clId="{B18DB96A-0F1B-4B04-B169-68D0DF683527}" dt="2024-08-07T09:03:15.713" v="6309" actId="12788"/>
          <ac:picMkLst>
            <pc:docMk/>
            <pc:sldMk cId="4108023729" sldId="630"/>
            <ac:picMk id="65" creationId="{846351C6-7F2D-B4C3-9A03-E25DB17A0A3E}"/>
          </ac:picMkLst>
        </pc:picChg>
        <pc:picChg chg="add mod">
          <ac:chgData name="Bullinger, Marvin" userId="5b54ce5a-dc89-476f-af33-5abd75d5b1e8" providerId="ADAL" clId="{B18DB96A-0F1B-4B04-B169-68D0DF683527}" dt="2024-08-07T09:03:35.747" v="6338" actId="12788"/>
          <ac:picMkLst>
            <pc:docMk/>
            <pc:sldMk cId="4108023729" sldId="630"/>
            <ac:picMk id="67" creationId="{097D1127-A6E7-4EC8-8285-2B344FE6A8A9}"/>
          </ac:picMkLst>
        </pc:picChg>
        <pc:cxnChg chg="add mod">
          <ac:chgData name="Bullinger, Marvin" userId="5b54ce5a-dc89-476f-af33-5abd75d5b1e8" providerId="ADAL" clId="{B18DB96A-0F1B-4B04-B169-68D0DF683527}" dt="2024-08-08T22:18:20.443" v="10160" actId="208"/>
          <ac:cxnSpMkLst>
            <pc:docMk/>
            <pc:sldMk cId="4108023729" sldId="630"/>
            <ac:cxnSpMk id="69" creationId="{F265E4BB-EB71-06F8-3417-ABAFCF1415CB}"/>
          </ac:cxnSpMkLst>
        </pc:cxnChg>
      </pc:sldChg>
      <pc:sldChg chg="addSp delSp modSp add mod modTransition delAnim modAnim modNotesTx">
        <pc:chgData name="Bullinger, Marvin" userId="5b54ce5a-dc89-476f-af33-5abd75d5b1e8" providerId="ADAL" clId="{B18DB96A-0F1B-4B04-B169-68D0DF683527}" dt="2024-08-13T21:44:46.168" v="26730" actId="20577"/>
        <pc:sldMkLst>
          <pc:docMk/>
          <pc:sldMk cId="1134739054" sldId="631"/>
        </pc:sldMkLst>
        <pc:spChg chg="del">
          <ac:chgData name="Bullinger, Marvin" userId="5b54ce5a-dc89-476f-af33-5abd75d5b1e8" providerId="ADAL" clId="{B18DB96A-0F1B-4B04-B169-68D0DF683527}" dt="2024-08-07T08:35:39.766" v="6026" actId="478"/>
          <ac:spMkLst>
            <pc:docMk/>
            <pc:sldMk cId="1134739054" sldId="631"/>
            <ac:spMk id="26" creationId="{B4AA1EE9-C12E-86A2-1D68-42D2B26AFBBD}"/>
          </ac:spMkLst>
        </pc:spChg>
        <pc:spChg chg="mod">
          <ac:chgData name="Bullinger, Marvin" userId="5b54ce5a-dc89-476f-af33-5abd75d5b1e8" providerId="ADAL" clId="{B18DB96A-0F1B-4B04-B169-68D0DF683527}" dt="2024-08-08T22:15:52.859" v="10124" actId="20577"/>
          <ac:spMkLst>
            <pc:docMk/>
            <pc:sldMk cId="1134739054" sldId="631"/>
            <ac:spMk id="43" creationId="{78AB30E4-29AE-D7BC-7C32-A0D804BD65B8}"/>
          </ac:spMkLst>
        </pc:spChg>
        <pc:spChg chg="mod">
          <ac:chgData name="Bullinger, Marvin" userId="5b54ce5a-dc89-476f-af33-5abd75d5b1e8" providerId="ADAL" clId="{B18DB96A-0F1B-4B04-B169-68D0DF683527}" dt="2024-08-13T21:44:30.351" v="26681" actId="20577"/>
          <ac:spMkLst>
            <pc:docMk/>
            <pc:sldMk cId="1134739054" sldId="631"/>
            <ac:spMk id="44" creationId="{B26C11EE-FA77-127E-0DDF-7F2777A4141A}"/>
          </ac:spMkLst>
        </pc:spChg>
        <pc:graphicFrameChg chg="add del mod modGraphic">
          <ac:chgData name="Bullinger, Marvin" userId="5b54ce5a-dc89-476f-af33-5abd75d5b1e8" providerId="ADAL" clId="{B18DB96A-0F1B-4B04-B169-68D0DF683527}" dt="2024-08-07T20:19:24.866" v="7942" actId="478"/>
          <ac:graphicFrameMkLst>
            <pc:docMk/>
            <pc:sldMk cId="1134739054" sldId="631"/>
            <ac:graphicFrameMk id="2" creationId="{DFDDAE7E-C64B-D5CD-6B62-D23BF4727834}"/>
          </ac:graphicFrameMkLst>
        </pc:graphicFrameChg>
        <pc:graphicFrameChg chg="del mod">
          <ac:chgData name="Bullinger, Marvin" userId="5b54ce5a-dc89-476f-af33-5abd75d5b1e8" providerId="ADAL" clId="{B18DB96A-0F1B-4B04-B169-68D0DF683527}" dt="2024-08-06T12:41:43.035" v="4712" actId="478"/>
          <ac:graphicFrameMkLst>
            <pc:docMk/>
            <pc:sldMk cId="1134739054" sldId="631"/>
            <ac:graphicFrameMk id="12" creationId="{FC544FA0-5338-6F8E-8358-D5A56D666E33}"/>
          </ac:graphicFrameMkLst>
        </pc:graphicFrameChg>
        <pc:picChg chg="del mod">
          <ac:chgData name="Bullinger, Marvin" userId="5b54ce5a-dc89-476f-af33-5abd75d5b1e8" providerId="ADAL" clId="{B18DB96A-0F1B-4B04-B169-68D0DF683527}" dt="2024-08-09T18:52:41.132" v="11522" actId="478"/>
          <ac:picMkLst>
            <pc:docMk/>
            <pc:sldMk cId="1134739054" sldId="631"/>
            <ac:picMk id="5" creationId="{12BBD38B-917F-E7F5-87FE-CC2FF07C5AFD}"/>
          </ac:picMkLst>
        </pc:picChg>
        <pc:picChg chg="del mod">
          <ac:chgData name="Bullinger, Marvin" userId="5b54ce5a-dc89-476f-af33-5abd75d5b1e8" providerId="ADAL" clId="{B18DB96A-0F1B-4B04-B169-68D0DF683527}" dt="2024-08-11T14:38:39.495" v="12766" actId="478"/>
          <ac:picMkLst>
            <pc:docMk/>
            <pc:sldMk cId="1134739054" sldId="631"/>
            <ac:picMk id="7" creationId="{C727F60B-E82C-B270-E096-2369533FA35A}"/>
          </ac:picMkLst>
        </pc:picChg>
        <pc:picChg chg="del">
          <ac:chgData name="Bullinger, Marvin" userId="5b54ce5a-dc89-476f-af33-5abd75d5b1e8" providerId="ADAL" clId="{B18DB96A-0F1B-4B04-B169-68D0DF683527}" dt="2024-08-06T12:48:07.528" v="4742" actId="478"/>
          <ac:picMkLst>
            <pc:docMk/>
            <pc:sldMk cId="1134739054" sldId="631"/>
            <ac:picMk id="11" creationId="{1438B3AB-C79A-3564-3A5E-5A2BF728D8CB}"/>
          </ac:picMkLst>
        </pc:picChg>
      </pc:sldChg>
      <pc:sldChg chg="addSp delSp modSp add mod delAnim modNotesTx">
        <pc:chgData name="Bullinger, Marvin" userId="5b54ce5a-dc89-476f-af33-5abd75d5b1e8" providerId="ADAL" clId="{B18DB96A-0F1B-4B04-B169-68D0DF683527}" dt="2024-08-13T21:49:45.600" v="27122" actId="20577"/>
        <pc:sldMkLst>
          <pc:docMk/>
          <pc:sldMk cId="3197800461" sldId="632"/>
        </pc:sldMkLst>
        <pc:spChg chg="add del mod">
          <ac:chgData name="Bullinger, Marvin" userId="5b54ce5a-dc89-476f-af33-5abd75d5b1e8" providerId="ADAL" clId="{B18DB96A-0F1B-4B04-B169-68D0DF683527}" dt="2024-08-06T14:21:08.149" v="5307" actId="478"/>
          <ac:spMkLst>
            <pc:docMk/>
            <pc:sldMk cId="3197800461" sldId="632"/>
            <ac:spMk id="4" creationId="{0FFE9C94-1786-9322-5500-2CB4E4D8C632}"/>
          </ac:spMkLst>
        </pc:spChg>
        <pc:spChg chg="add del">
          <ac:chgData name="Bullinger, Marvin" userId="5b54ce5a-dc89-476f-af33-5abd75d5b1e8" providerId="ADAL" clId="{B18DB96A-0F1B-4B04-B169-68D0DF683527}" dt="2024-08-06T15:13:18.053" v="5726" actId="22"/>
          <ac:spMkLst>
            <pc:docMk/>
            <pc:sldMk cId="3197800461" sldId="632"/>
            <ac:spMk id="16" creationId="{D11BDE59-B09E-F3A1-A382-53FEF4DF170D}"/>
          </ac:spMkLst>
        </pc:spChg>
        <pc:spChg chg="add mod">
          <ac:chgData name="Bullinger, Marvin" userId="5b54ce5a-dc89-476f-af33-5abd75d5b1e8" providerId="ADAL" clId="{B18DB96A-0F1B-4B04-B169-68D0DF683527}" dt="2024-08-13T15:15:53.313" v="26554" actId="1076"/>
          <ac:spMkLst>
            <pc:docMk/>
            <pc:sldMk cId="3197800461" sldId="632"/>
            <ac:spMk id="17" creationId="{927A1DE9-0C23-A03B-C4DC-2C6B8BAB71F5}"/>
          </ac:spMkLst>
        </pc:spChg>
        <pc:spChg chg="del">
          <ac:chgData name="Bullinger, Marvin" userId="5b54ce5a-dc89-476f-af33-5abd75d5b1e8" providerId="ADAL" clId="{B18DB96A-0F1B-4B04-B169-68D0DF683527}" dt="2024-08-07T08:35:58.437" v="6032" actId="478"/>
          <ac:spMkLst>
            <pc:docMk/>
            <pc:sldMk cId="3197800461" sldId="632"/>
            <ac:spMk id="26" creationId="{655FB8A0-6E75-2B8A-B4EF-C22466BFD989}"/>
          </ac:spMkLst>
        </pc:spChg>
        <pc:spChg chg="mod">
          <ac:chgData name="Bullinger, Marvin" userId="5b54ce5a-dc89-476f-af33-5abd75d5b1e8" providerId="ADAL" clId="{B18DB96A-0F1B-4B04-B169-68D0DF683527}" dt="2024-08-06T14:45:33.176" v="5724" actId="20577"/>
          <ac:spMkLst>
            <pc:docMk/>
            <pc:sldMk cId="3197800461" sldId="632"/>
            <ac:spMk id="43" creationId="{18A985D8-8844-EE64-06BA-37B64FD077A0}"/>
          </ac:spMkLst>
        </pc:spChg>
        <pc:spChg chg="del">
          <ac:chgData name="Bullinger, Marvin" userId="5b54ce5a-dc89-476f-af33-5abd75d5b1e8" providerId="ADAL" clId="{B18DB96A-0F1B-4B04-B169-68D0DF683527}" dt="2024-08-06T14:21:05.017" v="5306" actId="478"/>
          <ac:spMkLst>
            <pc:docMk/>
            <pc:sldMk cId="3197800461" sldId="632"/>
            <ac:spMk id="44" creationId="{26EC6D5F-42D3-9AFC-16AD-CE3B0C6A3BDA}"/>
          </ac:spMkLst>
        </pc:spChg>
        <pc:picChg chg="del">
          <ac:chgData name="Bullinger, Marvin" userId="5b54ce5a-dc89-476f-af33-5abd75d5b1e8" providerId="ADAL" clId="{B18DB96A-0F1B-4B04-B169-68D0DF683527}" dt="2024-08-06T14:21:09.095" v="5308" actId="478"/>
          <ac:picMkLst>
            <pc:docMk/>
            <pc:sldMk cId="3197800461" sldId="632"/>
            <ac:picMk id="2" creationId="{E7BB2746-1DC0-F9E2-C8EF-5FC0F4380E66}"/>
          </ac:picMkLst>
        </pc:picChg>
        <pc:picChg chg="add mod modCrop">
          <ac:chgData name="Bullinger, Marvin" userId="5b54ce5a-dc89-476f-af33-5abd75d5b1e8" providerId="ADAL" clId="{B18DB96A-0F1B-4B04-B169-68D0DF683527}" dt="2024-08-07T09:04:44.159" v="6425" actId="1035"/>
          <ac:picMkLst>
            <pc:docMk/>
            <pc:sldMk cId="3197800461" sldId="632"/>
            <ac:picMk id="6" creationId="{5FEDCCFB-0DDC-3E3D-4063-3EE92298401C}"/>
          </ac:picMkLst>
        </pc:picChg>
        <pc:picChg chg="del">
          <ac:chgData name="Bullinger, Marvin" userId="5b54ce5a-dc89-476f-af33-5abd75d5b1e8" providerId="ADAL" clId="{B18DB96A-0F1B-4B04-B169-68D0DF683527}" dt="2024-08-06T14:21:10.289" v="5309" actId="478"/>
          <ac:picMkLst>
            <pc:docMk/>
            <pc:sldMk cId="3197800461" sldId="632"/>
            <ac:picMk id="10" creationId="{9AF020F0-FFEA-AB28-4F52-2A5B8FE521F0}"/>
          </ac:picMkLst>
        </pc:picChg>
        <pc:cxnChg chg="add mod">
          <ac:chgData name="Bullinger, Marvin" userId="5b54ce5a-dc89-476f-af33-5abd75d5b1e8" providerId="ADAL" clId="{B18DB96A-0F1B-4B04-B169-68D0DF683527}" dt="2024-08-08T22:18:34.317" v="10162" actId="208"/>
          <ac:cxnSpMkLst>
            <pc:docMk/>
            <pc:sldMk cId="3197800461" sldId="632"/>
            <ac:cxnSpMk id="7" creationId="{D6DCE243-2CDC-7527-FBC1-F7A48BC3E9E5}"/>
          </ac:cxnSpMkLst>
        </pc:cxnChg>
        <pc:cxnChg chg="add mod">
          <ac:chgData name="Bullinger, Marvin" userId="5b54ce5a-dc89-476f-af33-5abd75d5b1e8" providerId="ADAL" clId="{B18DB96A-0F1B-4B04-B169-68D0DF683527}" dt="2024-08-06T14:44:29.216" v="5546" actId="1076"/>
          <ac:cxnSpMkLst>
            <pc:docMk/>
            <pc:sldMk cId="3197800461" sldId="632"/>
            <ac:cxnSpMk id="8" creationId="{814A8406-D1CB-599E-538C-7775FA8AA743}"/>
          </ac:cxnSpMkLst>
        </pc:cxnChg>
        <pc:cxnChg chg="add mod">
          <ac:chgData name="Bullinger, Marvin" userId="5b54ce5a-dc89-476f-af33-5abd75d5b1e8" providerId="ADAL" clId="{B18DB96A-0F1B-4B04-B169-68D0DF683527}" dt="2024-08-08T22:18:34.317" v="10162" actId="208"/>
          <ac:cxnSpMkLst>
            <pc:docMk/>
            <pc:sldMk cId="3197800461" sldId="632"/>
            <ac:cxnSpMk id="9" creationId="{42EB1079-D154-B2DA-E3F9-DEB7091B157F}"/>
          </ac:cxnSpMkLst>
        </pc:cxnChg>
        <pc:cxnChg chg="add mod">
          <ac:chgData name="Bullinger, Marvin" userId="5b54ce5a-dc89-476f-af33-5abd75d5b1e8" providerId="ADAL" clId="{B18DB96A-0F1B-4B04-B169-68D0DF683527}" dt="2024-08-06T14:45:19.032" v="5703"/>
          <ac:cxnSpMkLst>
            <pc:docMk/>
            <pc:sldMk cId="3197800461" sldId="632"/>
            <ac:cxnSpMk id="14" creationId="{EEF6697F-2183-39CA-33CF-CF2DE8CF1D31}"/>
          </ac:cxnSpMkLst>
        </pc:cxnChg>
      </pc:sldChg>
      <pc:sldChg chg="addSp delSp modSp add mod modNotesTx">
        <pc:chgData name="Bullinger, Marvin" userId="5b54ce5a-dc89-476f-af33-5abd75d5b1e8" providerId="ADAL" clId="{B18DB96A-0F1B-4B04-B169-68D0DF683527}" dt="2024-08-13T21:51:03.960" v="27237" actId="20577"/>
        <pc:sldMkLst>
          <pc:docMk/>
          <pc:sldMk cId="2950531154" sldId="633"/>
        </pc:sldMkLst>
        <pc:spChg chg="add mod">
          <ac:chgData name="Bullinger, Marvin" userId="5b54ce5a-dc89-476f-af33-5abd75d5b1e8" providerId="ADAL" clId="{B18DB96A-0F1B-4B04-B169-68D0DF683527}" dt="2024-08-07T07:45:54.290" v="5974" actId="1036"/>
          <ac:spMkLst>
            <pc:docMk/>
            <pc:sldMk cId="2950531154" sldId="633"/>
            <ac:spMk id="4" creationId="{F8114830-B774-7527-9250-D43FF9AF5FE4}"/>
          </ac:spMkLst>
        </pc:spChg>
        <pc:spChg chg="del">
          <ac:chgData name="Bullinger, Marvin" userId="5b54ce5a-dc89-476f-af33-5abd75d5b1e8" providerId="ADAL" clId="{B18DB96A-0F1B-4B04-B169-68D0DF683527}" dt="2024-08-07T08:36:00.304" v="6033" actId="478"/>
          <ac:spMkLst>
            <pc:docMk/>
            <pc:sldMk cId="2950531154" sldId="633"/>
            <ac:spMk id="26" creationId="{655FB8A0-6E75-2B8A-B4EF-C22466BFD989}"/>
          </ac:spMkLst>
        </pc:spChg>
        <pc:spChg chg="mod">
          <ac:chgData name="Bullinger, Marvin" userId="5b54ce5a-dc89-476f-af33-5abd75d5b1e8" providerId="ADAL" clId="{B18DB96A-0F1B-4B04-B169-68D0DF683527}" dt="2024-08-06T15:22:03.156" v="5844" actId="20577"/>
          <ac:spMkLst>
            <pc:docMk/>
            <pc:sldMk cId="2950531154" sldId="633"/>
            <ac:spMk id="43" creationId="{18A985D8-8844-EE64-06BA-37B64FD077A0}"/>
          </ac:spMkLst>
        </pc:spChg>
        <pc:picChg chg="add del mod ord">
          <ac:chgData name="Bullinger, Marvin" userId="5b54ce5a-dc89-476f-af33-5abd75d5b1e8" providerId="ADAL" clId="{B18DB96A-0F1B-4B04-B169-68D0DF683527}" dt="2024-08-07T08:23:24.158" v="6007" actId="478"/>
          <ac:picMkLst>
            <pc:docMk/>
            <pc:sldMk cId="2950531154" sldId="633"/>
            <ac:picMk id="3" creationId="{4ED7BE3A-FC04-F4FC-17FE-C8627E56039B}"/>
          </ac:picMkLst>
        </pc:picChg>
        <pc:picChg chg="add del">
          <ac:chgData name="Bullinger, Marvin" userId="5b54ce5a-dc89-476f-af33-5abd75d5b1e8" providerId="ADAL" clId="{B18DB96A-0F1B-4B04-B169-68D0DF683527}" dt="2024-08-07T08:27:41.979" v="6013" actId="478"/>
          <ac:picMkLst>
            <pc:docMk/>
            <pc:sldMk cId="2950531154" sldId="633"/>
            <ac:picMk id="5" creationId="{71C631EF-7B47-33B6-A4DD-F863940207A9}"/>
          </ac:picMkLst>
        </pc:picChg>
        <pc:picChg chg="del">
          <ac:chgData name="Bullinger, Marvin" userId="5b54ce5a-dc89-476f-af33-5abd75d5b1e8" providerId="ADAL" clId="{B18DB96A-0F1B-4B04-B169-68D0DF683527}" dt="2024-08-06T15:13:51.964" v="5728" actId="478"/>
          <ac:picMkLst>
            <pc:docMk/>
            <pc:sldMk cId="2950531154" sldId="633"/>
            <ac:picMk id="6" creationId="{5FEDCCFB-0DDC-3E3D-4063-3EE92298401C}"/>
          </ac:picMkLst>
        </pc:picChg>
        <pc:picChg chg="add mod ord modCrop">
          <ac:chgData name="Bullinger, Marvin" userId="5b54ce5a-dc89-476f-af33-5abd75d5b1e8" providerId="ADAL" clId="{B18DB96A-0F1B-4B04-B169-68D0DF683527}" dt="2024-08-07T09:10:23.355" v="6610" actId="1038"/>
          <ac:picMkLst>
            <pc:docMk/>
            <pc:sldMk cId="2950531154" sldId="633"/>
            <ac:picMk id="8" creationId="{CC9D2F80-E3FC-3098-62E0-19DBA4576F0F}"/>
          </ac:picMkLst>
        </pc:picChg>
        <pc:cxnChg chg="mod">
          <ac:chgData name="Bullinger, Marvin" userId="5b54ce5a-dc89-476f-af33-5abd75d5b1e8" providerId="ADAL" clId="{B18DB96A-0F1B-4B04-B169-68D0DF683527}" dt="2024-08-08T22:18:49.768" v="10163" actId="208"/>
          <ac:cxnSpMkLst>
            <pc:docMk/>
            <pc:sldMk cId="2950531154" sldId="633"/>
            <ac:cxnSpMk id="7" creationId="{D6DCE243-2CDC-7527-FBC1-F7A48BC3E9E5}"/>
          </ac:cxnSpMkLst>
        </pc:cxnChg>
        <pc:cxnChg chg="del mod">
          <ac:chgData name="Bullinger, Marvin" userId="5b54ce5a-dc89-476f-af33-5abd75d5b1e8" providerId="ADAL" clId="{B18DB96A-0F1B-4B04-B169-68D0DF683527}" dt="2024-08-07T09:06:15.442" v="6522" actId="478"/>
          <ac:cxnSpMkLst>
            <pc:docMk/>
            <pc:sldMk cId="2950531154" sldId="633"/>
            <ac:cxnSpMk id="9" creationId="{42EB1079-D154-B2DA-E3F9-DEB7091B157F}"/>
          </ac:cxnSpMkLst>
        </pc:cxnChg>
        <pc:cxnChg chg="add mod">
          <ac:chgData name="Bullinger, Marvin" userId="5b54ce5a-dc89-476f-af33-5abd75d5b1e8" providerId="ADAL" clId="{B18DB96A-0F1B-4B04-B169-68D0DF683527}" dt="2024-08-08T22:18:49.768" v="10163" actId="208"/>
          <ac:cxnSpMkLst>
            <pc:docMk/>
            <pc:sldMk cId="2950531154" sldId="633"/>
            <ac:cxnSpMk id="12" creationId="{CD32E0DA-2563-8068-5D22-D34FD97F2B1E}"/>
          </ac:cxnSpMkLst>
        </pc:cxnChg>
      </pc:sldChg>
      <pc:sldChg chg="modSp new del mod">
        <pc:chgData name="Bullinger, Marvin" userId="5b54ce5a-dc89-476f-af33-5abd75d5b1e8" providerId="ADAL" clId="{B18DB96A-0F1B-4B04-B169-68D0DF683527}" dt="2024-08-07T07:57:38.090" v="6000" actId="47"/>
        <pc:sldMkLst>
          <pc:docMk/>
          <pc:sldMk cId="202817384" sldId="634"/>
        </pc:sldMkLst>
        <pc:spChg chg="mod">
          <ac:chgData name="Bullinger, Marvin" userId="5b54ce5a-dc89-476f-af33-5abd75d5b1e8" providerId="ADAL" clId="{B18DB96A-0F1B-4B04-B169-68D0DF683527}" dt="2024-08-06T15:29:25.895" v="5892"/>
          <ac:spMkLst>
            <pc:docMk/>
            <pc:sldMk cId="202817384" sldId="634"/>
            <ac:spMk id="2" creationId="{F7733EF7-1924-614E-E368-1113A106E0F2}"/>
          </ac:spMkLst>
        </pc:spChg>
        <pc:spChg chg="mod">
          <ac:chgData name="Bullinger, Marvin" userId="5b54ce5a-dc89-476f-af33-5abd75d5b1e8" providerId="ADAL" clId="{B18DB96A-0F1B-4B04-B169-68D0DF683527}" dt="2024-08-06T15:29:45.733" v="5958" actId="20577"/>
          <ac:spMkLst>
            <pc:docMk/>
            <pc:sldMk cId="202817384" sldId="634"/>
            <ac:spMk id="3" creationId="{2E2E85DD-21A8-3B88-260D-77EB6D21EAD8}"/>
          </ac:spMkLst>
        </pc:spChg>
      </pc:sldChg>
      <pc:sldChg chg="addSp delSp modSp add mod modNotesTx">
        <pc:chgData name="Bullinger, Marvin" userId="5b54ce5a-dc89-476f-af33-5abd75d5b1e8" providerId="ADAL" clId="{B18DB96A-0F1B-4B04-B169-68D0DF683527}" dt="2024-08-13T21:52:06.923" v="27387" actId="20577"/>
        <pc:sldMkLst>
          <pc:docMk/>
          <pc:sldMk cId="1385473652" sldId="635"/>
        </pc:sldMkLst>
        <pc:spChg chg="del mod">
          <ac:chgData name="Bullinger, Marvin" userId="5b54ce5a-dc89-476f-af33-5abd75d5b1e8" providerId="ADAL" clId="{B18DB96A-0F1B-4B04-B169-68D0DF683527}" dt="2024-08-07T08:48:56.215" v="6047" actId="478"/>
          <ac:spMkLst>
            <pc:docMk/>
            <pc:sldMk cId="1385473652" sldId="635"/>
            <ac:spMk id="4" creationId="{F8114830-B774-7527-9250-D43FF9AF5FE4}"/>
          </ac:spMkLst>
        </pc:spChg>
        <pc:spChg chg="add mod">
          <ac:chgData name="Bullinger, Marvin" userId="5b54ce5a-dc89-476f-af33-5abd75d5b1e8" providerId="ADAL" clId="{B18DB96A-0F1B-4B04-B169-68D0DF683527}" dt="2024-08-08T22:19:06.557" v="10164" actId="207"/>
          <ac:spMkLst>
            <pc:docMk/>
            <pc:sldMk cId="1385473652" sldId="635"/>
            <ac:spMk id="13" creationId="{79B3F17B-9B2C-56EA-6EDD-FDCD7446ED87}"/>
          </ac:spMkLst>
        </pc:spChg>
        <pc:spChg chg="add mod">
          <ac:chgData name="Bullinger, Marvin" userId="5b54ce5a-dc89-476f-af33-5abd75d5b1e8" providerId="ADAL" clId="{B18DB96A-0F1B-4B04-B169-68D0DF683527}" dt="2024-08-08T22:20:17.914" v="10170" actId="207"/>
          <ac:spMkLst>
            <pc:docMk/>
            <pc:sldMk cId="1385473652" sldId="635"/>
            <ac:spMk id="14" creationId="{727A35E1-687A-48FB-D2FA-FD722ED3CBD8}"/>
          </ac:spMkLst>
        </pc:spChg>
        <pc:spChg chg="del">
          <ac:chgData name="Bullinger, Marvin" userId="5b54ce5a-dc89-476f-af33-5abd75d5b1e8" providerId="ADAL" clId="{B18DB96A-0F1B-4B04-B169-68D0DF683527}" dt="2024-08-07T08:36:02.705" v="6034" actId="478"/>
          <ac:spMkLst>
            <pc:docMk/>
            <pc:sldMk cId="1385473652" sldId="635"/>
            <ac:spMk id="26" creationId="{655FB8A0-6E75-2B8A-B4EF-C22466BFD989}"/>
          </ac:spMkLst>
        </pc:spChg>
        <pc:picChg chg="del">
          <ac:chgData name="Bullinger, Marvin" userId="5b54ce5a-dc89-476f-af33-5abd75d5b1e8" providerId="ADAL" clId="{B18DB96A-0F1B-4B04-B169-68D0DF683527}" dt="2024-08-07T08:23:27.559" v="6009" actId="478"/>
          <ac:picMkLst>
            <pc:docMk/>
            <pc:sldMk cId="1385473652" sldId="635"/>
            <ac:picMk id="3" creationId="{4ED7BE3A-FC04-F4FC-17FE-C8627E56039B}"/>
          </ac:picMkLst>
        </pc:picChg>
        <pc:picChg chg="add del">
          <ac:chgData name="Bullinger, Marvin" userId="5b54ce5a-dc89-476f-af33-5abd75d5b1e8" providerId="ADAL" clId="{B18DB96A-0F1B-4B04-B169-68D0DF683527}" dt="2024-08-07T08:27:03.733" v="6011" actId="478"/>
          <ac:picMkLst>
            <pc:docMk/>
            <pc:sldMk cId="1385473652" sldId="635"/>
            <ac:picMk id="5" creationId="{348D4B9C-65F5-9A8D-1C56-EE7EB21BBB6D}"/>
          </ac:picMkLst>
        </pc:picChg>
        <pc:picChg chg="add mod ord modCrop">
          <ac:chgData name="Bullinger, Marvin" userId="5b54ce5a-dc89-476f-af33-5abd75d5b1e8" providerId="ADAL" clId="{B18DB96A-0F1B-4B04-B169-68D0DF683527}" dt="2024-08-07T09:13:17.826" v="6689" actId="1036"/>
          <ac:picMkLst>
            <pc:docMk/>
            <pc:sldMk cId="1385473652" sldId="635"/>
            <ac:picMk id="8" creationId="{6807693D-CBD8-18C5-8E2E-283EC05DB16E}"/>
          </ac:picMkLst>
        </pc:picChg>
        <pc:cxnChg chg="del">
          <ac:chgData name="Bullinger, Marvin" userId="5b54ce5a-dc89-476f-af33-5abd75d5b1e8" providerId="ADAL" clId="{B18DB96A-0F1B-4B04-B169-68D0DF683527}" dt="2024-08-07T09:06:31.214" v="6570" actId="478"/>
          <ac:cxnSpMkLst>
            <pc:docMk/>
            <pc:sldMk cId="1385473652" sldId="635"/>
            <ac:cxnSpMk id="7" creationId="{D6DCE243-2CDC-7527-FBC1-F7A48BC3E9E5}"/>
          </ac:cxnSpMkLst>
        </pc:cxnChg>
        <pc:cxnChg chg="del">
          <ac:chgData name="Bullinger, Marvin" userId="5b54ce5a-dc89-476f-af33-5abd75d5b1e8" providerId="ADAL" clId="{B18DB96A-0F1B-4B04-B169-68D0DF683527}" dt="2024-08-07T09:06:32.185" v="6571" actId="478"/>
          <ac:cxnSpMkLst>
            <pc:docMk/>
            <pc:sldMk cId="1385473652" sldId="635"/>
            <ac:cxnSpMk id="9" creationId="{42EB1079-D154-B2DA-E3F9-DEB7091B157F}"/>
          </ac:cxnSpMkLst>
        </pc:cxnChg>
        <pc:cxnChg chg="add del mod">
          <ac:chgData name="Bullinger, Marvin" userId="5b54ce5a-dc89-476f-af33-5abd75d5b1e8" providerId="ADAL" clId="{B18DB96A-0F1B-4B04-B169-68D0DF683527}" dt="2024-08-07T09:12:03.267" v="6665" actId="478"/>
          <ac:cxnSpMkLst>
            <pc:docMk/>
            <pc:sldMk cId="1385473652" sldId="635"/>
            <ac:cxnSpMk id="10" creationId="{5C9E27F5-02F3-8133-56F3-CECE18FA6334}"/>
          </ac:cxnSpMkLst>
        </pc:cxnChg>
        <pc:cxnChg chg="add mod">
          <ac:chgData name="Bullinger, Marvin" userId="5b54ce5a-dc89-476f-af33-5abd75d5b1e8" providerId="ADAL" clId="{B18DB96A-0F1B-4B04-B169-68D0DF683527}" dt="2024-08-08T22:20:09.388" v="10169" actId="208"/>
          <ac:cxnSpMkLst>
            <pc:docMk/>
            <pc:sldMk cId="1385473652" sldId="635"/>
            <ac:cxnSpMk id="11" creationId="{C8A7BBF5-34CB-F5B4-9588-777DACC6D464}"/>
          </ac:cxnSpMkLst>
        </pc:cxnChg>
        <pc:cxnChg chg="add mod">
          <ac:chgData name="Bullinger, Marvin" userId="5b54ce5a-dc89-476f-af33-5abd75d5b1e8" providerId="ADAL" clId="{B18DB96A-0F1B-4B04-B169-68D0DF683527}" dt="2024-08-08T22:20:03.705" v="10168" actId="208"/>
          <ac:cxnSpMkLst>
            <pc:docMk/>
            <pc:sldMk cId="1385473652" sldId="635"/>
            <ac:cxnSpMk id="12" creationId="{ECF729D6-2708-92FC-FDF8-FB56649A8C4A}"/>
          </ac:cxnSpMkLst>
        </pc:cxnChg>
        <pc:cxnChg chg="add mod">
          <ac:chgData name="Bullinger, Marvin" userId="5b54ce5a-dc89-476f-af33-5abd75d5b1e8" providerId="ADAL" clId="{B18DB96A-0F1B-4B04-B169-68D0DF683527}" dt="2024-08-08T22:19:49.424" v="10167" actId="208"/>
          <ac:cxnSpMkLst>
            <pc:docMk/>
            <pc:sldMk cId="1385473652" sldId="635"/>
            <ac:cxnSpMk id="15" creationId="{799253D3-40FF-0F1D-F992-F686C2B36D09}"/>
          </ac:cxnSpMkLst>
        </pc:cxnChg>
      </pc:sldChg>
      <pc:sldChg chg="add del">
        <pc:chgData name="Bullinger, Marvin" userId="5b54ce5a-dc89-476f-af33-5abd75d5b1e8" providerId="ADAL" clId="{B18DB96A-0F1B-4B04-B169-68D0DF683527}" dt="2024-08-07T07:46:00.697" v="5975" actId="47"/>
        <pc:sldMkLst>
          <pc:docMk/>
          <pc:sldMk cId="2646013661" sldId="635"/>
        </pc:sldMkLst>
      </pc:sldChg>
      <pc:sldChg chg="new del">
        <pc:chgData name="Bullinger, Marvin" userId="5b54ce5a-dc89-476f-af33-5abd75d5b1e8" providerId="ADAL" clId="{B18DB96A-0F1B-4B04-B169-68D0DF683527}" dt="2024-08-07T07:46:22.213" v="5980" actId="47"/>
        <pc:sldMkLst>
          <pc:docMk/>
          <pc:sldMk cId="2757079582" sldId="635"/>
        </pc:sldMkLst>
      </pc:sldChg>
      <pc:sldChg chg="add del">
        <pc:chgData name="Bullinger, Marvin" userId="5b54ce5a-dc89-476f-af33-5abd75d5b1e8" providerId="ADAL" clId="{B18DB96A-0F1B-4B04-B169-68D0DF683527}" dt="2024-08-07T07:46:01.579" v="5976" actId="47"/>
        <pc:sldMkLst>
          <pc:docMk/>
          <pc:sldMk cId="1571711245" sldId="636"/>
        </pc:sldMkLst>
      </pc:sldChg>
      <pc:sldChg chg="addSp delSp modSp add mod modNotesTx">
        <pc:chgData name="Bullinger, Marvin" userId="5b54ce5a-dc89-476f-af33-5abd75d5b1e8" providerId="ADAL" clId="{B18DB96A-0F1B-4B04-B169-68D0DF683527}" dt="2024-08-13T21:52:22.423" v="27389" actId="20577"/>
        <pc:sldMkLst>
          <pc:docMk/>
          <pc:sldMk cId="2673565317" sldId="636"/>
        </pc:sldMkLst>
        <pc:spChg chg="add del mod">
          <ac:chgData name="Bullinger, Marvin" userId="5b54ce5a-dc89-476f-af33-5abd75d5b1e8" providerId="ADAL" clId="{B18DB96A-0F1B-4B04-B169-68D0DF683527}" dt="2024-08-07T09:15:59.015" v="6719" actId="478"/>
          <ac:spMkLst>
            <pc:docMk/>
            <pc:sldMk cId="2673565317" sldId="636"/>
            <ac:spMk id="16" creationId="{6D6F9964-38E2-A11A-BF9F-DF6596BD002F}"/>
          </ac:spMkLst>
        </pc:spChg>
        <pc:spChg chg="add del mod">
          <ac:chgData name="Bullinger, Marvin" userId="5b54ce5a-dc89-476f-af33-5abd75d5b1e8" providerId="ADAL" clId="{B18DB96A-0F1B-4B04-B169-68D0DF683527}" dt="2024-08-07T09:16:44.634" v="6733" actId="478"/>
          <ac:spMkLst>
            <pc:docMk/>
            <pc:sldMk cId="2673565317" sldId="636"/>
            <ac:spMk id="17" creationId="{48E15247-4060-5F3D-40DE-1725585DAE89}"/>
          </ac:spMkLst>
        </pc:spChg>
        <pc:spChg chg="add del mod">
          <ac:chgData name="Bullinger, Marvin" userId="5b54ce5a-dc89-476f-af33-5abd75d5b1e8" providerId="ADAL" clId="{B18DB96A-0F1B-4B04-B169-68D0DF683527}" dt="2024-08-07T09:16:31.720" v="6730" actId="478"/>
          <ac:spMkLst>
            <pc:docMk/>
            <pc:sldMk cId="2673565317" sldId="636"/>
            <ac:spMk id="22" creationId="{FA133369-2CBE-66C5-F990-26A81A5BEB18}"/>
          </ac:spMkLst>
        </pc:spChg>
        <pc:spChg chg="del">
          <ac:chgData name="Bullinger, Marvin" userId="5b54ce5a-dc89-476f-af33-5abd75d5b1e8" providerId="ADAL" clId="{B18DB96A-0F1B-4B04-B169-68D0DF683527}" dt="2024-08-07T08:36:05.472" v="6035" actId="478"/>
          <ac:spMkLst>
            <pc:docMk/>
            <pc:sldMk cId="2673565317" sldId="636"/>
            <ac:spMk id="26" creationId="{655FB8A0-6E75-2B8A-B4EF-C22466BFD989}"/>
          </ac:spMkLst>
        </pc:spChg>
        <pc:picChg chg="del">
          <ac:chgData name="Bullinger, Marvin" userId="5b54ce5a-dc89-476f-af33-5abd75d5b1e8" providerId="ADAL" clId="{B18DB96A-0F1B-4B04-B169-68D0DF683527}" dt="2024-08-07T08:20:22.698" v="6001" actId="478"/>
          <ac:picMkLst>
            <pc:docMk/>
            <pc:sldMk cId="2673565317" sldId="636"/>
            <ac:picMk id="3" creationId="{4ED7BE3A-FC04-F4FC-17FE-C8627E56039B}"/>
          </ac:picMkLst>
        </pc:picChg>
        <pc:picChg chg="add del mod">
          <ac:chgData name="Bullinger, Marvin" userId="5b54ce5a-dc89-476f-af33-5abd75d5b1e8" providerId="ADAL" clId="{B18DB96A-0F1B-4B04-B169-68D0DF683527}" dt="2024-08-07T08:20:49.349" v="6006" actId="478"/>
          <ac:picMkLst>
            <pc:docMk/>
            <pc:sldMk cId="2673565317" sldId="636"/>
            <ac:picMk id="5" creationId="{59C72AFD-2064-95A5-AADE-308B20981073}"/>
          </ac:picMkLst>
        </pc:picChg>
        <pc:picChg chg="add mod ord modCrop">
          <ac:chgData name="Bullinger, Marvin" userId="5b54ce5a-dc89-476f-af33-5abd75d5b1e8" providerId="ADAL" clId="{B18DB96A-0F1B-4B04-B169-68D0DF683527}" dt="2024-08-07T09:14:16.909" v="6695" actId="14100"/>
          <ac:picMkLst>
            <pc:docMk/>
            <pc:sldMk cId="2673565317" sldId="636"/>
            <ac:picMk id="8" creationId="{29E0A742-3817-8C77-6355-1B806AC72A11}"/>
          </ac:picMkLst>
        </pc:picChg>
        <pc:cxnChg chg="add del">
          <ac:chgData name="Bullinger, Marvin" userId="5b54ce5a-dc89-476f-af33-5abd75d5b1e8" providerId="ADAL" clId="{B18DB96A-0F1B-4B04-B169-68D0DF683527}" dt="2024-08-07T09:15:29.788" v="6713" actId="478"/>
          <ac:cxnSpMkLst>
            <pc:docMk/>
            <pc:sldMk cId="2673565317" sldId="636"/>
            <ac:cxnSpMk id="7" creationId="{D6DCE243-2CDC-7527-FBC1-F7A48BC3E9E5}"/>
          </ac:cxnSpMkLst>
        </pc:cxnChg>
        <pc:cxnChg chg="del">
          <ac:chgData name="Bullinger, Marvin" userId="5b54ce5a-dc89-476f-af33-5abd75d5b1e8" providerId="ADAL" clId="{B18DB96A-0F1B-4B04-B169-68D0DF683527}" dt="2024-08-07T09:15:30.954" v="6714" actId="478"/>
          <ac:cxnSpMkLst>
            <pc:docMk/>
            <pc:sldMk cId="2673565317" sldId="636"/>
            <ac:cxnSpMk id="9" creationId="{42EB1079-D154-B2DA-E3F9-DEB7091B157F}"/>
          </ac:cxnSpMkLst>
        </pc:cxnChg>
        <pc:cxnChg chg="add mod">
          <ac:chgData name="Bullinger, Marvin" userId="5b54ce5a-dc89-476f-af33-5abd75d5b1e8" providerId="ADAL" clId="{B18DB96A-0F1B-4B04-B169-68D0DF683527}" dt="2024-08-08T22:19:37.299" v="10166" actId="208"/>
          <ac:cxnSpMkLst>
            <pc:docMk/>
            <pc:sldMk cId="2673565317" sldId="636"/>
            <ac:cxnSpMk id="10" creationId="{6D31570D-98EE-EF5A-89F1-B8A1097DF2D6}"/>
          </ac:cxnSpMkLst>
        </pc:cxnChg>
        <pc:cxnChg chg="add mod">
          <ac:chgData name="Bullinger, Marvin" userId="5b54ce5a-dc89-476f-af33-5abd75d5b1e8" providerId="ADAL" clId="{B18DB96A-0F1B-4B04-B169-68D0DF683527}" dt="2024-08-08T22:19:37.299" v="10166" actId="208"/>
          <ac:cxnSpMkLst>
            <pc:docMk/>
            <pc:sldMk cId="2673565317" sldId="636"/>
            <ac:cxnSpMk id="11" creationId="{D63A21A3-B918-DB9A-16C0-D21F10F63658}"/>
          </ac:cxnSpMkLst>
        </pc:cxnChg>
        <pc:cxnChg chg="add del mod">
          <ac:chgData name="Bullinger, Marvin" userId="5b54ce5a-dc89-476f-af33-5abd75d5b1e8" providerId="ADAL" clId="{B18DB96A-0F1B-4B04-B169-68D0DF683527}" dt="2024-08-08T22:19:37.299" v="10166" actId="208"/>
          <ac:cxnSpMkLst>
            <pc:docMk/>
            <pc:sldMk cId="2673565317" sldId="636"/>
            <ac:cxnSpMk id="18" creationId="{F309F134-A516-B9A5-0E7A-C7CC5233900F}"/>
          </ac:cxnSpMkLst>
        </pc:cxnChg>
        <pc:cxnChg chg="add mod">
          <ac:chgData name="Bullinger, Marvin" userId="5b54ce5a-dc89-476f-af33-5abd75d5b1e8" providerId="ADAL" clId="{B18DB96A-0F1B-4B04-B169-68D0DF683527}" dt="2024-08-08T22:19:37.299" v="10166" actId="208"/>
          <ac:cxnSpMkLst>
            <pc:docMk/>
            <pc:sldMk cId="2673565317" sldId="636"/>
            <ac:cxnSpMk id="20" creationId="{E21B2026-A7D2-1DFD-C9C1-34B4FDE2B0B7}"/>
          </ac:cxnSpMkLst>
        </pc:cxnChg>
        <pc:cxnChg chg="add mod">
          <ac:chgData name="Bullinger, Marvin" userId="5b54ce5a-dc89-476f-af33-5abd75d5b1e8" providerId="ADAL" clId="{B18DB96A-0F1B-4B04-B169-68D0DF683527}" dt="2024-08-08T22:19:37.299" v="10166" actId="208"/>
          <ac:cxnSpMkLst>
            <pc:docMk/>
            <pc:sldMk cId="2673565317" sldId="636"/>
            <ac:cxnSpMk id="24" creationId="{12A600B6-E96F-B203-7CC5-253B84887C2D}"/>
          </ac:cxnSpMkLst>
        </pc:cxnChg>
        <pc:cxnChg chg="add mod">
          <ac:chgData name="Bullinger, Marvin" userId="5b54ce5a-dc89-476f-af33-5abd75d5b1e8" providerId="ADAL" clId="{B18DB96A-0F1B-4B04-B169-68D0DF683527}" dt="2024-08-08T22:19:37.299" v="10166" actId="208"/>
          <ac:cxnSpMkLst>
            <pc:docMk/>
            <pc:sldMk cId="2673565317" sldId="636"/>
            <ac:cxnSpMk id="28" creationId="{3FCA7409-915C-56BD-B9FF-CCCBDE17CD5C}"/>
          </ac:cxnSpMkLst>
        </pc:cxnChg>
      </pc:sldChg>
      <pc:sldChg chg="new del">
        <pc:chgData name="Bullinger, Marvin" userId="5b54ce5a-dc89-476f-af33-5abd75d5b1e8" providerId="ADAL" clId="{B18DB96A-0F1B-4B04-B169-68D0DF683527}" dt="2024-08-07T07:46:21.285" v="5979" actId="47"/>
        <pc:sldMkLst>
          <pc:docMk/>
          <pc:sldMk cId="2751019155" sldId="636"/>
        </pc:sldMkLst>
      </pc:sldChg>
      <pc:sldChg chg="addSp delSp modSp add mod ord modShow">
        <pc:chgData name="Bullinger, Marvin" userId="5b54ce5a-dc89-476f-af33-5abd75d5b1e8" providerId="ADAL" clId="{B18DB96A-0F1B-4B04-B169-68D0DF683527}" dt="2024-08-08T11:46:02.830" v="8779" actId="20577"/>
        <pc:sldMkLst>
          <pc:docMk/>
          <pc:sldMk cId="2266583018" sldId="637"/>
        </pc:sldMkLst>
        <pc:spChg chg="mod">
          <ac:chgData name="Bullinger, Marvin" userId="5b54ce5a-dc89-476f-af33-5abd75d5b1e8" providerId="ADAL" clId="{B18DB96A-0F1B-4B04-B169-68D0DF683527}" dt="2024-08-07T08:56:22.757" v="6086" actId="1076"/>
          <ac:spMkLst>
            <pc:docMk/>
            <pc:sldMk cId="2266583018" sldId="637"/>
            <ac:spMk id="4" creationId="{F8114830-B774-7527-9250-D43FF9AF5FE4}"/>
          </ac:spMkLst>
        </pc:spChg>
        <pc:spChg chg="add mod">
          <ac:chgData name="Bullinger, Marvin" userId="5b54ce5a-dc89-476f-af33-5abd75d5b1e8" providerId="ADAL" clId="{B18DB96A-0F1B-4B04-B169-68D0DF683527}" dt="2024-08-07T09:01:14.203" v="6281" actId="1037"/>
          <ac:spMkLst>
            <pc:docMk/>
            <pc:sldMk cId="2266583018" sldId="637"/>
            <ac:spMk id="22" creationId="{D7E0D48D-0C8F-0241-360B-528CEC0FC53E}"/>
          </ac:spMkLst>
        </pc:spChg>
        <pc:spChg chg="add del mod">
          <ac:chgData name="Bullinger, Marvin" userId="5b54ce5a-dc89-476f-af33-5abd75d5b1e8" providerId="ADAL" clId="{B18DB96A-0F1B-4B04-B169-68D0DF683527}" dt="2024-08-07T09:18:05.514" v="6771" actId="478"/>
          <ac:spMkLst>
            <pc:docMk/>
            <pc:sldMk cId="2266583018" sldId="637"/>
            <ac:spMk id="23" creationId="{CEC96730-D5C1-C308-2F5A-EECB3550A48E}"/>
          </ac:spMkLst>
        </pc:spChg>
        <pc:spChg chg="del">
          <ac:chgData name="Bullinger, Marvin" userId="5b54ce5a-dc89-476f-af33-5abd75d5b1e8" providerId="ADAL" clId="{B18DB96A-0F1B-4B04-B169-68D0DF683527}" dt="2024-08-07T08:36:07.415" v="6036" actId="478"/>
          <ac:spMkLst>
            <pc:docMk/>
            <pc:sldMk cId="2266583018" sldId="637"/>
            <ac:spMk id="26" creationId="{655FB8A0-6E75-2B8A-B4EF-C22466BFD989}"/>
          </ac:spMkLst>
        </pc:spChg>
        <pc:spChg chg="mod">
          <ac:chgData name="Bullinger, Marvin" userId="5b54ce5a-dc89-476f-af33-5abd75d5b1e8" providerId="ADAL" clId="{B18DB96A-0F1B-4B04-B169-68D0DF683527}" dt="2024-08-08T11:46:02.830" v="8779" actId="20577"/>
          <ac:spMkLst>
            <pc:docMk/>
            <pc:sldMk cId="2266583018" sldId="637"/>
            <ac:spMk id="43" creationId="{18A985D8-8844-EE64-06BA-37B64FD077A0}"/>
          </ac:spMkLst>
        </pc:spChg>
        <pc:picChg chg="del">
          <ac:chgData name="Bullinger, Marvin" userId="5b54ce5a-dc89-476f-af33-5abd75d5b1e8" providerId="ADAL" clId="{B18DB96A-0F1B-4B04-B169-68D0DF683527}" dt="2024-08-07T08:43:06.616" v="6044" actId="478"/>
          <ac:picMkLst>
            <pc:docMk/>
            <pc:sldMk cId="2266583018" sldId="637"/>
            <ac:picMk id="3" creationId="{4ED7BE3A-FC04-F4FC-17FE-C8627E56039B}"/>
          </ac:picMkLst>
        </pc:picChg>
        <pc:picChg chg="add del mod ord">
          <ac:chgData name="Bullinger, Marvin" userId="5b54ce5a-dc89-476f-af33-5abd75d5b1e8" providerId="ADAL" clId="{B18DB96A-0F1B-4B04-B169-68D0DF683527}" dt="2024-08-07T08:57:17.807" v="6113" actId="478"/>
          <ac:picMkLst>
            <pc:docMk/>
            <pc:sldMk cId="2266583018" sldId="637"/>
            <ac:picMk id="5" creationId="{E1D130CF-B303-3AF6-2A4A-62CD4836BF9F}"/>
          </ac:picMkLst>
        </pc:picChg>
        <pc:picChg chg="add mod ord">
          <ac:chgData name="Bullinger, Marvin" userId="5b54ce5a-dc89-476f-af33-5abd75d5b1e8" providerId="ADAL" clId="{B18DB96A-0F1B-4B04-B169-68D0DF683527}" dt="2024-08-07T09:01:06.232" v="6275" actId="1036"/>
          <ac:picMkLst>
            <pc:docMk/>
            <pc:sldMk cId="2266583018" sldId="637"/>
            <ac:picMk id="17" creationId="{AB0A1AFC-F8E2-9DDF-D3EE-0418A0747E01}"/>
          </ac:picMkLst>
        </pc:picChg>
        <pc:cxnChg chg="del">
          <ac:chgData name="Bullinger, Marvin" userId="5b54ce5a-dc89-476f-af33-5abd75d5b1e8" providerId="ADAL" clId="{B18DB96A-0F1B-4B04-B169-68D0DF683527}" dt="2024-08-07T08:56:29.740" v="6088" actId="478"/>
          <ac:cxnSpMkLst>
            <pc:docMk/>
            <pc:sldMk cId="2266583018" sldId="637"/>
            <ac:cxnSpMk id="7" creationId="{D6DCE243-2CDC-7527-FBC1-F7A48BC3E9E5}"/>
          </ac:cxnSpMkLst>
        </pc:cxnChg>
        <pc:cxnChg chg="mod">
          <ac:chgData name="Bullinger, Marvin" userId="5b54ce5a-dc89-476f-af33-5abd75d5b1e8" providerId="ADAL" clId="{B18DB96A-0F1B-4B04-B169-68D0DF683527}" dt="2024-08-07T09:01:14.203" v="6281" actId="1037"/>
          <ac:cxnSpMkLst>
            <pc:docMk/>
            <pc:sldMk cId="2266583018" sldId="637"/>
            <ac:cxnSpMk id="9" creationId="{42EB1079-D154-B2DA-E3F9-DEB7091B157F}"/>
          </ac:cxnSpMkLst>
        </pc:cxnChg>
        <pc:cxnChg chg="add mod">
          <ac:chgData name="Bullinger, Marvin" userId="5b54ce5a-dc89-476f-af33-5abd75d5b1e8" providerId="ADAL" clId="{B18DB96A-0F1B-4B04-B169-68D0DF683527}" dt="2024-08-07T09:01:14.203" v="6281" actId="1037"/>
          <ac:cxnSpMkLst>
            <pc:docMk/>
            <pc:sldMk cId="2266583018" sldId="637"/>
            <ac:cxnSpMk id="11" creationId="{0E0DD5DA-A79E-1A8C-55CE-EDF92F152F15}"/>
          </ac:cxnSpMkLst>
        </pc:cxnChg>
        <pc:cxnChg chg="add mod">
          <ac:chgData name="Bullinger, Marvin" userId="5b54ce5a-dc89-476f-af33-5abd75d5b1e8" providerId="ADAL" clId="{B18DB96A-0F1B-4B04-B169-68D0DF683527}" dt="2024-08-07T09:01:14.203" v="6281" actId="1037"/>
          <ac:cxnSpMkLst>
            <pc:docMk/>
            <pc:sldMk cId="2266583018" sldId="637"/>
            <ac:cxnSpMk id="14" creationId="{D43FCC44-29FA-394E-7405-573FEF261157}"/>
          </ac:cxnSpMkLst>
        </pc:cxnChg>
        <pc:cxnChg chg="add mod">
          <ac:chgData name="Bullinger, Marvin" userId="5b54ce5a-dc89-476f-af33-5abd75d5b1e8" providerId="ADAL" clId="{B18DB96A-0F1B-4B04-B169-68D0DF683527}" dt="2024-08-07T09:01:14.203" v="6281" actId="1037"/>
          <ac:cxnSpMkLst>
            <pc:docMk/>
            <pc:sldMk cId="2266583018" sldId="637"/>
            <ac:cxnSpMk id="15" creationId="{FD4237EC-8EED-45CA-F891-9FD190A0A63D}"/>
          </ac:cxnSpMkLst>
        </pc:cxnChg>
        <pc:cxnChg chg="add mod">
          <ac:chgData name="Bullinger, Marvin" userId="5b54ce5a-dc89-476f-af33-5abd75d5b1e8" providerId="ADAL" clId="{B18DB96A-0F1B-4B04-B169-68D0DF683527}" dt="2024-08-07T09:01:14.203" v="6281" actId="1037"/>
          <ac:cxnSpMkLst>
            <pc:docMk/>
            <pc:sldMk cId="2266583018" sldId="637"/>
            <ac:cxnSpMk id="19" creationId="{A5D2333D-8984-6B67-085A-F4173EB63D81}"/>
          </ac:cxnSpMkLst>
        </pc:cxnChg>
        <pc:cxnChg chg="add mod">
          <ac:chgData name="Bullinger, Marvin" userId="5b54ce5a-dc89-476f-af33-5abd75d5b1e8" providerId="ADAL" clId="{B18DB96A-0F1B-4B04-B169-68D0DF683527}" dt="2024-08-07T09:20:10.236" v="6776" actId="1038"/>
          <ac:cxnSpMkLst>
            <pc:docMk/>
            <pc:sldMk cId="2266583018" sldId="637"/>
            <ac:cxnSpMk id="24" creationId="{28B19B75-F48F-E80E-A5C0-2990ECD50DE1}"/>
          </ac:cxnSpMkLst>
        </pc:cxnChg>
      </pc:sldChg>
      <pc:sldChg chg="add del">
        <pc:chgData name="Bullinger, Marvin" userId="5b54ce5a-dc89-476f-af33-5abd75d5b1e8" providerId="ADAL" clId="{B18DB96A-0F1B-4B04-B169-68D0DF683527}" dt="2024-08-07T07:57:36.820" v="5999" actId="47"/>
        <pc:sldMkLst>
          <pc:docMk/>
          <pc:sldMk cId="1097028072" sldId="638"/>
        </pc:sldMkLst>
      </pc:sldChg>
      <pc:sldChg chg="addSp delSp modSp new del mod">
        <pc:chgData name="Bullinger, Marvin" userId="5b54ce5a-dc89-476f-af33-5abd75d5b1e8" providerId="ADAL" clId="{B18DB96A-0F1B-4B04-B169-68D0DF683527}" dt="2024-08-07T08:39:55.867" v="6038" actId="47"/>
        <pc:sldMkLst>
          <pc:docMk/>
          <pc:sldMk cId="550296031" sldId="639"/>
        </pc:sldMkLst>
        <pc:spChg chg="del">
          <ac:chgData name="Bullinger, Marvin" userId="5b54ce5a-dc89-476f-af33-5abd75d5b1e8" providerId="ADAL" clId="{B18DB96A-0F1B-4B04-B169-68D0DF683527}" dt="2024-08-07T07:49:55.735" v="5988" actId="478"/>
          <ac:spMkLst>
            <pc:docMk/>
            <pc:sldMk cId="550296031" sldId="639"/>
            <ac:spMk id="4" creationId="{234B0359-FF53-12E7-97BC-A5ECA3422AC6}"/>
          </ac:spMkLst>
        </pc:spChg>
        <pc:spChg chg="del">
          <ac:chgData name="Bullinger, Marvin" userId="5b54ce5a-dc89-476f-af33-5abd75d5b1e8" providerId="ADAL" clId="{B18DB96A-0F1B-4B04-B169-68D0DF683527}" dt="2024-08-07T08:35:56.040" v="6031" actId="478"/>
          <ac:spMkLst>
            <pc:docMk/>
            <pc:sldMk cId="550296031" sldId="639"/>
            <ac:spMk id="5" creationId="{14EBBCEA-0F2B-AAA5-851A-D9531CC2680D}"/>
          </ac:spMkLst>
        </pc:spChg>
        <pc:picChg chg="add mod">
          <ac:chgData name="Bullinger, Marvin" userId="5b54ce5a-dc89-476f-af33-5abd75d5b1e8" providerId="ADAL" clId="{B18DB96A-0F1B-4B04-B169-68D0DF683527}" dt="2024-08-07T07:50:03.165" v="5998" actId="1036"/>
          <ac:picMkLst>
            <pc:docMk/>
            <pc:sldMk cId="550296031" sldId="639"/>
            <ac:picMk id="7" creationId="{85FFFC6B-083E-F391-9E33-21724D741D66}"/>
          </ac:picMkLst>
        </pc:picChg>
      </pc:sldChg>
      <pc:sldChg chg="addSp modSp add del mod modAnim">
        <pc:chgData name="Bullinger, Marvin" userId="5b54ce5a-dc89-476f-af33-5abd75d5b1e8" providerId="ADAL" clId="{B18DB96A-0F1B-4B04-B169-68D0DF683527}" dt="2024-08-08T11:42:30.630" v="8746" actId="47"/>
        <pc:sldMkLst>
          <pc:docMk/>
          <pc:sldMk cId="273479857" sldId="640"/>
        </pc:sldMkLst>
        <pc:picChg chg="add mod">
          <ac:chgData name="Bullinger, Marvin" userId="5b54ce5a-dc89-476f-af33-5abd75d5b1e8" providerId="ADAL" clId="{B18DB96A-0F1B-4B04-B169-68D0DF683527}" dt="2024-08-07T10:13:54.984" v="6834"/>
          <ac:picMkLst>
            <pc:docMk/>
            <pc:sldMk cId="273479857" sldId="640"/>
            <ac:picMk id="4" creationId="{1F3EE237-CDE7-A22C-7077-E90182490D52}"/>
          </ac:picMkLst>
        </pc:picChg>
        <pc:picChg chg="add mod">
          <ac:chgData name="Bullinger, Marvin" userId="5b54ce5a-dc89-476f-af33-5abd75d5b1e8" providerId="ADAL" clId="{B18DB96A-0F1B-4B04-B169-68D0DF683527}" dt="2024-08-07T10:14:05.341" v="6838" actId="1076"/>
          <ac:picMkLst>
            <pc:docMk/>
            <pc:sldMk cId="273479857" sldId="640"/>
            <ac:picMk id="5" creationId="{AD12D166-6689-3B23-DC45-CE7D1E14F4FD}"/>
          </ac:picMkLst>
        </pc:picChg>
        <pc:picChg chg="mod">
          <ac:chgData name="Bullinger, Marvin" userId="5b54ce5a-dc89-476f-af33-5abd75d5b1e8" providerId="ADAL" clId="{B18DB96A-0F1B-4B04-B169-68D0DF683527}" dt="2024-08-07T09:04:04.070" v="6378" actId="12788"/>
          <ac:picMkLst>
            <pc:docMk/>
            <pc:sldMk cId="273479857" sldId="640"/>
            <ac:picMk id="7" creationId="{85FFFC6B-083E-F391-9E33-21724D741D66}"/>
          </ac:picMkLst>
        </pc:picChg>
      </pc:sldChg>
      <pc:sldChg chg="addSp delSp modSp add del mod">
        <pc:chgData name="Bullinger, Marvin" userId="5b54ce5a-dc89-476f-af33-5abd75d5b1e8" providerId="ADAL" clId="{B18DB96A-0F1B-4B04-B169-68D0DF683527}" dt="2024-08-08T09:27:17.067" v="8163" actId="47"/>
        <pc:sldMkLst>
          <pc:docMk/>
          <pc:sldMk cId="2901491397" sldId="641"/>
        </pc:sldMkLst>
        <pc:spChg chg="mod">
          <ac:chgData name="Bullinger, Marvin" userId="5b54ce5a-dc89-476f-af33-5abd75d5b1e8" providerId="ADAL" clId="{B18DB96A-0F1B-4B04-B169-68D0DF683527}" dt="2024-08-07T20:11:20.319" v="7135" actId="20577"/>
          <ac:spMkLst>
            <pc:docMk/>
            <pc:sldMk cId="2901491397" sldId="641"/>
            <ac:spMk id="14" creationId="{1C8B4A94-EF3A-36D5-3A6A-3236027E42A9}"/>
          </ac:spMkLst>
        </pc:spChg>
        <pc:graphicFrameChg chg="add del mod modGraphic">
          <ac:chgData name="Bullinger, Marvin" userId="5b54ce5a-dc89-476f-af33-5abd75d5b1e8" providerId="ADAL" clId="{B18DB96A-0F1B-4B04-B169-68D0DF683527}" dt="2024-08-07T20:21:36.707" v="8095" actId="478"/>
          <ac:graphicFrameMkLst>
            <pc:docMk/>
            <pc:sldMk cId="2901491397" sldId="641"/>
            <ac:graphicFrameMk id="2" creationId="{19350F80-3850-45CE-B6CD-11A7EAB89AED}"/>
          </ac:graphicFrameMkLst>
        </pc:graphicFrameChg>
        <pc:picChg chg="del">
          <ac:chgData name="Bullinger, Marvin" userId="5b54ce5a-dc89-476f-af33-5abd75d5b1e8" providerId="ADAL" clId="{B18DB96A-0F1B-4B04-B169-68D0DF683527}" dt="2024-08-07T19:52:08.103" v="7105" actId="478"/>
          <ac:picMkLst>
            <pc:docMk/>
            <pc:sldMk cId="2901491397" sldId="641"/>
            <ac:picMk id="4" creationId="{54331BFA-B9A1-3CD2-94A5-75D5F4C40863}"/>
          </ac:picMkLst>
        </pc:picChg>
      </pc:sldChg>
      <pc:sldChg chg="modSp add del mod">
        <pc:chgData name="Bullinger, Marvin" userId="5b54ce5a-dc89-476f-af33-5abd75d5b1e8" providerId="ADAL" clId="{B18DB96A-0F1B-4B04-B169-68D0DF683527}" dt="2024-08-08T11:42:34.434" v="8747" actId="47"/>
        <pc:sldMkLst>
          <pc:docMk/>
          <pc:sldMk cId="2101671969" sldId="642"/>
        </pc:sldMkLst>
        <pc:picChg chg="mod">
          <ac:chgData name="Bullinger, Marvin" userId="5b54ce5a-dc89-476f-af33-5abd75d5b1e8" providerId="ADAL" clId="{B18DB96A-0F1B-4B04-B169-68D0DF683527}" dt="2024-08-08T11:41:59.681" v="8742" actId="1035"/>
          <ac:picMkLst>
            <pc:docMk/>
            <pc:sldMk cId="2101671969" sldId="642"/>
            <ac:picMk id="2" creationId="{E7BB2746-1DC0-F9E2-C8EF-5FC0F4380E66}"/>
          </ac:picMkLst>
        </pc:picChg>
        <pc:picChg chg="mod">
          <ac:chgData name="Bullinger, Marvin" userId="5b54ce5a-dc89-476f-af33-5abd75d5b1e8" providerId="ADAL" clId="{B18DB96A-0F1B-4B04-B169-68D0DF683527}" dt="2024-08-08T11:41:59.681" v="8742" actId="1035"/>
          <ac:picMkLst>
            <pc:docMk/>
            <pc:sldMk cId="2101671969" sldId="642"/>
            <ac:picMk id="10" creationId="{9AF020F0-FFEA-AB28-4F52-2A5B8FE521F0}"/>
          </ac:picMkLst>
        </pc:picChg>
        <pc:cxnChg chg="mod">
          <ac:chgData name="Bullinger, Marvin" userId="5b54ce5a-dc89-476f-af33-5abd75d5b1e8" providerId="ADAL" clId="{B18DB96A-0F1B-4B04-B169-68D0DF683527}" dt="2024-08-08T11:41:59.681" v="8742" actId="1035"/>
          <ac:cxnSpMkLst>
            <pc:docMk/>
            <pc:sldMk cId="2101671969" sldId="642"/>
            <ac:cxnSpMk id="15" creationId="{96BADDB8-BC11-EDCF-B39F-46EE13CDF91D}"/>
          </ac:cxnSpMkLst>
        </pc:cxnChg>
      </pc:sldChg>
      <pc:sldChg chg="addSp delSp modSp add mod modTransition modNotesTx">
        <pc:chgData name="Bullinger, Marvin" userId="5b54ce5a-dc89-476f-af33-5abd75d5b1e8" providerId="ADAL" clId="{B18DB96A-0F1B-4B04-B169-68D0DF683527}" dt="2024-08-13T22:00:34.636" v="28247" actId="5793"/>
        <pc:sldMkLst>
          <pc:docMk/>
          <pc:sldMk cId="1262355509" sldId="643"/>
        </pc:sldMkLst>
        <pc:spChg chg="add del mod">
          <ac:chgData name="Bullinger, Marvin" userId="5b54ce5a-dc89-476f-af33-5abd75d5b1e8" providerId="ADAL" clId="{B18DB96A-0F1B-4B04-B169-68D0DF683527}" dt="2024-08-13T15:07:54.622" v="26502" actId="1037"/>
          <ac:spMkLst>
            <pc:docMk/>
            <pc:sldMk cId="1262355509" sldId="643"/>
            <ac:spMk id="2" creationId="{2C4F38F1-1A45-DFAB-35CE-C8D1A2DD7082}"/>
          </ac:spMkLst>
        </pc:spChg>
        <pc:spChg chg="mod">
          <ac:chgData name="Bullinger, Marvin" userId="5b54ce5a-dc89-476f-af33-5abd75d5b1e8" providerId="ADAL" clId="{B18DB96A-0F1B-4B04-B169-68D0DF683527}" dt="2024-08-09T06:01:42.546" v="10549" actId="2711"/>
          <ac:spMkLst>
            <pc:docMk/>
            <pc:sldMk cId="1262355509" sldId="643"/>
            <ac:spMk id="12" creationId="{20E95957-77AD-CD09-C8EE-24130532DD52}"/>
          </ac:spMkLst>
        </pc:spChg>
        <pc:spChg chg="mod">
          <ac:chgData name="Bullinger, Marvin" userId="5b54ce5a-dc89-476f-af33-5abd75d5b1e8" providerId="ADAL" clId="{B18DB96A-0F1B-4B04-B169-68D0DF683527}" dt="2024-08-09T06:01:43.016" v="10550" actId="2711"/>
          <ac:spMkLst>
            <pc:docMk/>
            <pc:sldMk cId="1262355509" sldId="643"/>
            <ac:spMk id="14" creationId="{1C8B4A94-EF3A-36D5-3A6A-3236027E42A9}"/>
          </ac:spMkLst>
        </pc:spChg>
        <pc:graphicFrameChg chg="add mod">
          <ac:chgData name="Bullinger, Marvin" userId="5b54ce5a-dc89-476f-af33-5abd75d5b1e8" providerId="ADAL" clId="{B18DB96A-0F1B-4B04-B169-68D0DF683527}" dt="2024-08-13T15:07:54.622" v="26502" actId="1037"/>
          <ac:graphicFrameMkLst>
            <pc:docMk/>
            <pc:sldMk cId="1262355509" sldId="643"/>
            <ac:graphicFrameMk id="5" creationId="{C5717442-61F2-7D30-BD16-7EE7957D3F78}"/>
          </ac:graphicFrameMkLst>
        </pc:graphicFrameChg>
        <pc:picChg chg="add mod modCrop">
          <ac:chgData name="Bullinger, Marvin" userId="5b54ce5a-dc89-476f-af33-5abd75d5b1e8" providerId="ADAL" clId="{B18DB96A-0F1B-4B04-B169-68D0DF683527}" dt="2024-08-09T06:37:09.693" v="10941" actId="1037"/>
          <ac:picMkLst>
            <pc:docMk/>
            <pc:sldMk cId="1262355509" sldId="643"/>
            <ac:picMk id="3" creationId="{7493C945-D4E3-88F0-710B-5C021B535856}"/>
          </ac:picMkLst>
        </pc:picChg>
        <pc:picChg chg="del">
          <ac:chgData name="Bullinger, Marvin" userId="5b54ce5a-dc89-476f-af33-5abd75d5b1e8" providerId="ADAL" clId="{B18DB96A-0F1B-4B04-B169-68D0DF683527}" dt="2024-08-07T20:11:30.764" v="7137" actId="478"/>
          <ac:picMkLst>
            <pc:docMk/>
            <pc:sldMk cId="1262355509" sldId="643"/>
            <ac:picMk id="4" creationId="{54331BFA-B9A1-3CD2-94A5-75D5F4C40863}"/>
          </ac:picMkLst>
        </pc:picChg>
      </pc:sldChg>
      <pc:sldChg chg="delSp modSp del mod">
        <pc:chgData name="Bullinger, Marvin" userId="5b54ce5a-dc89-476f-af33-5abd75d5b1e8" providerId="ADAL" clId="{B18DB96A-0F1B-4B04-B169-68D0DF683527}" dt="2024-08-07T20:14:36.218" v="7773" actId="2696"/>
        <pc:sldMkLst>
          <pc:docMk/>
          <pc:sldMk cId="1479339587" sldId="644"/>
        </pc:sldMkLst>
        <pc:spChg chg="del">
          <ac:chgData name="Bullinger, Marvin" userId="5b54ce5a-dc89-476f-af33-5abd75d5b1e8" providerId="ADAL" clId="{B18DB96A-0F1B-4B04-B169-68D0DF683527}" dt="2024-08-07T20:14:36.218" v="7771" actId="478"/>
          <ac:spMkLst>
            <pc:docMk/>
            <pc:sldMk cId="1479339587" sldId="644"/>
            <ac:spMk id="42" creationId="{C23F8A92-5740-7256-83F5-B1495DD210AA}"/>
          </ac:spMkLst>
        </pc:spChg>
        <pc:spChg chg="mod">
          <ac:chgData name="Bullinger, Marvin" userId="5b54ce5a-dc89-476f-af33-5abd75d5b1e8" providerId="ADAL" clId="{B18DB96A-0F1B-4B04-B169-68D0DF683527}" dt="2024-08-07T20:14:34.528" v="7157" actId="207"/>
          <ac:spMkLst>
            <pc:docMk/>
            <pc:sldMk cId="1479339587" sldId="644"/>
            <ac:spMk id="44" creationId="{515ED191-C67A-3276-9DA3-B8C39C5BFC6E}"/>
          </ac:spMkLst>
        </pc:spChg>
        <pc:spChg chg="mod modVis">
          <ac:chgData name="Bullinger, Marvin" userId="5b54ce5a-dc89-476f-af33-5abd75d5b1e8" providerId="ADAL" clId="{B18DB96A-0F1B-4B04-B169-68D0DF683527}" dt="2024-08-07T20:14:34.615" v="7158" actId="962"/>
          <ac:spMkLst>
            <pc:docMk/>
            <pc:sldMk cId="1479339587" sldId="644"/>
            <ac:spMk id="46" creationId="{2912C591-5C96-483C-4B05-4A0D2E940CD3}"/>
          </ac:spMkLst>
        </pc:spChg>
        <pc:spChg chg="mod modVis">
          <ac:chgData name="Bullinger, Marvin" userId="5b54ce5a-dc89-476f-af33-5abd75d5b1e8" providerId="ADAL" clId="{B18DB96A-0F1B-4B04-B169-68D0DF683527}" dt="2024-08-07T20:14:34.623" v="7159" actId="962"/>
          <ac:spMkLst>
            <pc:docMk/>
            <pc:sldMk cId="1479339587" sldId="644"/>
            <ac:spMk id="47" creationId="{EC30A643-41A0-A6DD-BE50-8A290804BC23}"/>
          </ac:spMkLst>
        </pc:spChg>
        <pc:spChg chg="mod modVis">
          <ac:chgData name="Bullinger, Marvin" userId="5b54ce5a-dc89-476f-af33-5abd75d5b1e8" providerId="ADAL" clId="{B18DB96A-0F1B-4B04-B169-68D0DF683527}" dt="2024-08-07T20:14:34.639" v="7160" actId="962"/>
          <ac:spMkLst>
            <pc:docMk/>
            <pc:sldMk cId="1479339587" sldId="644"/>
            <ac:spMk id="48" creationId="{5611D3F6-4519-E8DE-1D5A-F30956C63D30}"/>
          </ac:spMkLst>
        </pc:spChg>
        <pc:spChg chg="mod modVis">
          <ac:chgData name="Bullinger, Marvin" userId="5b54ce5a-dc89-476f-af33-5abd75d5b1e8" providerId="ADAL" clId="{B18DB96A-0F1B-4B04-B169-68D0DF683527}" dt="2024-08-07T20:14:34.654" v="7161" actId="962"/>
          <ac:spMkLst>
            <pc:docMk/>
            <pc:sldMk cId="1479339587" sldId="644"/>
            <ac:spMk id="49" creationId="{0D743440-9A58-000B-F4DC-D3D4B0307A7B}"/>
          </ac:spMkLst>
        </pc:spChg>
        <pc:spChg chg="mod modVis">
          <ac:chgData name="Bullinger, Marvin" userId="5b54ce5a-dc89-476f-af33-5abd75d5b1e8" providerId="ADAL" clId="{B18DB96A-0F1B-4B04-B169-68D0DF683527}" dt="2024-08-07T20:14:34.654" v="7162" actId="962"/>
          <ac:spMkLst>
            <pc:docMk/>
            <pc:sldMk cId="1479339587" sldId="644"/>
            <ac:spMk id="50" creationId="{A4C039D3-F99F-1E4B-8E26-88E9F52DE2F7}"/>
          </ac:spMkLst>
        </pc:spChg>
        <pc:spChg chg="mod modVis">
          <ac:chgData name="Bullinger, Marvin" userId="5b54ce5a-dc89-476f-af33-5abd75d5b1e8" providerId="ADAL" clId="{B18DB96A-0F1B-4B04-B169-68D0DF683527}" dt="2024-08-07T20:14:34.671" v="7163" actId="962"/>
          <ac:spMkLst>
            <pc:docMk/>
            <pc:sldMk cId="1479339587" sldId="644"/>
            <ac:spMk id="51" creationId="{22C4C535-5C49-D77B-8DE6-B69418A423E6}"/>
          </ac:spMkLst>
        </pc:spChg>
        <pc:spChg chg="mod modVis">
          <ac:chgData name="Bullinger, Marvin" userId="5b54ce5a-dc89-476f-af33-5abd75d5b1e8" providerId="ADAL" clId="{B18DB96A-0F1B-4B04-B169-68D0DF683527}" dt="2024-08-07T20:14:34.671" v="7164" actId="962"/>
          <ac:spMkLst>
            <pc:docMk/>
            <pc:sldMk cId="1479339587" sldId="644"/>
            <ac:spMk id="52" creationId="{C54E0C3A-42BA-9C94-1DCC-D41D2F78B094}"/>
          </ac:spMkLst>
        </pc:spChg>
        <pc:spChg chg="mod modVis">
          <ac:chgData name="Bullinger, Marvin" userId="5b54ce5a-dc89-476f-af33-5abd75d5b1e8" providerId="ADAL" clId="{B18DB96A-0F1B-4B04-B169-68D0DF683527}" dt="2024-08-07T20:14:34.686" v="7165" actId="962"/>
          <ac:spMkLst>
            <pc:docMk/>
            <pc:sldMk cId="1479339587" sldId="644"/>
            <ac:spMk id="53" creationId="{EFE8D88F-A29F-3AAB-1B9A-06712EEC6F09}"/>
          </ac:spMkLst>
        </pc:spChg>
        <pc:spChg chg="mod modVis">
          <ac:chgData name="Bullinger, Marvin" userId="5b54ce5a-dc89-476f-af33-5abd75d5b1e8" providerId="ADAL" clId="{B18DB96A-0F1B-4B04-B169-68D0DF683527}" dt="2024-08-07T20:14:34.686" v="7166" actId="962"/>
          <ac:spMkLst>
            <pc:docMk/>
            <pc:sldMk cId="1479339587" sldId="644"/>
            <ac:spMk id="54" creationId="{87DE8283-30C7-5E5A-897E-F2CC267C558A}"/>
          </ac:spMkLst>
        </pc:spChg>
        <pc:spChg chg="mod modVis">
          <ac:chgData name="Bullinger, Marvin" userId="5b54ce5a-dc89-476f-af33-5abd75d5b1e8" providerId="ADAL" clId="{B18DB96A-0F1B-4B04-B169-68D0DF683527}" dt="2024-08-07T20:14:34.701" v="7167" actId="962"/>
          <ac:spMkLst>
            <pc:docMk/>
            <pc:sldMk cId="1479339587" sldId="644"/>
            <ac:spMk id="55" creationId="{D602C5E4-D1DE-20F3-AFEF-26B819ED44F9}"/>
          </ac:spMkLst>
        </pc:spChg>
        <pc:spChg chg="mod modVis">
          <ac:chgData name="Bullinger, Marvin" userId="5b54ce5a-dc89-476f-af33-5abd75d5b1e8" providerId="ADAL" clId="{B18DB96A-0F1B-4B04-B169-68D0DF683527}" dt="2024-08-07T20:14:34.718" v="7168" actId="962"/>
          <ac:spMkLst>
            <pc:docMk/>
            <pc:sldMk cId="1479339587" sldId="644"/>
            <ac:spMk id="56" creationId="{F6C095C0-5379-8D90-3E11-2360549DDECD}"/>
          </ac:spMkLst>
        </pc:spChg>
        <pc:spChg chg="mod modVis">
          <ac:chgData name="Bullinger, Marvin" userId="5b54ce5a-dc89-476f-af33-5abd75d5b1e8" providerId="ADAL" clId="{B18DB96A-0F1B-4B04-B169-68D0DF683527}" dt="2024-08-07T20:14:34.718" v="7169" actId="962"/>
          <ac:spMkLst>
            <pc:docMk/>
            <pc:sldMk cId="1479339587" sldId="644"/>
            <ac:spMk id="57" creationId="{0574F11A-37DF-245D-49FA-B1400BD9C4E2}"/>
          </ac:spMkLst>
        </pc:spChg>
        <pc:spChg chg="mod modVis">
          <ac:chgData name="Bullinger, Marvin" userId="5b54ce5a-dc89-476f-af33-5abd75d5b1e8" providerId="ADAL" clId="{B18DB96A-0F1B-4B04-B169-68D0DF683527}" dt="2024-08-07T20:14:34.733" v="7170" actId="962"/>
          <ac:spMkLst>
            <pc:docMk/>
            <pc:sldMk cId="1479339587" sldId="644"/>
            <ac:spMk id="58" creationId="{EB6C12A1-04A0-5E18-BBD5-3375E4569435}"/>
          </ac:spMkLst>
        </pc:spChg>
        <pc:spChg chg="mod modVis">
          <ac:chgData name="Bullinger, Marvin" userId="5b54ce5a-dc89-476f-af33-5abd75d5b1e8" providerId="ADAL" clId="{B18DB96A-0F1B-4B04-B169-68D0DF683527}" dt="2024-08-07T20:14:34.733" v="7171" actId="962"/>
          <ac:spMkLst>
            <pc:docMk/>
            <pc:sldMk cId="1479339587" sldId="644"/>
            <ac:spMk id="59" creationId="{74517371-95AC-F830-F27A-7B5BF0CFDB1A}"/>
          </ac:spMkLst>
        </pc:spChg>
        <pc:spChg chg="mod modVis">
          <ac:chgData name="Bullinger, Marvin" userId="5b54ce5a-dc89-476f-af33-5abd75d5b1e8" providerId="ADAL" clId="{B18DB96A-0F1B-4B04-B169-68D0DF683527}" dt="2024-08-07T20:14:34.749" v="7172" actId="962"/>
          <ac:spMkLst>
            <pc:docMk/>
            <pc:sldMk cId="1479339587" sldId="644"/>
            <ac:spMk id="60" creationId="{01F8CAC2-3094-04EB-6F96-6525CC3FD297}"/>
          </ac:spMkLst>
        </pc:spChg>
        <pc:spChg chg="mod modVis">
          <ac:chgData name="Bullinger, Marvin" userId="5b54ce5a-dc89-476f-af33-5abd75d5b1e8" providerId="ADAL" clId="{B18DB96A-0F1B-4B04-B169-68D0DF683527}" dt="2024-08-07T20:14:34.749" v="7173" actId="962"/>
          <ac:spMkLst>
            <pc:docMk/>
            <pc:sldMk cId="1479339587" sldId="644"/>
            <ac:spMk id="61" creationId="{D1357102-8FD6-7601-A73C-5F4A9BB8115B}"/>
          </ac:spMkLst>
        </pc:spChg>
        <pc:spChg chg="mod modVis">
          <ac:chgData name="Bullinger, Marvin" userId="5b54ce5a-dc89-476f-af33-5abd75d5b1e8" providerId="ADAL" clId="{B18DB96A-0F1B-4B04-B169-68D0DF683527}" dt="2024-08-07T20:14:34.749" v="7174" actId="962"/>
          <ac:spMkLst>
            <pc:docMk/>
            <pc:sldMk cId="1479339587" sldId="644"/>
            <ac:spMk id="62" creationId="{DECD5B25-321E-D355-669C-0A260E7534CF}"/>
          </ac:spMkLst>
        </pc:spChg>
        <pc:spChg chg="mod modVis">
          <ac:chgData name="Bullinger, Marvin" userId="5b54ce5a-dc89-476f-af33-5abd75d5b1e8" providerId="ADAL" clId="{B18DB96A-0F1B-4B04-B169-68D0DF683527}" dt="2024-08-07T20:14:34.765" v="7175" actId="962"/>
          <ac:spMkLst>
            <pc:docMk/>
            <pc:sldMk cId="1479339587" sldId="644"/>
            <ac:spMk id="63" creationId="{E8FC3C47-2AAC-39F9-6E34-8E5591069C26}"/>
          </ac:spMkLst>
        </pc:spChg>
        <pc:spChg chg="mod modVis">
          <ac:chgData name="Bullinger, Marvin" userId="5b54ce5a-dc89-476f-af33-5abd75d5b1e8" providerId="ADAL" clId="{B18DB96A-0F1B-4B04-B169-68D0DF683527}" dt="2024-08-07T20:14:34.765" v="7176" actId="962"/>
          <ac:spMkLst>
            <pc:docMk/>
            <pc:sldMk cId="1479339587" sldId="644"/>
            <ac:spMk id="64" creationId="{ABDC32E5-8980-8C4E-932A-889AB8CD6CF2}"/>
          </ac:spMkLst>
        </pc:spChg>
        <pc:spChg chg="mod modVis">
          <ac:chgData name="Bullinger, Marvin" userId="5b54ce5a-dc89-476f-af33-5abd75d5b1e8" providerId="ADAL" clId="{B18DB96A-0F1B-4B04-B169-68D0DF683527}" dt="2024-08-07T20:14:34.782" v="7177" actId="962"/>
          <ac:spMkLst>
            <pc:docMk/>
            <pc:sldMk cId="1479339587" sldId="644"/>
            <ac:spMk id="65" creationId="{D2CB52C0-515C-411B-986F-E62EC8534445}"/>
          </ac:spMkLst>
        </pc:spChg>
        <pc:spChg chg="mod modVis">
          <ac:chgData name="Bullinger, Marvin" userId="5b54ce5a-dc89-476f-af33-5abd75d5b1e8" providerId="ADAL" clId="{B18DB96A-0F1B-4B04-B169-68D0DF683527}" dt="2024-08-07T20:14:34.782" v="7178" actId="962"/>
          <ac:spMkLst>
            <pc:docMk/>
            <pc:sldMk cId="1479339587" sldId="644"/>
            <ac:spMk id="66" creationId="{B848EB52-55CA-3A2C-23A9-8BC64835E0DD}"/>
          </ac:spMkLst>
        </pc:spChg>
        <pc:spChg chg="mod modVis">
          <ac:chgData name="Bullinger, Marvin" userId="5b54ce5a-dc89-476f-af33-5abd75d5b1e8" providerId="ADAL" clId="{B18DB96A-0F1B-4B04-B169-68D0DF683527}" dt="2024-08-07T20:14:34.797" v="7179" actId="962"/>
          <ac:spMkLst>
            <pc:docMk/>
            <pc:sldMk cId="1479339587" sldId="644"/>
            <ac:spMk id="67" creationId="{F3BFDA9E-94A7-F31A-24F6-5A811E1641AD}"/>
          </ac:spMkLst>
        </pc:spChg>
        <pc:spChg chg="mod modVis">
          <ac:chgData name="Bullinger, Marvin" userId="5b54ce5a-dc89-476f-af33-5abd75d5b1e8" providerId="ADAL" clId="{B18DB96A-0F1B-4B04-B169-68D0DF683527}" dt="2024-08-07T20:14:34.797" v="7180" actId="962"/>
          <ac:spMkLst>
            <pc:docMk/>
            <pc:sldMk cId="1479339587" sldId="644"/>
            <ac:spMk id="68" creationId="{D89C3F20-B100-C426-92CA-F4155AE1E8C5}"/>
          </ac:spMkLst>
        </pc:spChg>
        <pc:spChg chg="mod modVis">
          <ac:chgData name="Bullinger, Marvin" userId="5b54ce5a-dc89-476f-af33-5abd75d5b1e8" providerId="ADAL" clId="{B18DB96A-0F1B-4B04-B169-68D0DF683527}" dt="2024-08-07T20:14:34.815" v="7181" actId="962"/>
          <ac:spMkLst>
            <pc:docMk/>
            <pc:sldMk cId="1479339587" sldId="644"/>
            <ac:spMk id="69" creationId="{AD2CC340-3EBD-6FA5-9BD6-6A53C422A264}"/>
          </ac:spMkLst>
        </pc:spChg>
        <pc:spChg chg="mod modVis">
          <ac:chgData name="Bullinger, Marvin" userId="5b54ce5a-dc89-476f-af33-5abd75d5b1e8" providerId="ADAL" clId="{B18DB96A-0F1B-4B04-B169-68D0DF683527}" dt="2024-08-07T20:14:34.815" v="7182" actId="962"/>
          <ac:spMkLst>
            <pc:docMk/>
            <pc:sldMk cId="1479339587" sldId="644"/>
            <ac:spMk id="70" creationId="{53014CAE-5E04-213B-6D4B-A0DDFDBCD5B2}"/>
          </ac:spMkLst>
        </pc:spChg>
        <pc:spChg chg="mod modVis">
          <ac:chgData name="Bullinger, Marvin" userId="5b54ce5a-dc89-476f-af33-5abd75d5b1e8" providerId="ADAL" clId="{B18DB96A-0F1B-4B04-B169-68D0DF683527}" dt="2024-08-07T20:14:34.828" v="7183" actId="962"/>
          <ac:spMkLst>
            <pc:docMk/>
            <pc:sldMk cId="1479339587" sldId="644"/>
            <ac:spMk id="71" creationId="{B0CC9490-652B-1BD4-4C10-8736BC91D2EB}"/>
          </ac:spMkLst>
        </pc:spChg>
        <pc:spChg chg="mod modVis">
          <ac:chgData name="Bullinger, Marvin" userId="5b54ce5a-dc89-476f-af33-5abd75d5b1e8" providerId="ADAL" clId="{B18DB96A-0F1B-4B04-B169-68D0DF683527}" dt="2024-08-07T20:14:34.828" v="7184" actId="962"/>
          <ac:spMkLst>
            <pc:docMk/>
            <pc:sldMk cId="1479339587" sldId="644"/>
            <ac:spMk id="72" creationId="{B63E5C8D-8997-CDB6-8D6A-E5F8CFF7178B}"/>
          </ac:spMkLst>
        </pc:spChg>
        <pc:spChg chg="mod modVis">
          <ac:chgData name="Bullinger, Marvin" userId="5b54ce5a-dc89-476f-af33-5abd75d5b1e8" providerId="ADAL" clId="{B18DB96A-0F1B-4B04-B169-68D0DF683527}" dt="2024-08-07T20:14:34.848" v="7185" actId="962"/>
          <ac:spMkLst>
            <pc:docMk/>
            <pc:sldMk cId="1479339587" sldId="644"/>
            <ac:spMk id="73" creationId="{EAA9ED08-CAEF-C835-FAFF-981CF141CF82}"/>
          </ac:spMkLst>
        </pc:spChg>
        <pc:spChg chg="mod modVis">
          <ac:chgData name="Bullinger, Marvin" userId="5b54ce5a-dc89-476f-af33-5abd75d5b1e8" providerId="ADAL" clId="{B18DB96A-0F1B-4B04-B169-68D0DF683527}" dt="2024-08-07T20:14:34.856" v="7186" actId="962"/>
          <ac:spMkLst>
            <pc:docMk/>
            <pc:sldMk cId="1479339587" sldId="644"/>
            <ac:spMk id="74" creationId="{C4D827FB-3127-89E9-94A5-C6CBE4AE0CCC}"/>
          </ac:spMkLst>
        </pc:spChg>
        <pc:spChg chg="mod modVis">
          <ac:chgData name="Bullinger, Marvin" userId="5b54ce5a-dc89-476f-af33-5abd75d5b1e8" providerId="ADAL" clId="{B18DB96A-0F1B-4B04-B169-68D0DF683527}" dt="2024-08-07T20:14:34.864" v="7187" actId="962"/>
          <ac:spMkLst>
            <pc:docMk/>
            <pc:sldMk cId="1479339587" sldId="644"/>
            <ac:spMk id="75" creationId="{D3795D26-4022-9341-2400-1058BA1D9595}"/>
          </ac:spMkLst>
        </pc:spChg>
        <pc:spChg chg="mod modVis">
          <ac:chgData name="Bullinger, Marvin" userId="5b54ce5a-dc89-476f-af33-5abd75d5b1e8" providerId="ADAL" clId="{B18DB96A-0F1B-4B04-B169-68D0DF683527}" dt="2024-08-07T20:14:34.869" v="7188" actId="962"/>
          <ac:spMkLst>
            <pc:docMk/>
            <pc:sldMk cId="1479339587" sldId="644"/>
            <ac:spMk id="76" creationId="{997DD292-C4DB-2216-A77B-C7031FAB9EAF}"/>
          </ac:spMkLst>
        </pc:spChg>
        <pc:spChg chg="mod modVis">
          <ac:chgData name="Bullinger, Marvin" userId="5b54ce5a-dc89-476f-af33-5abd75d5b1e8" providerId="ADAL" clId="{B18DB96A-0F1B-4B04-B169-68D0DF683527}" dt="2024-08-07T20:14:34.869" v="7189" actId="962"/>
          <ac:spMkLst>
            <pc:docMk/>
            <pc:sldMk cId="1479339587" sldId="644"/>
            <ac:spMk id="77" creationId="{DE5C191B-094B-DE2F-6FDD-297101377A29}"/>
          </ac:spMkLst>
        </pc:spChg>
        <pc:spChg chg="mod modVis">
          <ac:chgData name="Bullinger, Marvin" userId="5b54ce5a-dc89-476f-af33-5abd75d5b1e8" providerId="ADAL" clId="{B18DB96A-0F1B-4B04-B169-68D0DF683527}" dt="2024-08-07T20:14:34.884" v="7190" actId="962"/>
          <ac:spMkLst>
            <pc:docMk/>
            <pc:sldMk cId="1479339587" sldId="644"/>
            <ac:spMk id="78" creationId="{89FD923F-E451-D2C0-75FF-F242BF3F5526}"/>
          </ac:spMkLst>
        </pc:spChg>
        <pc:spChg chg="mod modVis">
          <ac:chgData name="Bullinger, Marvin" userId="5b54ce5a-dc89-476f-af33-5abd75d5b1e8" providerId="ADAL" clId="{B18DB96A-0F1B-4B04-B169-68D0DF683527}" dt="2024-08-07T20:14:34.884" v="7191" actId="962"/>
          <ac:spMkLst>
            <pc:docMk/>
            <pc:sldMk cId="1479339587" sldId="644"/>
            <ac:spMk id="79" creationId="{9CC7B840-1EA8-3ADA-127E-7BB642EBBD56}"/>
          </ac:spMkLst>
        </pc:spChg>
        <pc:spChg chg="mod modVis">
          <ac:chgData name="Bullinger, Marvin" userId="5b54ce5a-dc89-476f-af33-5abd75d5b1e8" providerId="ADAL" clId="{B18DB96A-0F1B-4B04-B169-68D0DF683527}" dt="2024-08-07T20:14:34.900" v="7192" actId="962"/>
          <ac:spMkLst>
            <pc:docMk/>
            <pc:sldMk cId="1479339587" sldId="644"/>
            <ac:spMk id="80" creationId="{0BA367EF-2586-BAF0-8C2A-5E34B0000BAD}"/>
          </ac:spMkLst>
        </pc:spChg>
        <pc:spChg chg="mod modVis">
          <ac:chgData name="Bullinger, Marvin" userId="5b54ce5a-dc89-476f-af33-5abd75d5b1e8" providerId="ADAL" clId="{B18DB96A-0F1B-4B04-B169-68D0DF683527}" dt="2024-08-07T20:14:34.916" v="7193" actId="962"/>
          <ac:spMkLst>
            <pc:docMk/>
            <pc:sldMk cId="1479339587" sldId="644"/>
            <ac:spMk id="81" creationId="{1E846DB9-B60D-9375-ACE0-2C3A831C9162}"/>
          </ac:spMkLst>
        </pc:spChg>
        <pc:spChg chg="mod modVis">
          <ac:chgData name="Bullinger, Marvin" userId="5b54ce5a-dc89-476f-af33-5abd75d5b1e8" providerId="ADAL" clId="{B18DB96A-0F1B-4B04-B169-68D0DF683527}" dt="2024-08-07T20:14:34.916" v="7194" actId="962"/>
          <ac:spMkLst>
            <pc:docMk/>
            <pc:sldMk cId="1479339587" sldId="644"/>
            <ac:spMk id="82" creationId="{6FEDCFC1-B1D5-98A4-D08D-5AADA10F60B1}"/>
          </ac:spMkLst>
        </pc:spChg>
        <pc:spChg chg="mod modVis">
          <ac:chgData name="Bullinger, Marvin" userId="5b54ce5a-dc89-476f-af33-5abd75d5b1e8" providerId="ADAL" clId="{B18DB96A-0F1B-4B04-B169-68D0DF683527}" dt="2024-08-07T20:14:34.931" v="7195" actId="962"/>
          <ac:spMkLst>
            <pc:docMk/>
            <pc:sldMk cId="1479339587" sldId="644"/>
            <ac:spMk id="83" creationId="{788745B1-E65C-8D1C-6E28-6D465301CE40}"/>
          </ac:spMkLst>
        </pc:spChg>
        <pc:spChg chg="mod modVis">
          <ac:chgData name="Bullinger, Marvin" userId="5b54ce5a-dc89-476f-af33-5abd75d5b1e8" providerId="ADAL" clId="{B18DB96A-0F1B-4B04-B169-68D0DF683527}" dt="2024-08-07T20:14:34.931" v="7196" actId="962"/>
          <ac:spMkLst>
            <pc:docMk/>
            <pc:sldMk cId="1479339587" sldId="644"/>
            <ac:spMk id="84" creationId="{2D260D1A-B61C-9902-3FE2-0F0D627AF389}"/>
          </ac:spMkLst>
        </pc:spChg>
        <pc:spChg chg="mod modVis">
          <ac:chgData name="Bullinger, Marvin" userId="5b54ce5a-dc89-476f-af33-5abd75d5b1e8" providerId="ADAL" clId="{B18DB96A-0F1B-4B04-B169-68D0DF683527}" dt="2024-08-07T20:14:34.931" v="7197" actId="962"/>
          <ac:spMkLst>
            <pc:docMk/>
            <pc:sldMk cId="1479339587" sldId="644"/>
            <ac:spMk id="85" creationId="{16EF7A6F-7642-1EA1-5E9F-7D1F61566704}"/>
          </ac:spMkLst>
        </pc:spChg>
        <pc:cxnChg chg="del">
          <ac:chgData name="Bullinger, Marvin" userId="5b54ce5a-dc89-476f-af33-5abd75d5b1e8" providerId="ADAL" clId="{B18DB96A-0F1B-4B04-B169-68D0DF683527}" dt="2024-08-07T20:14:36.218" v="7772" actId="478"/>
          <ac:cxnSpMkLst>
            <pc:docMk/>
            <pc:sldMk cId="1479339587" sldId="644"/>
            <ac:cxnSpMk id="43" creationId="{5B83A343-1E06-6165-FD28-92723D2B8B45}"/>
          </ac:cxnSpMkLst>
        </pc:cxnChg>
      </pc:sldChg>
      <pc:sldChg chg="del">
        <pc:chgData name="Bullinger, Marvin" userId="5b54ce5a-dc89-476f-af33-5abd75d5b1e8" providerId="ADAL" clId="{B18DB96A-0F1B-4B04-B169-68D0DF683527}" dt="2024-08-07T20:14:36.218" v="7770" actId="2696"/>
        <pc:sldMkLst>
          <pc:docMk/>
          <pc:sldMk cId="435972662" sldId="645"/>
        </pc:sldMkLst>
      </pc:sldChg>
      <pc:sldChg chg="del">
        <pc:chgData name="Bullinger, Marvin" userId="5b54ce5a-dc89-476f-af33-5abd75d5b1e8" providerId="ADAL" clId="{B18DB96A-0F1B-4B04-B169-68D0DF683527}" dt="2024-08-07T20:14:36.214" v="7769" actId="2696"/>
        <pc:sldMkLst>
          <pc:docMk/>
          <pc:sldMk cId="3658015742" sldId="646"/>
        </pc:sldMkLst>
      </pc:sldChg>
      <pc:sldChg chg="delSp modSp add del mod replTag">
        <pc:chgData name="Bullinger, Marvin" userId="5b54ce5a-dc89-476f-af33-5abd75d5b1e8" providerId="ADAL" clId="{B18DB96A-0F1B-4B04-B169-68D0DF683527}" dt="2024-08-09T06:00:46.303" v="10542" actId="47"/>
        <pc:sldMkLst>
          <pc:docMk/>
          <pc:sldMk cId="2243780600" sldId="647"/>
        </pc:sldMkLst>
        <pc:spChg chg="del">
          <ac:chgData name="Bullinger, Marvin" userId="5b54ce5a-dc89-476f-af33-5abd75d5b1e8" providerId="ADAL" clId="{B18DB96A-0F1B-4B04-B169-68D0DF683527}" dt="2024-08-07T20:14:36.198" v="7766" actId="478"/>
          <ac:spMkLst>
            <pc:docMk/>
            <pc:sldMk cId="2243780600" sldId="647"/>
            <ac:spMk id="2" creationId="{69EAD996-E296-6B72-1C14-7F71849CB95C}"/>
          </ac:spMkLst>
        </pc:spChg>
        <pc:spChg chg="del">
          <ac:chgData name="Bullinger, Marvin" userId="5b54ce5a-dc89-476f-af33-5abd75d5b1e8" providerId="ADAL" clId="{B18DB96A-0F1B-4B04-B169-68D0DF683527}" dt="2024-08-07T20:14:36.198" v="7765" actId="478"/>
          <ac:spMkLst>
            <pc:docMk/>
            <pc:sldMk cId="2243780600" sldId="647"/>
            <ac:spMk id="3" creationId="{AE3E64AB-F548-B01F-CEFA-068F9437AA41}"/>
          </ac:spMkLst>
        </pc:spChg>
        <pc:spChg chg="del">
          <ac:chgData name="Bullinger, Marvin" userId="5b54ce5a-dc89-476f-af33-5abd75d5b1e8" providerId="ADAL" clId="{B18DB96A-0F1B-4B04-B169-68D0DF683527}" dt="2024-08-07T20:14:36.198" v="7764" actId="478"/>
          <ac:spMkLst>
            <pc:docMk/>
            <pc:sldMk cId="2243780600" sldId="647"/>
            <ac:spMk id="4" creationId="{627E8DC3-543A-200A-83EB-12A3F0B0D223}"/>
          </ac:spMkLst>
        </pc:spChg>
        <pc:spChg chg="del">
          <ac:chgData name="Bullinger, Marvin" userId="5b54ce5a-dc89-476f-af33-5abd75d5b1e8" providerId="ADAL" clId="{B18DB96A-0F1B-4B04-B169-68D0DF683527}" dt="2024-08-07T20:14:36.198" v="7763" actId="478"/>
          <ac:spMkLst>
            <pc:docMk/>
            <pc:sldMk cId="2243780600" sldId="647"/>
            <ac:spMk id="5" creationId="{8F201D58-BB5F-11EE-B0A2-B67BEF021468}"/>
          </ac:spMkLst>
        </pc:spChg>
        <pc:spChg chg="del">
          <ac:chgData name="Bullinger, Marvin" userId="5b54ce5a-dc89-476f-af33-5abd75d5b1e8" providerId="ADAL" clId="{B18DB96A-0F1B-4B04-B169-68D0DF683527}" dt="2024-08-07T20:14:36.198" v="7762" actId="478"/>
          <ac:spMkLst>
            <pc:docMk/>
            <pc:sldMk cId="2243780600" sldId="647"/>
            <ac:spMk id="6" creationId="{2CBE4E41-C798-D26B-5F5C-8EA253BD213C}"/>
          </ac:spMkLst>
        </pc:spChg>
        <pc:spChg chg="del">
          <ac:chgData name="Bullinger, Marvin" userId="5b54ce5a-dc89-476f-af33-5abd75d5b1e8" providerId="ADAL" clId="{B18DB96A-0F1B-4B04-B169-68D0DF683527}" dt="2024-08-07T20:14:36.182" v="7761" actId="478"/>
          <ac:spMkLst>
            <pc:docMk/>
            <pc:sldMk cId="2243780600" sldId="647"/>
            <ac:spMk id="7" creationId="{CE5CC5B6-00B8-0DA0-4856-2DF18FBB4216}"/>
          </ac:spMkLst>
        </pc:spChg>
        <pc:spChg chg="del">
          <ac:chgData name="Bullinger, Marvin" userId="5b54ce5a-dc89-476f-af33-5abd75d5b1e8" providerId="ADAL" clId="{B18DB96A-0F1B-4B04-B169-68D0DF683527}" dt="2024-08-07T20:14:36.182" v="7760" actId="478"/>
          <ac:spMkLst>
            <pc:docMk/>
            <pc:sldMk cId="2243780600" sldId="647"/>
            <ac:spMk id="8" creationId="{56B43020-ECD2-0FBE-C2D7-ACED45637836}"/>
          </ac:spMkLst>
        </pc:spChg>
        <pc:spChg chg="del">
          <ac:chgData name="Bullinger, Marvin" userId="5b54ce5a-dc89-476f-af33-5abd75d5b1e8" providerId="ADAL" clId="{B18DB96A-0F1B-4B04-B169-68D0DF683527}" dt="2024-08-07T20:14:36.182" v="7759" actId="478"/>
          <ac:spMkLst>
            <pc:docMk/>
            <pc:sldMk cId="2243780600" sldId="647"/>
            <ac:spMk id="9" creationId="{6FC3ADC8-6F05-305D-F17C-AC2C3E55F084}"/>
          </ac:spMkLst>
        </pc:spChg>
        <pc:spChg chg="del">
          <ac:chgData name="Bullinger, Marvin" userId="5b54ce5a-dc89-476f-af33-5abd75d5b1e8" providerId="ADAL" clId="{B18DB96A-0F1B-4B04-B169-68D0DF683527}" dt="2024-08-07T20:14:36.182" v="7758" actId="478"/>
          <ac:spMkLst>
            <pc:docMk/>
            <pc:sldMk cId="2243780600" sldId="647"/>
            <ac:spMk id="10" creationId="{9D03BD64-D74E-9E4C-C6AB-43FD555EC1DC}"/>
          </ac:spMkLst>
        </pc:spChg>
        <pc:spChg chg="del">
          <ac:chgData name="Bullinger, Marvin" userId="5b54ce5a-dc89-476f-af33-5abd75d5b1e8" providerId="ADAL" clId="{B18DB96A-0F1B-4B04-B169-68D0DF683527}" dt="2024-08-07T20:14:36.182" v="7757" actId="478"/>
          <ac:spMkLst>
            <pc:docMk/>
            <pc:sldMk cId="2243780600" sldId="647"/>
            <ac:spMk id="11" creationId="{9C1D2FF5-1800-B3A4-06C6-DCB33A0C29F7}"/>
          </ac:spMkLst>
        </pc:spChg>
        <pc:spChg chg="del">
          <ac:chgData name="Bullinger, Marvin" userId="5b54ce5a-dc89-476f-af33-5abd75d5b1e8" providerId="ADAL" clId="{B18DB96A-0F1B-4B04-B169-68D0DF683527}" dt="2024-08-07T20:14:36.182" v="7756" actId="478"/>
          <ac:spMkLst>
            <pc:docMk/>
            <pc:sldMk cId="2243780600" sldId="647"/>
            <ac:spMk id="12" creationId="{7FE025B9-4618-77C5-E5B9-990A02EF46A1}"/>
          </ac:spMkLst>
        </pc:spChg>
        <pc:spChg chg="del">
          <ac:chgData name="Bullinger, Marvin" userId="5b54ce5a-dc89-476f-af33-5abd75d5b1e8" providerId="ADAL" clId="{B18DB96A-0F1B-4B04-B169-68D0DF683527}" dt="2024-08-07T20:14:36.182" v="7755" actId="478"/>
          <ac:spMkLst>
            <pc:docMk/>
            <pc:sldMk cId="2243780600" sldId="647"/>
            <ac:spMk id="13" creationId="{CCBAB7AB-F673-710D-93BB-B481EB89FD1C}"/>
          </ac:spMkLst>
        </pc:spChg>
        <pc:spChg chg="del">
          <ac:chgData name="Bullinger, Marvin" userId="5b54ce5a-dc89-476f-af33-5abd75d5b1e8" providerId="ADAL" clId="{B18DB96A-0F1B-4B04-B169-68D0DF683527}" dt="2024-08-07T20:14:36.182" v="7754" actId="478"/>
          <ac:spMkLst>
            <pc:docMk/>
            <pc:sldMk cId="2243780600" sldId="647"/>
            <ac:spMk id="14" creationId="{1F40CCB9-75EC-63D5-31AE-CB1D92D923E3}"/>
          </ac:spMkLst>
        </pc:spChg>
        <pc:spChg chg="del">
          <ac:chgData name="Bullinger, Marvin" userId="5b54ce5a-dc89-476f-af33-5abd75d5b1e8" providerId="ADAL" clId="{B18DB96A-0F1B-4B04-B169-68D0DF683527}" dt="2024-08-07T20:14:36.182" v="7753" actId="478"/>
          <ac:spMkLst>
            <pc:docMk/>
            <pc:sldMk cId="2243780600" sldId="647"/>
            <ac:spMk id="15" creationId="{DB1FC2EC-1C78-C979-62CA-B9635A202D76}"/>
          </ac:spMkLst>
        </pc:spChg>
        <pc:spChg chg="del">
          <ac:chgData name="Bullinger, Marvin" userId="5b54ce5a-dc89-476f-af33-5abd75d5b1e8" providerId="ADAL" clId="{B18DB96A-0F1B-4B04-B169-68D0DF683527}" dt="2024-08-07T20:14:36.182" v="7752" actId="478"/>
          <ac:spMkLst>
            <pc:docMk/>
            <pc:sldMk cId="2243780600" sldId="647"/>
            <ac:spMk id="16" creationId="{4DBFB917-C663-5E77-9AC5-FD52A7EB46BF}"/>
          </ac:spMkLst>
        </pc:spChg>
        <pc:spChg chg="mod replST">
          <ac:chgData name="Bullinger, Marvin" userId="5b54ce5a-dc89-476f-af33-5abd75d5b1e8" providerId="ADAL" clId="{B18DB96A-0F1B-4B04-B169-68D0DF683527}" dt="2024-08-07T20:14:36.198" v="7768" actId="20577"/>
          <ac:spMkLst>
            <pc:docMk/>
            <pc:sldMk cId="2243780600" sldId="647"/>
            <ac:spMk id="17" creationId="{0AA7480E-ECC5-4F5F-CB22-EC4B3149FD4D}"/>
          </ac:spMkLst>
        </pc:spChg>
        <pc:spChg chg="del">
          <ac:chgData name="Bullinger, Marvin" userId="5b54ce5a-dc89-476f-af33-5abd75d5b1e8" providerId="ADAL" clId="{B18DB96A-0F1B-4B04-B169-68D0DF683527}" dt="2024-08-07T20:14:36.182" v="7751" actId="478"/>
          <ac:spMkLst>
            <pc:docMk/>
            <pc:sldMk cId="2243780600" sldId="647"/>
            <ac:spMk id="18" creationId="{04D8C3B9-EE84-31B2-56A9-A7C7D32C92DA}"/>
          </ac:spMkLst>
        </pc:spChg>
        <pc:spChg chg="del">
          <ac:chgData name="Bullinger, Marvin" userId="5b54ce5a-dc89-476f-af33-5abd75d5b1e8" providerId="ADAL" clId="{B18DB96A-0F1B-4B04-B169-68D0DF683527}" dt="2024-08-07T20:14:36.182" v="7750" actId="478"/>
          <ac:spMkLst>
            <pc:docMk/>
            <pc:sldMk cId="2243780600" sldId="647"/>
            <ac:spMk id="19" creationId="{06BE4390-9B20-681A-8045-A892B1A0AB20}"/>
          </ac:spMkLst>
        </pc:spChg>
        <pc:spChg chg="del">
          <ac:chgData name="Bullinger, Marvin" userId="5b54ce5a-dc89-476f-af33-5abd75d5b1e8" providerId="ADAL" clId="{B18DB96A-0F1B-4B04-B169-68D0DF683527}" dt="2024-08-07T20:14:36.182" v="7749" actId="478"/>
          <ac:spMkLst>
            <pc:docMk/>
            <pc:sldMk cId="2243780600" sldId="647"/>
            <ac:spMk id="20" creationId="{F60EFA36-B90D-C99D-1EE6-06607EACEEA8}"/>
          </ac:spMkLst>
        </pc:spChg>
        <pc:spChg chg="del">
          <ac:chgData name="Bullinger, Marvin" userId="5b54ce5a-dc89-476f-af33-5abd75d5b1e8" providerId="ADAL" clId="{B18DB96A-0F1B-4B04-B169-68D0DF683527}" dt="2024-08-07T20:14:36.182" v="7748" actId="478"/>
          <ac:spMkLst>
            <pc:docMk/>
            <pc:sldMk cId="2243780600" sldId="647"/>
            <ac:spMk id="21" creationId="{5DBC80CE-A774-8D37-65EC-E60B87C2EB1C}"/>
          </ac:spMkLst>
        </pc:spChg>
        <pc:spChg chg="del">
          <ac:chgData name="Bullinger, Marvin" userId="5b54ce5a-dc89-476f-af33-5abd75d5b1e8" providerId="ADAL" clId="{B18DB96A-0F1B-4B04-B169-68D0DF683527}" dt="2024-08-07T20:14:36.182" v="7747" actId="478"/>
          <ac:spMkLst>
            <pc:docMk/>
            <pc:sldMk cId="2243780600" sldId="647"/>
            <ac:spMk id="22" creationId="{964FE245-3277-9DED-D9F7-219DA2161F05}"/>
          </ac:spMkLst>
        </pc:spChg>
        <pc:spChg chg="del">
          <ac:chgData name="Bullinger, Marvin" userId="5b54ce5a-dc89-476f-af33-5abd75d5b1e8" providerId="ADAL" clId="{B18DB96A-0F1B-4B04-B169-68D0DF683527}" dt="2024-08-07T20:14:36.182" v="7746" actId="478"/>
          <ac:spMkLst>
            <pc:docMk/>
            <pc:sldMk cId="2243780600" sldId="647"/>
            <ac:spMk id="23" creationId="{2458FAF6-26BB-6578-3E6E-7A937129B93D}"/>
          </ac:spMkLst>
        </pc:spChg>
        <pc:spChg chg="del">
          <ac:chgData name="Bullinger, Marvin" userId="5b54ce5a-dc89-476f-af33-5abd75d5b1e8" providerId="ADAL" clId="{B18DB96A-0F1B-4B04-B169-68D0DF683527}" dt="2024-08-07T20:14:36.182" v="7745" actId="478"/>
          <ac:spMkLst>
            <pc:docMk/>
            <pc:sldMk cId="2243780600" sldId="647"/>
            <ac:spMk id="24" creationId="{D07FB952-AC4B-0F9A-C44C-D64431B71196}"/>
          </ac:spMkLst>
        </pc:spChg>
        <pc:spChg chg="del">
          <ac:chgData name="Bullinger, Marvin" userId="5b54ce5a-dc89-476f-af33-5abd75d5b1e8" providerId="ADAL" clId="{B18DB96A-0F1B-4B04-B169-68D0DF683527}" dt="2024-08-07T20:14:36.182" v="7744" actId="478"/>
          <ac:spMkLst>
            <pc:docMk/>
            <pc:sldMk cId="2243780600" sldId="647"/>
            <ac:spMk id="25" creationId="{48AA83A7-E38F-E932-0DDA-0CB60F50C1EF}"/>
          </ac:spMkLst>
        </pc:spChg>
        <pc:spChg chg="del">
          <ac:chgData name="Bullinger, Marvin" userId="5b54ce5a-dc89-476f-af33-5abd75d5b1e8" providerId="ADAL" clId="{B18DB96A-0F1B-4B04-B169-68D0DF683527}" dt="2024-08-07T20:14:36.182" v="7743" actId="478"/>
          <ac:spMkLst>
            <pc:docMk/>
            <pc:sldMk cId="2243780600" sldId="647"/>
            <ac:spMk id="28" creationId="{2F2C504E-96E0-BAF3-83DF-4AC2455B6144}"/>
          </ac:spMkLst>
        </pc:spChg>
        <pc:spChg chg="del">
          <ac:chgData name="Bullinger, Marvin" userId="5b54ce5a-dc89-476f-af33-5abd75d5b1e8" providerId="ADAL" clId="{B18DB96A-0F1B-4B04-B169-68D0DF683527}" dt="2024-08-07T20:14:36.182" v="7742" actId="478"/>
          <ac:spMkLst>
            <pc:docMk/>
            <pc:sldMk cId="2243780600" sldId="647"/>
            <ac:spMk id="29" creationId="{72EB1E2F-16D5-DBC1-3741-FF1C87CC1A22}"/>
          </ac:spMkLst>
        </pc:spChg>
        <pc:spChg chg="del">
          <ac:chgData name="Bullinger, Marvin" userId="5b54ce5a-dc89-476f-af33-5abd75d5b1e8" providerId="ADAL" clId="{B18DB96A-0F1B-4B04-B169-68D0DF683527}" dt="2024-08-07T20:14:36.168" v="7741" actId="478"/>
          <ac:spMkLst>
            <pc:docMk/>
            <pc:sldMk cId="2243780600" sldId="647"/>
            <ac:spMk id="30" creationId="{BC22AA36-606E-9B1B-ED2F-29FB33D28512}"/>
          </ac:spMkLst>
        </pc:spChg>
        <pc:spChg chg="del">
          <ac:chgData name="Bullinger, Marvin" userId="5b54ce5a-dc89-476f-af33-5abd75d5b1e8" providerId="ADAL" clId="{B18DB96A-0F1B-4B04-B169-68D0DF683527}" dt="2024-08-07T20:14:36.168" v="7740" actId="478"/>
          <ac:spMkLst>
            <pc:docMk/>
            <pc:sldMk cId="2243780600" sldId="647"/>
            <ac:spMk id="31" creationId="{EBE814A1-CF64-AC1F-8C82-4BB425736FB3}"/>
          </ac:spMkLst>
        </pc:spChg>
        <pc:spChg chg="del">
          <ac:chgData name="Bullinger, Marvin" userId="5b54ce5a-dc89-476f-af33-5abd75d5b1e8" providerId="ADAL" clId="{B18DB96A-0F1B-4B04-B169-68D0DF683527}" dt="2024-08-07T20:14:36.168" v="7739" actId="478"/>
          <ac:spMkLst>
            <pc:docMk/>
            <pc:sldMk cId="2243780600" sldId="647"/>
            <ac:spMk id="32" creationId="{1C556121-6186-5664-64F5-1AB4FF188E23}"/>
          </ac:spMkLst>
        </pc:spChg>
        <pc:spChg chg="del">
          <ac:chgData name="Bullinger, Marvin" userId="5b54ce5a-dc89-476f-af33-5abd75d5b1e8" providerId="ADAL" clId="{B18DB96A-0F1B-4B04-B169-68D0DF683527}" dt="2024-08-07T20:14:36.168" v="7738" actId="478"/>
          <ac:spMkLst>
            <pc:docMk/>
            <pc:sldMk cId="2243780600" sldId="647"/>
            <ac:spMk id="33" creationId="{989612DC-1394-C768-4569-8099D6FC6D82}"/>
          </ac:spMkLst>
        </pc:spChg>
        <pc:spChg chg="del">
          <ac:chgData name="Bullinger, Marvin" userId="5b54ce5a-dc89-476f-af33-5abd75d5b1e8" providerId="ADAL" clId="{B18DB96A-0F1B-4B04-B169-68D0DF683527}" dt="2024-08-07T20:14:36.168" v="7737" actId="478"/>
          <ac:spMkLst>
            <pc:docMk/>
            <pc:sldMk cId="2243780600" sldId="647"/>
            <ac:spMk id="34" creationId="{3A63CBC8-5A30-E0C8-5841-DB9A60017097}"/>
          </ac:spMkLst>
        </pc:spChg>
        <pc:spChg chg="del">
          <ac:chgData name="Bullinger, Marvin" userId="5b54ce5a-dc89-476f-af33-5abd75d5b1e8" providerId="ADAL" clId="{B18DB96A-0F1B-4B04-B169-68D0DF683527}" dt="2024-08-07T20:14:36.168" v="7736" actId="478"/>
          <ac:spMkLst>
            <pc:docMk/>
            <pc:sldMk cId="2243780600" sldId="647"/>
            <ac:spMk id="35" creationId="{898ED76F-1250-59B5-AABF-60E4DEBCE216}"/>
          </ac:spMkLst>
        </pc:spChg>
        <pc:spChg chg="del">
          <ac:chgData name="Bullinger, Marvin" userId="5b54ce5a-dc89-476f-af33-5abd75d5b1e8" providerId="ADAL" clId="{B18DB96A-0F1B-4B04-B169-68D0DF683527}" dt="2024-08-07T20:14:36.168" v="7735" actId="478"/>
          <ac:spMkLst>
            <pc:docMk/>
            <pc:sldMk cId="2243780600" sldId="647"/>
            <ac:spMk id="36" creationId="{2256C363-92D6-CC66-6230-CE8AED9AF988}"/>
          </ac:spMkLst>
        </pc:spChg>
        <pc:spChg chg="del">
          <ac:chgData name="Bullinger, Marvin" userId="5b54ce5a-dc89-476f-af33-5abd75d5b1e8" providerId="ADAL" clId="{B18DB96A-0F1B-4B04-B169-68D0DF683527}" dt="2024-08-07T20:14:36.168" v="7734" actId="478"/>
          <ac:spMkLst>
            <pc:docMk/>
            <pc:sldMk cId="2243780600" sldId="647"/>
            <ac:spMk id="37" creationId="{0EF5C32C-6C54-6D35-501E-4DFC7ECDEBD5}"/>
          </ac:spMkLst>
        </pc:spChg>
        <pc:spChg chg="del">
          <ac:chgData name="Bullinger, Marvin" userId="5b54ce5a-dc89-476f-af33-5abd75d5b1e8" providerId="ADAL" clId="{B18DB96A-0F1B-4B04-B169-68D0DF683527}" dt="2024-08-07T20:14:36.168" v="7733" actId="478"/>
          <ac:spMkLst>
            <pc:docMk/>
            <pc:sldMk cId="2243780600" sldId="647"/>
            <ac:spMk id="38" creationId="{7A876C27-E995-8DB5-F019-48AFBE7F008B}"/>
          </ac:spMkLst>
        </pc:spChg>
        <pc:spChg chg="del">
          <ac:chgData name="Bullinger, Marvin" userId="5b54ce5a-dc89-476f-af33-5abd75d5b1e8" providerId="ADAL" clId="{B18DB96A-0F1B-4B04-B169-68D0DF683527}" dt="2024-08-07T20:14:36.168" v="7732" actId="478"/>
          <ac:spMkLst>
            <pc:docMk/>
            <pc:sldMk cId="2243780600" sldId="647"/>
            <ac:spMk id="39" creationId="{68DC81D6-1985-D5A9-812D-6137D3892043}"/>
          </ac:spMkLst>
        </pc:spChg>
        <pc:spChg chg="del">
          <ac:chgData name="Bullinger, Marvin" userId="5b54ce5a-dc89-476f-af33-5abd75d5b1e8" providerId="ADAL" clId="{B18DB96A-0F1B-4B04-B169-68D0DF683527}" dt="2024-08-07T20:14:36.168" v="7731" actId="478"/>
          <ac:spMkLst>
            <pc:docMk/>
            <pc:sldMk cId="2243780600" sldId="647"/>
            <ac:spMk id="40" creationId="{17C83ABB-D04E-B1D4-F6EE-A596043777B2}"/>
          </ac:spMkLst>
        </pc:spChg>
        <pc:spChg chg="del">
          <ac:chgData name="Bullinger, Marvin" userId="5b54ce5a-dc89-476f-af33-5abd75d5b1e8" providerId="ADAL" clId="{B18DB96A-0F1B-4B04-B169-68D0DF683527}" dt="2024-08-07T20:14:36.168" v="7730" actId="478"/>
          <ac:spMkLst>
            <pc:docMk/>
            <pc:sldMk cId="2243780600" sldId="647"/>
            <ac:spMk id="41" creationId="{4E6747AC-6AC0-A7C5-FE87-AF685ABA8736}"/>
          </ac:spMkLst>
        </pc:spChg>
      </pc:sldChg>
      <pc:sldChg chg="addSp delSp modSp add mod modTransition modNotesTx">
        <pc:chgData name="Bullinger, Marvin" userId="5b54ce5a-dc89-476f-af33-5abd75d5b1e8" providerId="ADAL" clId="{B18DB96A-0F1B-4B04-B169-68D0DF683527}" dt="2024-08-13T22:05:50.120" v="28414" actId="20577"/>
        <pc:sldMkLst>
          <pc:docMk/>
          <pc:sldMk cId="2186703549" sldId="648"/>
        </pc:sldMkLst>
        <pc:spChg chg="add del mod">
          <ac:chgData name="Bullinger, Marvin" userId="5b54ce5a-dc89-476f-af33-5abd75d5b1e8" providerId="ADAL" clId="{B18DB96A-0F1B-4B04-B169-68D0DF683527}" dt="2024-08-09T06:03:48.682" v="10604" actId="20577"/>
          <ac:spMkLst>
            <pc:docMk/>
            <pc:sldMk cId="2186703549" sldId="648"/>
            <ac:spMk id="2" creationId="{982C60BB-92EE-4C6E-1334-B9BBF31A286B}"/>
          </ac:spMkLst>
        </pc:spChg>
        <pc:spChg chg="mod">
          <ac:chgData name="Bullinger, Marvin" userId="5b54ce5a-dc89-476f-af33-5abd75d5b1e8" providerId="ADAL" clId="{B18DB96A-0F1B-4B04-B169-68D0DF683527}" dt="2024-08-07T20:24:44.138" v="8133" actId="20577"/>
          <ac:spMkLst>
            <pc:docMk/>
            <pc:sldMk cId="2186703549" sldId="648"/>
            <ac:spMk id="14" creationId="{1C8B4A94-EF3A-36D5-3A6A-3236027E42A9}"/>
          </ac:spMkLst>
        </pc:spChg>
        <pc:graphicFrameChg chg="mod modGraphic">
          <ac:chgData name="Bullinger, Marvin" userId="5b54ce5a-dc89-476f-af33-5abd75d5b1e8" providerId="ADAL" clId="{B18DB96A-0F1B-4B04-B169-68D0DF683527}" dt="2024-08-09T06:36:06.341" v="10913" actId="1038"/>
          <ac:graphicFrameMkLst>
            <pc:docMk/>
            <pc:sldMk cId="2186703549" sldId="648"/>
            <ac:graphicFrameMk id="5" creationId="{C5717442-61F2-7D30-BD16-7EE7957D3F78}"/>
          </ac:graphicFrameMkLst>
        </pc:graphicFrameChg>
        <pc:picChg chg="del">
          <ac:chgData name="Bullinger, Marvin" userId="5b54ce5a-dc89-476f-af33-5abd75d5b1e8" providerId="ADAL" clId="{B18DB96A-0F1B-4B04-B169-68D0DF683527}" dt="2024-08-07T20:24:14.962" v="8119" actId="478"/>
          <ac:picMkLst>
            <pc:docMk/>
            <pc:sldMk cId="2186703549" sldId="648"/>
            <ac:picMk id="3" creationId="{7493C945-D4E3-88F0-710B-5C021B535856}"/>
          </ac:picMkLst>
        </pc:picChg>
        <pc:picChg chg="add del mod modCrop">
          <ac:chgData name="Bullinger, Marvin" userId="5b54ce5a-dc89-476f-af33-5abd75d5b1e8" providerId="ADAL" clId="{B18DB96A-0F1B-4B04-B169-68D0DF683527}" dt="2024-08-09T05:29:24.955" v="10404" actId="478"/>
          <ac:picMkLst>
            <pc:docMk/>
            <pc:sldMk cId="2186703549" sldId="648"/>
            <ac:picMk id="4" creationId="{A7A251F5-700E-10AA-8060-76CACB57E26D}"/>
          </ac:picMkLst>
        </pc:picChg>
        <pc:picChg chg="add del mod">
          <ac:chgData name="Bullinger, Marvin" userId="5b54ce5a-dc89-476f-af33-5abd75d5b1e8" providerId="ADAL" clId="{B18DB96A-0F1B-4B04-B169-68D0DF683527}" dt="2024-08-13T14:32:34.933" v="26219" actId="478"/>
          <ac:picMkLst>
            <pc:docMk/>
            <pc:sldMk cId="2186703549" sldId="648"/>
            <ac:picMk id="4" creationId="{CE4C4DC1-D0B5-C6DF-30E5-044C0BC66E0D}"/>
          </ac:picMkLst>
        </pc:picChg>
        <pc:picChg chg="add mod">
          <ac:chgData name="Bullinger, Marvin" userId="5b54ce5a-dc89-476f-af33-5abd75d5b1e8" providerId="ADAL" clId="{B18DB96A-0F1B-4B04-B169-68D0DF683527}" dt="2024-08-13T14:33:36.860" v="26222" actId="1076"/>
          <ac:picMkLst>
            <pc:docMk/>
            <pc:sldMk cId="2186703549" sldId="648"/>
            <ac:picMk id="8" creationId="{3858F6A3-84F6-51EB-D05A-4CCB5665CB0E}"/>
          </ac:picMkLst>
        </pc:picChg>
        <pc:picChg chg="add del mod modCrop">
          <ac:chgData name="Bullinger, Marvin" userId="5b54ce5a-dc89-476f-af33-5abd75d5b1e8" providerId="ADAL" clId="{B18DB96A-0F1B-4B04-B169-68D0DF683527}" dt="2024-08-09T05:35:42.005" v="10417" actId="478"/>
          <ac:picMkLst>
            <pc:docMk/>
            <pc:sldMk cId="2186703549" sldId="648"/>
            <ac:picMk id="8" creationId="{B6097BDB-8656-DC12-A2A0-E88430DEB8A0}"/>
          </ac:picMkLst>
        </pc:picChg>
        <pc:picChg chg="del">
          <ac:chgData name="Bullinger, Marvin" userId="5b54ce5a-dc89-476f-af33-5abd75d5b1e8" providerId="ADAL" clId="{B18DB96A-0F1B-4B04-B169-68D0DF683527}" dt="2024-08-13T14:31:58.580" v="26207" actId="478"/>
          <ac:picMkLst>
            <pc:docMk/>
            <pc:sldMk cId="2186703549" sldId="648"/>
            <ac:picMk id="10" creationId="{A6A0690D-A578-0149-4754-B1F3627FA5C0}"/>
          </ac:picMkLst>
        </pc:picChg>
        <pc:picChg chg="add del mod">
          <ac:chgData name="Bullinger, Marvin" userId="5b54ce5a-dc89-476f-af33-5abd75d5b1e8" providerId="ADAL" clId="{B18DB96A-0F1B-4B04-B169-68D0DF683527}" dt="2024-08-09T05:39:19.459" v="10419" actId="478"/>
          <ac:picMkLst>
            <pc:docMk/>
            <pc:sldMk cId="2186703549" sldId="648"/>
            <ac:picMk id="13" creationId="{8B02E383-F9E6-8AC0-A487-4BF889439E8A}"/>
          </ac:picMkLst>
        </pc:picChg>
        <pc:picChg chg="del">
          <ac:chgData name="Bullinger, Marvin" userId="5b54ce5a-dc89-476f-af33-5abd75d5b1e8" providerId="ADAL" clId="{B18DB96A-0F1B-4B04-B169-68D0DF683527}" dt="2024-08-09T05:40:55.964" v="10422" actId="478"/>
          <ac:picMkLst>
            <pc:docMk/>
            <pc:sldMk cId="2186703549" sldId="648"/>
            <ac:picMk id="16" creationId="{B51A6B83-9D07-E2C1-7038-C9EADF58D53B}"/>
          </ac:picMkLst>
        </pc:picChg>
        <pc:picChg chg="add del mod">
          <ac:chgData name="Bullinger, Marvin" userId="5b54ce5a-dc89-476f-af33-5abd75d5b1e8" providerId="ADAL" clId="{B18DB96A-0F1B-4B04-B169-68D0DF683527}" dt="2024-08-09T05:39:41.501" v="10421" actId="478"/>
          <ac:picMkLst>
            <pc:docMk/>
            <pc:sldMk cId="2186703549" sldId="648"/>
            <ac:picMk id="18" creationId="{56771FBF-9A4E-DC1B-1FF7-B3634DF8475C}"/>
          </ac:picMkLst>
        </pc:picChg>
        <pc:picChg chg="add mod modCrop">
          <ac:chgData name="Bullinger, Marvin" userId="5b54ce5a-dc89-476f-af33-5abd75d5b1e8" providerId="ADAL" clId="{B18DB96A-0F1B-4B04-B169-68D0DF683527}" dt="2024-08-09T18:16:02.623" v="11148" actId="732"/>
          <ac:picMkLst>
            <pc:docMk/>
            <pc:sldMk cId="2186703549" sldId="648"/>
            <ac:picMk id="21" creationId="{F80FD7C5-D21F-4E26-7DCF-5F6544441D6A}"/>
          </ac:picMkLst>
        </pc:picChg>
        <pc:picChg chg="add del mod">
          <ac:chgData name="Bullinger, Marvin" userId="5b54ce5a-dc89-476f-af33-5abd75d5b1e8" providerId="ADAL" clId="{B18DB96A-0F1B-4B04-B169-68D0DF683527}" dt="2024-08-09T06:45:55.635" v="11016" actId="478"/>
          <ac:picMkLst>
            <pc:docMk/>
            <pc:sldMk cId="2186703549" sldId="648"/>
            <ac:picMk id="23" creationId="{80116827-ACDE-B3C1-3921-B9600B5A1F2D}"/>
          </ac:picMkLst>
        </pc:picChg>
      </pc:sldChg>
      <pc:sldChg chg="delSp modSp add del mod">
        <pc:chgData name="Bullinger, Marvin" userId="5b54ce5a-dc89-476f-af33-5abd75d5b1e8" providerId="ADAL" clId="{B18DB96A-0F1B-4B04-B169-68D0DF683527}" dt="2024-08-07T20:23:18.112" v="8110" actId="47"/>
        <pc:sldMkLst>
          <pc:docMk/>
          <pc:sldMk cId="3003609888" sldId="648"/>
        </pc:sldMkLst>
        <pc:graphicFrameChg chg="del mod modGraphic">
          <ac:chgData name="Bullinger, Marvin" userId="5b54ce5a-dc89-476f-af33-5abd75d5b1e8" providerId="ADAL" clId="{B18DB96A-0F1B-4B04-B169-68D0DF683527}" dt="2024-08-07T20:23:15.992" v="8109" actId="478"/>
          <ac:graphicFrameMkLst>
            <pc:docMk/>
            <pc:sldMk cId="3003609888" sldId="648"/>
            <ac:graphicFrameMk id="5" creationId="{C5717442-61F2-7D30-BD16-7EE7957D3F78}"/>
          </ac:graphicFrameMkLst>
        </pc:graphicFrameChg>
      </pc:sldChg>
      <pc:sldChg chg="new del">
        <pc:chgData name="Bullinger, Marvin" userId="5b54ce5a-dc89-476f-af33-5abd75d5b1e8" providerId="ADAL" clId="{B18DB96A-0F1B-4B04-B169-68D0DF683527}" dt="2024-08-07T20:19:50.736" v="7945" actId="680"/>
        <pc:sldMkLst>
          <pc:docMk/>
          <pc:sldMk cId="3378122809" sldId="648"/>
        </pc:sldMkLst>
      </pc:sldChg>
      <pc:sldChg chg="new del">
        <pc:chgData name="Bullinger, Marvin" userId="5b54ce5a-dc89-476f-af33-5abd75d5b1e8" providerId="ADAL" clId="{B18DB96A-0F1B-4B04-B169-68D0DF683527}" dt="2024-08-07T20:22:48.241" v="8107" actId="47"/>
        <pc:sldMkLst>
          <pc:docMk/>
          <pc:sldMk cId="778244258" sldId="649"/>
        </pc:sldMkLst>
      </pc:sldChg>
      <pc:sldChg chg="addSp delSp modSp add mod delAnim modAnim modNotesTx">
        <pc:chgData name="Bullinger, Marvin" userId="5b54ce5a-dc89-476f-af33-5abd75d5b1e8" providerId="ADAL" clId="{B18DB96A-0F1B-4B04-B169-68D0DF683527}" dt="2024-08-13T21:47:18.972" v="26854" actId="20577"/>
        <pc:sldMkLst>
          <pc:docMk/>
          <pc:sldMk cId="3159847066" sldId="649"/>
        </pc:sldMkLst>
        <pc:spChg chg="mod">
          <ac:chgData name="Bullinger, Marvin" userId="5b54ce5a-dc89-476f-af33-5abd75d5b1e8" providerId="ADAL" clId="{B18DB96A-0F1B-4B04-B169-68D0DF683527}" dt="2024-08-09T18:57:08.150" v="11684" actId="20577"/>
          <ac:spMkLst>
            <pc:docMk/>
            <pc:sldMk cId="3159847066" sldId="649"/>
            <ac:spMk id="43" creationId="{18A985D8-8844-EE64-06BA-37B64FD077A0}"/>
          </ac:spMkLst>
        </pc:spChg>
        <pc:spChg chg="mod">
          <ac:chgData name="Bullinger, Marvin" userId="5b54ce5a-dc89-476f-af33-5abd75d5b1e8" providerId="ADAL" clId="{B18DB96A-0F1B-4B04-B169-68D0DF683527}" dt="2024-08-11T20:23:04.573" v="17724" actId="20577"/>
          <ac:spMkLst>
            <pc:docMk/>
            <pc:sldMk cId="3159847066" sldId="649"/>
            <ac:spMk id="44" creationId="{26EC6D5F-42D3-9AFC-16AD-CE3B0C6A3BDA}"/>
          </ac:spMkLst>
        </pc:spChg>
        <pc:picChg chg="mod">
          <ac:chgData name="Bullinger, Marvin" userId="5b54ce5a-dc89-476f-af33-5abd75d5b1e8" providerId="ADAL" clId="{B18DB96A-0F1B-4B04-B169-68D0DF683527}" dt="2024-08-09T19:00:04.282" v="11763" actId="1036"/>
          <ac:picMkLst>
            <pc:docMk/>
            <pc:sldMk cId="3159847066" sldId="649"/>
            <ac:picMk id="2" creationId="{E7BB2746-1DC0-F9E2-C8EF-5FC0F4380E66}"/>
          </ac:picMkLst>
        </pc:picChg>
        <pc:picChg chg="add mod">
          <ac:chgData name="Bullinger, Marvin" userId="5b54ce5a-dc89-476f-af33-5abd75d5b1e8" providerId="ADAL" clId="{B18DB96A-0F1B-4B04-B169-68D0DF683527}" dt="2024-08-09T19:00:04.282" v="11763" actId="1036"/>
          <ac:picMkLst>
            <pc:docMk/>
            <pc:sldMk cId="3159847066" sldId="649"/>
            <ac:picMk id="3" creationId="{8DCE543E-7E9A-1305-37EF-1585D0E62428}"/>
          </ac:picMkLst>
        </pc:picChg>
        <pc:picChg chg="del">
          <ac:chgData name="Bullinger, Marvin" userId="5b54ce5a-dc89-476f-af33-5abd75d5b1e8" providerId="ADAL" clId="{B18DB96A-0F1B-4B04-B169-68D0DF683527}" dt="2024-08-08T11:42:15.289" v="8745" actId="478"/>
          <ac:picMkLst>
            <pc:docMk/>
            <pc:sldMk cId="3159847066" sldId="649"/>
            <ac:picMk id="10" creationId="{9AF020F0-FFEA-AB28-4F52-2A5B8FE521F0}"/>
          </ac:picMkLst>
        </pc:picChg>
        <pc:cxnChg chg="add mod">
          <ac:chgData name="Bullinger, Marvin" userId="5b54ce5a-dc89-476f-af33-5abd75d5b1e8" providerId="ADAL" clId="{B18DB96A-0F1B-4B04-B169-68D0DF683527}" dt="2024-08-09T19:00:04.282" v="11763" actId="1036"/>
          <ac:cxnSpMkLst>
            <pc:docMk/>
            <pc:sldMk cId="3159847066" sldId="649"/>
            <ac:cxnSpMk id="4" creationId="{1C99E4D0-924A-A19D-ED50-550A96BDA2E6}"/>
          </ac:cxnSpMkLst>
        </pc:cxnChg>
        <pc:cxnChg chg="add mod">
          <ac:chgData name="Bullinger, Marvin" userId="5b54ce5a-dc89-476f-af33-5abd75d5b1e8" providerId="ADAL" clId="{B18DB96A-0F1B-4B04-B169-68D0DF683527}" dt="2024-08-09T19:00:04.282" v="11763" actId="1036"/>
          <ac:cxnSpMkLst>
            <pc:docMk/>
            <pc:sldMk cId="3159847066" sldId="649"/>
            <ac:cxnSpMk id="7" creationId="{3D4E0FDE-A97A-9093-E810-0E4B9F99A0C5}"/>
          </ac:cxnSpMkLst>
        </pc:cxnChg>
        <pc:cxnChg chg="add mod">
          <ac:chgData name="Bullinger, Marvin" userId="5b54ce5a-dc89-476f-af33-5abd75d5b1e8" providerId="ADAL" clId="{B18DB96A-0F1B-4B04-B169-68D0DF683527}" dt="2024-08-09T19:00:04.282" v="11763" actId="1036"/>
          <ac:cxnSpMkLst>
            <pc:docMk/>
            <pc:sldMk cId="3159847066" sldId="649"/>
            <ac:cxnSpMk id="10" creationId="{0094B3B3-D05B-2863-8DE8-20D1B222FD11}"/>
          </ac:cxnSpMkLst>
        </pc:cxnChg>
        <pc:cxnChg chg="mod">
          <ac:chgData name="Bullinger, Marvin" userId="5b54ce5a-dc89-476f-af33-5abd75d5b1e8" providerId="ADAL" clId="{B18DB96A-0F1B-4B04-B169-68D0DF683527}" dt="2024-08-09T19:00:04.282" v="11763" actId="1036"/>
          <ac:cxnSpMkLst>
            <pc:docMk/>
            <pc:sldMk cId="3159847066" sldId="649"/>
            <ac:cxnSpMk id="15" creationId="{96BADDB8-BC11-EDCF-B39F-46EE13CDF91D}"/>
          </ac:cxnSpMkLst>
        </pc:cxnChg>
      </pc:sldChg>
      <pc:sldChg chg="new del">
        <pc:chgData name="Bullinger, Marvin" userId="5b54ce5a-dc89-476f-af33-5abd75d5b1e8" providerId="ADAL" clId="{B18DB96A-0F1B-4B04-B169-68D0DF683527}" dt="2024-08-07T20:23:34.359" v="8114" actId="47"/>
        <pc:sldMkLst>
          <pc:docMk/>
          <pc:sldMk cId="3744268745" sldId="649"/>
        </pc:sldMkLst>
      </pc:sldChg>
      <pc:sldChg chg="addSp delSp modSp new mod modNotesTx">
        <pc:chgData name="Bullinger, Marvin" userId="5b54ce5a-dc89-476f-af33-5abd75d5b1e8" providerId="ADAL" clId="{B18DB96A-0F1B-4B04-B169-68D0DF683527}" dt="2024-08-11T19:31:59.789" v="13095" actId="20577"/>
        <pc:sldMkLst>
          <pc:docMk/>
          <pc:sldMk cId="211836646" sldId="650"/>
        </pc:sldMkLst>
        <pc:spChg chg="mod">
          <ac:chgData name="Bullinger, Marvin" userId="5b54ce5a-dc89-476f-af33-5abd75d5b1e8" providerId="ADAL" clId="{B18DB96A-0F1B-4B04-B169-68D0DF683527}" dt="2024-08-09T06:48:51.077" v="11055" actId="20577"/>
          <ac:spMkLst>
            <pc:docMk/>
            <pc:sldMk cId="211836646" sldId="650"/>
            <ac:spMk id="2" creationId="{8842ABB3-4462-FB59-3FE4-F70DFD35C7F6}"/>
          </ac:spMkLst>
        </pc:spChg>
        <pc:spChg chg="mod">
          <ac:chgData name="Bullinger, Marvin" userId="5b54ce5a-dc89-476f-af33-5abd75d5b1e8" providerId="ADAL" clId="{B18DB96A-0F1B-4B04-B169-68D0DF683527}" dt="2024-08-09T18:14:30.056" v="11135" actId="1037"/>
          <ac:spMkLst>
            <pc:docMk/>
            <pc:sldMk cId="211836646" sldId="650"/>
            <ac:spMk id="3" creationId="{5FCBC0D3-34F1-52A4-377C-1713CC7AB288}"/>
          </ac:spMkLst>
        </pc:spChg>
        <pc:spChg chg="mod">
          <ac:chgData name="Bullinger, Marvin" userId="5b54ce5a-dc89-476f-af33-5abd75d5b1e8" providerId="ADAL" clId="{B18DB96A-0F1B-4B04-B169-68D0DF683527}" dt="2024-08-09T06:38:22.958" v="11007" actId="20577"/>
          <ac:spMkLst>
            <pc:docMk/>
            <pc:sldMk cId="211836646" sldId="650"/>
            <ac:spMk id="4" creationId="{02B30669-3C5B-FADB-B285-37421890FCA9}"/>
          </ac:spMkLst>
        </pc:spChg>
        <pc:spChg chg="mod">
          <ac:chgData name="Bullinger, Marvin" userId="5b54ce5a-dc89-476f-af33-5abd75d5b1e8" providerId="ADAL" clId="{B18DB96A-0F1B-4B04-B169-68D0DF683527}" dt="2024-08-09T06:38:31.827" v="11009" actId="20577"/>
          <ac:spMkLst>
            <pc:docMk/>
            <pc:sldMk cId="211836646" sldId="650"/>
            <ac:spMk id="5" creationId="{3485DE04-5F83-8CDD-60A6-879B9607D300}"/>
          </ac:spMkLst>
        </pc:spChg>
        <pc:spChg chg="mod">
          <ac:chgData name="Bullinger, Marvin" userId="5b54ce5a-dc89-476f-af33-5abd75d5b1e8" providerId="ADAL" clId="{B18DB96A-0F1B-4B04-B169-68D0DF683527}" dt="2024-08-09T19:29:05.208" v="12050" actId="113"/>
          <ac:spMkLst>
            <pc:docMk/>
            <pc:sldMk cId="211836646" sldId="650"/>
            <ac:spMk id="6" creationId="{DDFA98DB-9F4C-9F00-5615-D8B4C054E780}"/>
          </ac:spMkLst>
        </pc:spChg>
        <pc:spChg chg="add del mod">
          <ac:chgData name="Bullinger, Marvin" userId="5b54ce5a-dc89-476f-af33-5abd75d5b1e8" providerId="ADAL" clId="{B18DB96A-0F1B-4B04-B169-68D0DF683527}" dt="2024-08-09T06:38:31.340" v="11008" actId="20577"/>
          <ac:spMkLst>
            <pc:docMk/>
            <pc:sldMk cId="211836646" sldId="650"/>
            <ac:spMk id="7" creationId="{EE481F00-18AD-41DB-A39A-CB4F0E12C694}"/>
          </ac:spMkLst>
        </pc:spChg>
      </pc:sldChg>
      <pc:sldChg chg="new del">
        <pc:chgData name="Bullinger, Marvin" userId="5b54ce5a-dc89-476f-af33-5abd75d5b1e8" providerId="ADAL" clId="{B18DB96A-0F1B-4B04-B169-68D0DF683527}" dt="2024-08-08T15:03:37.744" v="9470" actId="680"/>
        <pc:sldMkLst>
          <pc:docMk/>
          <pc:sldMk cId="1748373902" sldId="650"/>
        </pc:sldMkLst>
      </pc:sldChg>
      <pc:sldChg chg="new del">
        <pc:chgData name="Bullinger, Marvin" userId="5b54ce5a-dc89-476f-af33-5abd75d5b1e8" providerId="ADAL" clId="{B18DB96A-0F1B-4B04-B169-68D0DF683527}" dt="2024-08-08T13:41:49.072" v="9142" actId="680"/>
        <pc:sldMkLst>
          <pc:docMk/>
          <pc:sldMk cId="1795240976" sldId="650"/>
        </pc:sldMkLst>
      </pc:sldChg>
      <pc:sldChg chg="new del">
        <pc:chgData name="Bullinger, Marvin" userId="5b54ce5a-dc89-476f-af33-5abd75d5b1e8" providerId="ADAL" clId="{B18DB96A-0F1B-4B04-B169-68D0DF683527}" dt="2024-08-08T15:03:55.462" v="9473" actId="680"/>
        <pc:sldMkLst>
          <pc:docMk/>
          <pc:sldMk cId="3727387685" sldId="650"/>
        </pc:sldMkLst>
      </pc:sldChg>
      <pc:sldChg chg="new del">
        <pc:chgData name="Bullinger, Marvin" userId="5b54ce5a-dc89-476f-af33-5abd75d5b1e8" providerId="ADAL" clId="{B18DB96A-0F1B-4B04-B169-68D0DF683527}" dt="2024-08-09T05:47:10.310" v="10435" actId="680"/>
        <pc:sldMkLst>
          <pc:docMk/>
          <pc:sldMk cId="1165313126" sldId="651"/>
        </pc:sldMkLst>
      </pc:sldChg>
      <pc:sldChg chg="addSp delSp modSp add del mod delAnim modAnim">
        <pc:chgData name="Bullinger, Marvin" userId="5b54ce5a-dc89-476f-af33-5abd75d5b1e8" providerId="ADAL" clId="{B18DB96A-0F1B-4B04-B169-68D0DF683527}" dt="2024-08-09T18:40:01.462" v="11361" actId="47"/>
        <pc:sldMkLst>
          <pc:docMk/>
          <pc:sldMk cId="1790948260" sldId="651"/>
        </pc:sldMkLst>
        <pc:spChg chg="mod">
          <ac:chgData name="Bullinger, Marvin" userId="5b54ce5a-dc89-476f-af33-5abd75d5b1e8" providerId="ADAL" clId="{B18DB96A-0F1B-4B04-B169-68D0DF683527}" dt="2024-08-09T06:03:28.550" v="10601" actId="20577"/>
          <ac:spMkLst>
            <pc:docMk/>
            <pc:sldMk cId="1790948260" sldId="651"/>
            <ac:spMk id="2" creationId="{BF9960AA-2994-697A-69B6-39B77BCFB44A}"/>
          </ac:spMkLst>
        </pc:spChg>
        <pc:spChg chg="mod">
          <ac:chgData name="Bullinger, Marvin" userId="5b54ce5a-dc89-476f-af33-5abd75d5b1e8" providerId="ADAL" clId="{B18DB96A-0F1B-4B04-B169-68D0DF683527}" dt="2024-08-09T06:03:21.449" v="10600" actId="20577"/>
          <ac:spMkLst>
            <pc:docMk/>
            <pc:sldMk cId="1790948260" sldId="651"/>
            <ac:spMk id="4" creationId="{AEF19D08-7DC3-30BA-15C6-32717B763231}"/>
          </ac:spMkLst>
        </pc:spChg>
        <pc:spChg chg="mod">
          <ac:chgData name="Bullinger, Marvin" userId="5b54ce5a-dc89-476f-af33-5abd75d5b1e8" providerId="ADAL" clId="{B18DB96A-0F1B-4B04-B169-68D0DF683527}" dt="2024-08-09T06:03:16.295" v="10597" actId="20577"/>
          <ac:spMkLst>
            <pc:docMk/>
            <pc:sldMk cId="1790948260" sldId="651"/>
            <ac:spMk id="5" creationId="{20F7DDB0-A0A4-3BF0-680B-74728A0FB70C}"/>
          </ac:spMkLst>
        </pc:spChg>
        <pc:spChg chg="mod">
          <ac:chgData name="Bullinger, Marvin" userId="5b54ce5a-dc89-476f-af33-5abd75d5b1e8" providerId="ADAL" clId="{B18DB96A-0F1B-4B04-B169-68D0DF683527}" dt="2024-08-09T18:20:49.481" v="11161" actId="20577"/>
          <ac:spMkLst>
            <pc:docMk/>
            <pc:sldMk cId="1790948260" sldId="651"/>
            <ac:spMk id="44" creationId="{B50F8766-8F11-BFCF-2390-E11E9FEF042F}"/>
          </ac:spMkLst>
        </pc:spChg>
        <pc:picChg chg="add del mod">
          <ac:chgData name="Bullinger, Marvin" userId="5b54ce5a-dc89-476f-af33-5abd75d5b1e8" providerId="ADAL" clId="{B18DB96A-0F1B-4B04-B169-68D0DF683527}" dt="2024-08-09T06:13:56.460" v="10796" actId="478"/>
          <ac:picMkLst>
            <pc:docMk/>
            <pc:sldMk cId="1790948260" sldId="651"/>
            <ac:picMk id="6" creationId="{633846E4-0323-C923-15C0-0D8904941D6E}"/>
          </ac:picMkLst>
        </pc:picChg>
        <pc:picChg chg="add del mod ord">
          <ac:chgData name="Bullinger, Marvin" userId="5b54ce5a-dc89-476f-af33-5abd75d5b1e8" providerId="ADAL" clId="{B18DB96A-0F1B-4B04-B169-68D0DF683527}" dt="2024-08-09T18:30:06.587" v="11171" actId="478"/>
          <ac:picMkLst>
            <pc:docMk/>
            <pc:sldMk cId="1790948260" sldId="651"/>
            <ac:picMk id="8" creationId="{CF0307AD-207E-4381-E797-20A3E1B45873}"/>
          </ac:picMkLst>
        </pc:picChg>
        <pc:picChg chg="del mod">
          <ac:chgData name="Bullinger, Marvin" userId="5b54ce5a-dc89-476f-af33-5abd75d5b1e8" providerId="ADAL" clId="{B18DB96A-0F1B-4B04-B169-68D0DF683527}" dt="2024-08-09T18:37:35.049" v="11358" actId="478"/>
          <ac:picMkLst>
            <pc:docMk/>
            <pc:sldMk cId="1790948260" sldId="651"/>
            <ac:picMk id="49" creationId="{0F78E5DB-FB91-E4E6-0102-DB32DC9C92E9}"/>
          </ac:picMkLst>
        </pc:picChg>
        <pc:picChg chg="add del mod">
          <ac:chgData name="Bullinger, Marvin" userId="5b54ce5a-dc89-476f-af33-5abd75d5b1e8" providerId="ADAL" clId="{B18DB96A-0F1B-4B04-B169-68D0DF683527}" dt="2024-08-09T18:39:59.994" v="11360" actId="478"/>
          <ac:picMkLst>
            <pc:docMk/>
            <pc:sldMk cId="1790948260" sldId="651"/>
            <ac:picMk id="1026" creationId="{4849655B-34A9-3579-5844-2A4C3A0EF9DB}"/>
          </ac:picMkLst>
        </pc:picChg>
      </pc:sldChg>
      <pc:sldChg chg="new del">
        <pc:chgData name="Bullinger, Marvin" userId="5b54ce5a-dc89-476f-af33-5abd75d5b1e8" providerId="ADAL" clId="{B18DB96A-0F1B-4B04-B169-68D0DF683527}" dt="2024-08-09T05:49:57.138" v="10439" actId="47"/>
        <pc:sldMkLst>
          <pc:docMk/>
          <pc:sldMk cId="3833239583" sldId="651"/>
        </pc:sldMkLst>
      </pc:sldChg>
      <pc:sldChg chg="addSp delSp modSp add mod addAnim delAnim modAnim modNotesTx">
        <pc:chgData name="Bullinger, Marvin" userId="5b54ce5a-dc89-476f-af33-5abd75d5b1e8" providerId="ADAL" clId="{B18DB96A-0F1B-4B04-B169-68D0DF683527}" dt="2024-08-13T06:43:31.841" v="25583" actId="20577"/>
        <pc:sldMkLst>
          <pc:docMk/>
          <pc:sldMk cId="1743979101" sldId="652"/>
        </pc:sldMkLst>
        <pc:spChg chg="add del mod">
          <ac:chgData name="Bullinger, Marvin" userId="5b54ce5a-dc89-476f-af33-5abd75d5b1e8" providerId="ADAL" clId="{B18DB96A-0F1B-4B04-B169-68D0DF683527}" dt="2024-08-10T19:02:30.384" v="12124" actId="478"/>
          <ac:spMkLst>
            <pc:docMk/>
            <pc:sldMk cId="1743979101" sldId="652"/>
            <ac:spMk id="4" creationId="{9F8C1020-DD31-E652-A966-469A4DD86AD5}"/>
          </ac:spMkLst>
        </pc:spChg>
        <pc:spChg chg="del mod">
          <ac:chgData name="Bullinger, Marvin" userId="5b54ce5a-dc89-476f-af33-5abd75d5b1e8" providerId="ADAL" clId="{B18DB96A-0F1B-4B04-B169-68D0DF683527}" dt="2024-08-09T06:33:40.285" v="10882" actId="478"/>
          <ac:spMkLst>
            <pc:docMk/>
            <pc:sldMk cId="1743979101" sldId="652"/>
            <ac:spMk id="4" creationId="{AEF19D08-7DC3-30BA-15C6-32717B763231}"/>
          </ac:spMkLst>
        </pc:spChg>
        <pc:spChg chg="del">
          <ac:chgData name="Bullinger, Marvin" userId="5b54ce5a-dc89-476f-af33-5abd75d5b1e8" providerId="ADAL" clId="{B18DB96A-0F1B-4B04-B169-68D0DF683527}" dt="2024-08-09T06:33:41.409" v="10884" actId="478"/>
          <ac:spMkLst>
            <pc:docMk/>
            <pc:sldMk cId="1743979101" sldId="652"/>
            <ac:spMk id="5" creationId="{20F7DDB0-A0A4-3BF0-680B-74728A0FB70C}"/>
          </ac:spMkLst>
        </pc:spChg>
        <pc:spChg chg="add del mod">
          <ac:chgData name="Bullinger, Marvin" userId="5b54ce5a-dc89-476f-af33-5abd75d5b1e8" providerId="ADAL" clId="{B18DB96A-0F1B-4B04-B169-68D0DF683527}" dt="2024-08-11T19:56:30.386" v="15488" actId="20577"/>
          <ac:spMkLst>
            <pc:docMk/>
            <pc:sldMk cId="1743979101" sldId="652"/>
            <ac:spMk id="44" creationId="{B50F8766-8F11-BFCF-2390-E11E9FEF042F}"/>
          </ac:spMkLst>
        </pc:spChg>
        <pc:spChg chg="mod">
          <ac:chgData name="Bullinger, Marvin" userId="5b54ce5a-dc89-476f-af33-5abd75d5b1e8" providerId="ADAL" clId="{B18DB96A-0F1B-4B04-B169-68D0DF683527}" dt="2024-08-10T19:02:29.541" v="12122" actId="790"/>
          <ac:spMkLst>
            <pc:docMk/>
            <pc:sldMk cId="1743979101" sldId="652"/>
            <ac:spMk id="52" creationId="{EDAB3B68-56A8-4E54-DB7B-7DB8679F2F54}"/>
          </ac:spMkLst>
        </pc:spChg>
        <pc:picChg chg="del">
          <ac:chgData name="Bullinger, Marvin" userId="5b54ce5a-dc89-476f-af33-5abd75d5b1e8" providerId="ADAL" clId="{B18DB96A-0F1B-4B04-B169-68D0DF683527}" dt="2024-08-09T06:33:38.512" v="10880" actId="478"/>
          <ac:picMkLst>
            <pc:docMk/>
            <pc:sldMk cId="1743979101" sldId="652"/>
            <ac:picMk id="8" creationId="{CF0307AD-207E-4381-E797-20A3E1B45873}"/>
          </ac:picMkLst>
        </pc:picChg>
        <pc:picChg chg="add del">
          <ac:chgData name="Bullinger, Marvin" userId="5b54ce5a-dc89-476f-af33-5abd75d5b1e8" providerId="ADAL" clId="{B18DB96A-0F1B-4B04-B169-68D0DF683527}" dt="2024-08-10T19:02:30.886" v="12125" actId="478"/>
          <ac:picMkLst>
            <pc:docMk/>
            <pc:sldMk cId="1743979101" sldId="652"/>
            <ac:picMk id="47" creationId="{F35A8122-7050-179E-04D6-54E9CA6AA38D}"/>
          </ac:picMkLst>
        </pc:picChg>
        <pc:picChg chg="del">
          <ac:chgData name="Bullinger, Marvin" userId="5b54ce5a-dc89-476f-af33-5abd75d5b1e8" providerId="ADAL" clId="{B18DB96A-0F1B-4B04-B169-68D0DF683527}" dt="2024-08-09T06:33:37.970" v="10879" actId="478"/>
          <ac:picMkLst>
            <pc:docMk/>
            <pc:sldMk cId="1743979101" sldId="652"/>
            <ac:picMk id="49" creationId="{0F78E5DB-FB91-E4E6-0102-DB32DC9C92E9}"/>
          </ac:picMkLst>
        </pc:picChg>
        <pc:picChg chg="del">
          <ac:chgData name="Bullinger, Marvin" userId="5b54ce5a-dc89-476f-af33-5abd75d5b1e8" providerId="ADAL" clId="{B18DB96A-0F1B-4B04-B169-68D0DF683527}" dt="2024-08-09T06:33:40.662" v="10883" actId="478"/>
          <ac:picMkLst>
            <pc:docMk/>
            <pc:sldMk cId="1743979101" sldId="652"/>
            <ac:picMk id="51" creationId="{58B4E569-BFCD-3837-F2E2-DC128F5E677E}"/>
          </ac:picMkLst>
        </pc:picChg>
      </pc:sldChg>
      <pc:sldChg chg="addSp delSp modSp add mod">
        <pc:chgData name="Bullinger, Marvin" userId="5b54ce5a-dc89-476f-af33-5abd75d5b1e8" providerId="ADAL" clId="{B18DB96A-0F1B-4B04-B169-68D0DF683527}" dt="2024-08-13T15:00:07.094" v="26362" actId="20577"/>
        <pc:sldMkLst>
          <pc:docMk/>
          <pc:sldMk cId="950309191" sldId="653"/>
        </pc:sldMkLst>
        <pc:spChg chg="mod">
          <ac:chgData name="Bullinger, Marvin" userId="5b54ce5a-dc89-476f-af33-5abd75d5b1e8" providerId="ADAL" clId="{B18DB96A-0F1B-4B04-B169-68D0DF683527}" dt="2024-08-13T15:00:07.094" v="26362" actId="20577"/>
          <ac:spMkLst>
            <pc:docMk/>
            <pc:sldMk cId="950309191" sldId="653"/>
            <ac:spMk id="3" creationId="{93D9D57C-E69B-7021-6ED4-F10857B89DE5}"/>
          </ac:spMkLst>
        </pc:spChg>
        <pc:spChg chg="mod">
          <ac:chgData name="Bullinger, Marvin" userId="5b54ce5a-dc89-476f-af33-5abd75d5b1e8" providerId="ADAL" clId="{B18DB96A-0F1B-4B04-B169-68D0DF683527}" dt="2024-08-09T18:15:22.106" v="11146" actId="790"/>
          <ac:spMkLst>
            <pc:docMk/>
            <pc:sldMk cId="950309191" sldId="653"/>
            <ac:spMk id="52" creationId="{EDAB3B68-56A8-4E54-DB7B-7DB8679F2F54}"/>
          </ac:spMkLst>
        </pc:spChg>
        <pc:graphicFrameChg chg="del">
          <ac:chgData name="Bullinger, Marvin" userId="5b54ce5a-dc89-476f-af33-5abd75d5b1e8" providerId="ADAL" clId="{B18DB96A-0F1B-4B04-B169-68D0DF683527}" dt="2024-08-09T08:22:23.980" v="11062" actId="478"/>
          <ac:graphicFrameMkLst>
            <pc:docMk/>
            <pc:sldMk cId="950309191" sldId="653"/>
            <ac:graphicFrameMk id="5" creationId="{AB4EE8F0-C3BA-D8B0-AE58-67C604A2F694}"/>
          </ac:graphicFrameMkLst>
        </pc:graphicFrameChg>
        <pc:picChg chg="add del">
          <ac:chgData name="Bullinger, Marvin" userId="5b54ce5a-dc89-476f-af33-5abd75d5b1e8" providerId="ADAL" clId="{B18DB96A-0F1B-4B04-B169-68D0DF683527}" dt="2024-08-09T08:22:22.671" v="11061" actId="478"/>
          <ac:picMkLst>
            <pc:docMk/>
            <pc:sldMk cId="950309191" sldId="653"/>
            <ac:picMk id="4" creationId="{4F8FBCA4-852F-8E3B-8D30-32C8523A77F6}"/>
          </ac:picMkLst>
        </pc:picChg>
        <pc:picChg chg="add mod">
          <ac:chgData name="Bullinger, Marvin" userId="5b54ce5a-dc89-476f-af33-5abd75d5b1e8" providerId="ADAL" clId="{B18DB96A-0F1B-4B04-B169-68D0DF683527}" dt="2024-08-09T08:22:33.864" v="11065" actId="1076"/>
          <ac:picMkLst>
            <pc:docMk/>
            <pc:sldMk cId="950309191" sldId="653"/>
            <ac:picMk id="7" creationId="{A10E0FF7-CDE4-98A6-9CE9-34C22F22893C}"/>
          </ac:picMkLst>
        </pc:picChg>
      </pc:sldChg>
      <pc:sldChg chg="addSp delSp modSp add mod modAnim modNotesTx">
        <pc:chgData name="Bullinger, Marvin" userId="5b54ce5a-dc89-476f-af33-5abd75d5b1e8" providerId="ADAL" clId="{B18DB96A-0F1B-4B04-B169-68D0DF683527}" dt="2024-08-13T15:11:51.150" v="26513" actId="732"/>
        <pc:sldMkLst>
          <pc:docMk/>
          <pc:sldMk cId="407075054" sldId="654"/>
        </pc:sldMkLst>
        <pc:spChg chg="mod">
          <ac:chgData name="Bullinger, Marvin" userId="5b54ce5a-dc89-476f-af33-5abd75d5b1e8" providerId="ADAL" clId="{B18DB96A-0F1B-4B04-B169-68D0DF683527}" dt="2024-08-10T13:09:12.590" v="12085" actId="20577"/>
          <ac:spMkLst>
            <pc:docMk/>
            <pc:sldMk cId="407075054" sldId="654"/>
            <ac:spMk id="44" creationId="{B50F8766-8F11-BFCF-2390-E11E9FEF042F}"/>
          </ac:spMkLst>
        </pc:spChg>
        <pc:spChg chg="mod">
          <ac:chgData name="Bullinger, Marvin" userId="5b54ce5a-dc89-476f-af33-5abd75d5b1e8" providerId="ADAL" clId="{B18DB96A-0F1B-4B04-B169-68D0DF683527}" dt="2024-08-10T19:05:17.317" v="12127" actId="20577"/>
          <ac:spMkLst>
            <pc:docMk/>
            <pc:sldMk cId="407075054" sldId="654"/>
            <ac:spMk id="52" creationId="{EDAB3B68-56A8-4E54-DB7B-7DB8679F2F54}"/>
          </ac:spMkLst>
        </pc:spChg>
        <pc:picChg chg="add mod ord modCrop">
          <ac:chgData name="Bullinger, Marvin" userId="5b54ce5a-dc89-476f-af33-5abd75d5b1e8" providerId="ADAL" clId="{B18DB96A-0F1B-4B04-B169-68D0DF683527}" dt="2024-08-13T15:11:51.150" v="26513" actId="732"/>
          <ac:picMkLst>
            <pc:docMk/>
            <pc:sldMk cId="407075054" sldId="654"/>
            <ac:picMk id="6" creationId="{368D0FF3-029A-93D1-A74E-C9DE0EB078BD}"/>
          </ac:picMkLst>
        </pc:picChg>
        <pc:picChg chg="del">
          <ac:chgData name="Bullinger, Marvin" userId="5b54ce5a-dc89-476f-af33-5abd75d5b1e8" providerId="ADAL" clId="{B18DB96A-0F1B-4B04-B169-68D0DF683527}" dt="2024-08-09T18:39:57.895" v="11359" actId="478"/>
          <ac:picMkLst>
            <pc:docMk/>
            <pc:sldMk cId="407075054" sldId="654"/>
            <ac:picMk id="1026" creationId="{4849655B-34A9-3579-5844-2A4C3A0EF9DB}"/>
          </ac:picMkLst>
        </pc:picChg>
      </pc:sldChg>
      <pc:sldChg chg="new del">
        <pc:chgData name="Bullinger, Marvin" userId="5b54ce5a-dc89-476f-af33-5abd75d5b1e8" providerId="ADAL" clId="{B18DB96A-0F1B-4B04-B169-68D0DF683527}" dt="2024-08-10T12:03:45.373" v="12055" actId="680"/>
        <pc:sldMkLst>
          <pc:docMk/>
          <pc:sldMk cId="1717848149" sldId="655"/>
        </pc:sldMkLst>
      </pc:sldChg>
      <pc:sldChg chg="addSp delSp modSp add mod delAnim modAnim modNotesTx">
        <pc:chgData name="Bullinger, Marvin" userId="5b54ce5a-dc89-476f-af33-5abd75d5b1e8" providerId="ADAL" clId="{B18DB96A-0F1B-4B04-B169-68D0DF683527}" dt="2024-08-13T15:15:32.279" v="26553" actId="1038"/>
        <pc:sldMkLst>
          <pc:docMk/>
          <pc:sldMk cId="3383019256" sldId="655"/>
        </pc:sldMkLst>
        <pc:spChg chg="add del">
          <ac:chgData name="Bullinger, Marvin" userId="5b54ce5a-dc89-476f-af33-5abd75d5b1e8" providerId="ADAL" clId="{B18DB96A-0F1B-4B04-B169-68D0DF683527}" dt="2024-08-10T20:54:21.649" v="12658" actId="478"/>
          <ac:spMkLst>
            <pc:docMk/>
            <pc:sldMk cId="3383019256" sldId="655"/>
            <ac:spMk id="2" creationId="{01386D2B-6E48-379F-1F6B-34CDCAA00277}"/>
          </ac:spMkLst>
        </pc:spChg>
        <pc:spChg chg="add del mod">
          <ac:chgData name="Bullinger, Marvin" userId="5b54ce5a-dc89-476f-af33-5abd75d5b1e8" providerId="ADAL" clId="{B18DB96A-0F1B-4B04-B169-68D0DF683527}" dt="2024-08-11T14:45:08.283" v="12876" actId="478"/>
          <ac:spMkLst>
            <pc:docMk/>
            <pc:sldMk cId="3383019256" sldId="655"/>
            <ac:spMk id="2" creationId="{48013F05-9BA0-E7B4-139C-0F31A3E1FBF1}"/>
          </ac:spMkLst>
        </pc:spChg>
        <pc:spChg chg="add mod">
          <ac:chgData name="Bullinger, Marvin" userId="5b54ce5a-dc89-476f-af33-5abd75d5b1e8" providerId="ADAL" clId="{B18DB96A-0F1B-4B04-B169-68D0DF683527}" dt="2024-08-13T15:15:32.279" v="26553" actId="1038"/>
          <ac:spMkLst>
            <pc:docMk/>
            <pc:sldMk cId="3383019256" sldId="655"/>
            <ac:spMk id="3" creationId="{37597C84-12C5-A483-1BA4-8E9C0F206339}"/>
          </ac:spMkLst>
        </pc:spChg>
        <pc:spChg chg="add del mod">
          <ac:chgData name="Bullinger, Marvin" userId="5b54ce5a-dc89-476f-af33-5abd75d5b1e8" providerId="ADAL" clId="{B18DB96A-0F1B-4B04-B169-68D0DF683527}" dt="2024-08-10T19:10:31.439" v="12184" actId="478"/>
          <ac:spMkLst>
            <pc:docMk/>
            <pc:sldMk cId="3383019256" sldId="655"/>
            <ac:spMk id="3" creationId="{E696020F-27C9-8429-FE86-58F9BAE0F93D}"/>
          </ac:spMkLst>
        </pc:spChg>
        <pc:spChg chg="add mod">
          <ac:chgData name="Bullinger, Marvin" userId="5b54ce5a-dc89-476f-af33-5abd75d5b1e8" providerId="ADAL" clId="{B18DB96A-0F1B-4B04-B169-68D0DF683527}" dt="2024-08-13T15:03:12.641" v="26409" actId="555"/>
          <ac:spMkLst>
            <pc:docMk/>
            <pc:sldMk cId="3383019256" sldId="655"/>
            <ac:spMk id="4" creationId="{A7F3E9B0-F9AF-B69E-2146-DDE635172372}"/>
          </ac:spMkLst>
        </pc:spChg>
        <pc:spChg chg="add mod">
          <ac:chgData name="Bullinger, Marvin" userId="5b54ce5a-dc89-476f-af33-5abd75d5b1e8" providerId="ADAL" clId="{B18DB96A-0F1B-4B04-B169-68D0DF683527}" dt="2024-08-13T15:15:32.279" v="26553" actId="1038"/>
          <ac:spMkLst>
            <pc:docMk/>
            <pc:sldMk cId="3383019256" sldId="655"/>
            <ac:spMk id="5" creationId="{CC8077FB-4F48-C335-2650-42D029955529}"/>
          </ac:spMkLst>
        </pc:spChg>
        <pc:spChg chg="add mod">
          <ac:chgData name="Bullinger, Marvin" userId="5b54ce5a-dc89-476f-af33-5abd75d5b1e8" providerId="ADAL" clId="{B18DB96A-0F1B-4B04-B169-68D0DF683527}" dt="2024-08-11T19:49:42.605" v="14784" actId="1036"/>
          <ac:spMkLst>
            <pc:docMk/>
            <pc:sldMk cId="3383019256" sldId="655"/>
            <ac:spMk id="6" creationId="{F38B3B41-D7AA-9E92-325D-D91380D93106}"/>
          </ac:spMkLst>
        </pc:spChg>
        <pc:spChg chg="add mod">
          <ac:chgData name="Bullinger, Marvin" userId="5b54ce5a-dc89-476f-af33-5abd75d5b1e8" providerId="ADAL" clId="{B18DB96A-0F1B-4B04-B169-68D0DF683527}" dt="2024-08-11T19:51:05.250" v="14799" actId="1076"/>
          <ac:spMkLst>
            <pc:docMk/>
            <pc:sldMk cId="3383019256" sldId="655"/>
            <ac:spMk id="8" creationId="{598CC6B2-B4BE-3704-1B3E-D5299F751956}"/>
          </ac:spMkLst>
        </pc:spChg>
        <pc:spChg chg="add mod">
          <ac:chgData name="Bullinger, Marvin" userId="5b54ce5a-dc89-476f-af33-5abd75d5b1e8" providerId="ADAL" clId="{B18DB96A-0F1B-4B04-B169-68D0DF683527}" dt="2024-08-11T19:49:42.605" v="14784" actId="1036"/>
          <ac:spMkLst>
            <pc:docMk/>
            <pc:sldMk cId="3383019256" sldId="655"/>
            <ac:spMk id="9" creationId="{EABA8451-A17D-5EFD-0AA0-71F582075B7A}"/>
          </ac:spMkLst>
        </pc:spChg>
        <pc:spChg chg="add mod">
          <ac:chgData name="Bullinger, Marvin" userId="5b54ce5a-dc89-476f-af33-5abd75d5b1e8" providerId="ADAL" clId="{B18DB96A-0F1B-4B04-B169-68D0DF683527}" dt="2024-08-11T19:49:42.605" v="14784" actId="1036"/>
          <ac:spMkLst>
            <pc:docMk/>
            <pc:sldMk cId="3383019256" sldId="655"/>
            <ac:spMk id="10" creationId="{04787A89-17B9-E557-5073-C526980168E8}"/>
          </ac:spMkLst>
        </pc:spChg>
        <pc:spChg chg="add del mod">
          <ac:chgData name="Bullinger, Marvin" userId="5b54ce5a-dc89-476f-af33-5abd75d5b1e8" providerId="ADAL" clId="{B18DB96A-0F1B-4B04-B169-68D0DF683527}" dt="2024-08-10T19:21:16.836" v="12656" actId="478"/>
          <ac:spMkLst>
            <pc:docMk/>
            <pc:sldMk cId="3383019256" sldId="655"/>
            <ac:spMk id="18" creationId="{556E9DBC-AA6B-EA08-CEB8-8777DEEFA856}"/>
          </ac:spMkLst>
        </pc:spChg>
        <pc:spChg chg="add del mod">
          <ac:chgData name="Bullinger, Marvin" userId="5b54ce5a-dc89-476f-af33-5abd75d5b1e8" providerId="ADAL" clId="{B18DB96A-0F1B-4B04-B169-68D0DF683527}" dt="2024-08-11T19:52:27.398" v="14809" actId="478"/>
          <ac:spMkLst>
            <pc:docMk/>
            <pc:sldMk cId="3383019256" sldId="655"/>
            <ac:spMk id="34" creationId="{7B3AE9E8-71F2-48FB-0A66-8C4021431158}"/>
          </ac:spMkLst>
        </pc:spChg>
        <pc:spChg chg="mod">
          <ac:chgData name="Bullinger, Marvin" userId="5b54ce5a-dc89-476f-af33-5abd75d5b1e8" providerId="ADAL" clId="{B18DB96A-0F1B-4B04-B169-68D0DF683527}" dt="2024-08-10T19:06:10.751" v="12177" actId="20577"/>
          <ac:spMkLst>
            <pc:docMk/>
            <pc:sldMk cId="3383019256" sldId="655"/>
            <ac:spMk id="43" creationId="{78AB30E4-29AE-D7BC-7C32-A0D804BD65B8}"/>
          </ac:spMkLst>
        </pc:spChg>
        <pc:spChg chg="del">
          <ac:chgData name="Bullinger, Marvin" userId="5b54ce5a-dc89-476f-af33-5abd75d5b1e8" providerId="ADAL" clId="{B18DB96A-0F1B-4B04-B169-68D0DF683527}" dt="2024-08-10T19:05:49.930" v="12129" actId="478"/>
          <ac:spMkLst>
            <pc:docMk/>
            <pc:sldMk cId="3383019256" sldId="655"/>
            <ac:spMk id="44" creationId="{B26C11EE-FA77-127E-0DDF-7F2777A4141A}"/>
          </ac:spMkLst>
        </pc:spChg>
        <pc:graphicFrameChg chg="add del modGraphic">
          <ac:chgData name="Bullinger, Marvin" userId="5b54ce5a-dc89-476f-af33-5abd75d5b1e8" providerId="ADAL" clId="{B18DB96A-0F1B-4B04-B169-68D0DF683527}" dt="2024-08-10T19:09:17.012" v="12179" actId="478"/>
          <ac:graphicFrameMkLst>
            <pc:docMk/>
            <pc:sldMk cId="3383019256" sldId="655"/>
            <ac:graphicFrameMk id="4" creationId="{93C4C25A-BED6-643F-5097-850DAE6119FE}"/>
          </ac:graphicFrameMkLst>
        </pc:graphicFrameChg>
        <pc:graphicFrameChg chg="add del mod modGraphic">
          <ac:chgData name="Bullinger, Marvin" userId="5b54ce5a-dc89-476f-af33-5abd75d5b1e8" providerId="ADAL" clId="{B18DB96A-0F1B-4B04-B169-68D0DF683527}" dt="2024-08-10T19:10:40.578" v="12185" actId="478"/>
          <ac:graphicFrameMkLst>
            <pc:docMk/>
            <pc:sldMk cId="3383019256" sldId="655"/>
            <ac:graphicFrameMk id="5" creationId="{4A3785A3-2072-5957-2B39-CDE461EADAEE}"/>
          </ac:graphicFrameMkLst>
        </pc:graphicFrameChg>
        <pc:picChg chg="add mod modCrop">
          <ac:chgData name="Bullinger, Marvin" userId="5b54ce5a-dc89-476f-af33-5abd75d5b1e8" providerId="ADAL" clId="{B18DB96A-0F1B-4B04-B169-68D0DF683527}" dt="2024-08-13T15:15:32.279" v="26553" actId="1038"/>
          <ac:picMkLst>
            <pc:docMk/>
            <pc:sldMk cId="3383019256" sldId="655"/>
            <ac:picMk id="2" creationId="{D15DBFE7-FB8D-7262-462F-2E2A60F50DF2}"/>
          </ac:picMkLst>
        </pc:picChg>
        <pc:picChg chg="add del mod">
          <ac:chgData name="Bullinger, Marvin" userId="5b54ce5a-dc89-476f-af33-5abd75d5b1e8" providerId="ADAL" clId="{B18DB96A-0F1B-4B04-B169-68D0DF683527}" dt="2024-08-10T20:55:01.932" v="12667" actId="478"/>
          <ac:picMkLst>
            <pc:docMk/>
            <pc:sldMk cId="3383019256" sldId="655"/>
            <ac:picMk id="4" creationId="{8592986E-9681-B990-25B6-0E772ABA4F9A}"/>
          </ac:picMkLst>
        </pc:picChg>
        <pc:picChg chg="del">
          <ac:chgData name="Bullinger, Marvin" userId="5b54ce5a-dc89-476f-af33-5abd75d5b1e8" providerId="ADAL" clId="{B18DB96A-0F1B-4B04-B169-68D0DF683527}" dt="2024-08-10T19:05:38.230" v="12128" actId="478"/>
          <ac:picMkLst>
            <pc:docMk/>
            <pc:sldMk cId="3383019256" sldId="655"/>
            <ac:picMk id="7" creationId="{C727F60B-E82C-B270-E096-2369533FA35A}"/>
          </ac:picMkLst>
        </pc:picChg>
        <pc:picChg chg="add del">
          <ac:chgData name="Bullinger, Marvin" userId="5b54ce5a-dc89-476f-af33-5abd75d5b1e8" providerId="ADAL" clId="{B18DB96A-0F1B-4B04-B169-68D0DF683527}" dt="2024-08-10T20:57:33.154" v="12677" actId="478"/>
          <ac:picMkLst>
            <pc:docMk/>
            <pc:sldMk cId="3383019256" sldId="655"/>
            <ac:picMk id="7" creationId="{F1EE4C9E-F64C-ED67-861D-4C3A294B927A}"/>
          </ac:picMkLst>
        </pc:picChg>
        <pc:picChg chg="add mod">
          <ac:chgData name="Bullinger, Marvin" userId="5b54ce5a-dc89-476f-af33-5abd75d5b1e8" providerId="ADAL" clId="{B18DB96A-0F1B-4B04-B169-68D0DF683527}" dt="2024-08-13T15:15:08.777" v="26537" actId="1076"/>
          <ac:picMkLst>
            <pc:docMk/>
            <pc:sldMk cId="3383019256" sldId="655"/>
            <ac:picMk id="11" creationId="{F19825EF-7EC5-EC48-6A8D-84309949A10F}"/>
          </ac:picMkLst>
        </pc:picChg>
        <pc:picChg chg="add mod">
          <ac:chgData name="Bullinger, Marvin" userId="5b54ce5a-dc89-476f-af33-5abd75d5b1e8" providerId="ADAL" clId="{B18DB96A-0F1B-4B04-B169-68D0DF683527}" dt="2024-08-13T15:15:32.279" v="26553" actId="1038"/>
          <ac:picMkLst>
            <pc:docMk/>
            <pc:sldMk cId="3383019256" sldId="655"/>
            <ac:picMk id="13" creationId="{08E92217-E35C-F7D8-19BF-76526BFDAF07}"/>
          </ac:picMkLst>
        </pc:picChg>
        <pc:cxnChg chg="add del mod">
          <ac:chgData name="Bullinger, Marvin" userId="5b54ce5a-dc89-476f-af33-5abd75d5b1e8" providerId="ADAL" clId="{B18DB96A-0F1B-4B04-B169-68D0DF683527}" dt="2024-08-12T21:31:00.716" v="25395" actId="478"/>
          <ac:cxnSpMkLst>
            <pc:docMk/>
            <pc:sldMk cId="3383019256" sldId="655"/>
            <ac:cxnSpMk id="3" creationId="{0A87736D-1761-E653-C469-6A062CA381E9}"/>
          </ac:cxnSpMkLst>
        </pc:cxnChg>
        <pc:cxnChg chg="add del mod">
          <ac:chgData name="Bullinger, Marvin" userId="5b54ce5a-dc89-476f-af33-5abd75d5b1e8" providerId="ADAL" clId="{B18DB96A-0F1B-4B04-B169-68D0DF683527}" dt="2024-08-12T21:31:00.716" v="25395" actId="478"/>
          <ac:cxnSpMkLst>
            <pc:docMk/>
            <pc:sldMk cId="3383019256" sldId="655"/>
            <ac:cxnSpMk id="4" creationId="{74EE4CCE-5A81-04C5-C2C6-059F50BC22E3}"/>
          </ac:cxnSpMkLst>
        </pc:cxnChg>
        <pc:cxnChg chg="add del mod">
          <ac:chgData name="Bullinger, Marvin" userId="5b54ce5a-dc89-476f-af33-5abd75d5b1e8" providerId="ADAL" clId="{B18DB96A-0F1B-4B04-B169-68D0DF683527}" dt="2024-08-12T21:31:00.716" v="25395" actId="478"/>
          <ac:cxnSpMkLst>
            <pc:docMk/>
            <pc:sldMk cId="3383019256" sldId="655"/>
            <ac:cxnSpMk id="5" creationId="{10E000DE-6DA9-E5A9-B407-EE1C95FFCCFB}"/>
          </ac:cxnSpMkLst>
        </pc:cxnChg>
        <pc:cxnChg chg="add del mod">
          <ac:chgData name="Bullinger, Marvin" userId="5b54ce5a-dc89-476f-af33-5abd75d5b1e8" providerId="ADAL" clId="{B18DB96A-0F1B-4B04-B169-68D0DF683527}" dt="2024-08-12T21:31:00.716" v="25395" actId="478"/>
          <ac:cxnSpMkLst>
            <pc:docMk/>
            <pc:sldMk cId="3383019256" sldId="655"/>
            <ac:cxnSpMk id="7" creationId="{5CA59068-B0CB-4BC5-87C0-89EB8D280894}"/>
          </ac:cxnSpMkLst>
        </pc:cxnChg>
        <pc:cxnChg chg="add mod">
          <ac:chgData name="Bullinger, Marvin" userId="5b54ce5a-dc89-476f-af33-5abd75d5b1e8" providerId="ADAL" clId="{B18DB96A-0F1B-4B04-B169-68D0DF683527}" dt="2024-08-11T19:51:05.250" v="14799" actId="1076"/>
          <ac:cxnSpMkLst>
            <pc:docMk/>
            <pc:sldMk cId="3383019256" sldId="655"/>
            <ac:cxnSpMk id="12" creationId="{9D023A9A-BED3-EFEF-72FD-72C0B034770B}"/>
          </ac:cxnSpMkLst>
        </pc:cxnChg>
        <pc:cxnChg chg="add del mod">
          <ac:chgData name="Bullinger, Marvin" userId="5b54ce5a-dc89-476f-af33-5abd75d5b1e8" providerId="ADAL" clId="{B18DB96A-0F1B-4B04-B169-68D0DF683527}" dt="2024-08-12T21:31:00.716" v="25395" actId="478"/>
          <ac:cxnSpMkLst>
            <pc:docMk/>
            <pc:sldMk cId="3383019256" sldId="655"/>
            <ac:cxnSpMk id="14" creationId="{26BAC933-F164-C05B-DECC-90433CEE0415}"/>
          </ac:cxnSpMkLst>
        </pc:cxnChg>
        <pc:cxnChg chg="add del mod">
          <ac:chgData name="Bullinger, Marvin" userId="5b54ce5a-dc89-476f-af33-5abd75d5b1e8" providerId="ADAL" clId="{B18DB96A-0F1B-4B04-B169-68D0DF683527}" dt="2024-08-12T21:31:00.716" v="25395" actId="478"/>
          <ac:cxnSpMkLst>
            <pc:docMk/>
            <pc:sldMk cId="3383019256" sldId="655"/>
            <ac:cxnSpMk id="15" creationId="{62B573AD-A89C-0BC9-50E3-7B49AF47AC41}"/>
          </ac:cxnSpMkLst>
        </pc:cxnChg>
        <pc:cxnChg chg="add mod">
          <ac:chgData name="Bullinger, Marvin" userId="5b54ce5a-dc89-476f-af33-5abd75d5b1e8" providerId="ADAL" clId="{B18DB96A-0F1B-4B04-B169-68D0DF683527}" dt="2024-08-11T19:49:42.605" v="14784" actId="1036"/>
          <ac:cxnSpMkLst>
            <pc:docMk/>
            <pc:sldMk cId="3383019256" sldId="655"/>
            <ac:cxnSpMk id="16" creationId="{59411033-1DE3-36B7-EC10-07BA273F55CD}"/>
          </ac:cxnSpMkLst>
        </pc:cxnChg>
        <pc:cxnChg chg="add mod">
          <ac:chgData name="Bullinger, Marvin" userId="5b54ce5a-dc89-476f-af33-5abd75d5b1e8" providerId="ADAL" clId="{B18DB96A-0F1B-4B04-B169-68D0DF683527}" dt="2024-08-11T19:49:42.605" v="14784" actId="1036"/>
          <ac:cxnSpMkLst>
            <pc:docMk/>
            <pc:sldMk cId="3383019256" sldId="655"/>
            <ac:cxnSpMk id="17" creationId="{C5354B8C-9E3E-6680-B3BD-951EB9535FCC}"/>
          </ac:cxnSpMkLst>
        </pc:cxnChg>
        <pc:cxnChg chg="add del mod">
          <ac:chgData name="Bullinger, Marvin" userId="5b54ce5a-dc89-476f-af33-5abd75d5b1e8" providerId="ADAL" clId="{B18DB96A-0F1B-4B04-B169-68D0DF683527}" dt="2024-08-12T21:31:00.716" v="25395" actId="478"/>
          <ac:cxnSpMkLst>
            <pc:docMk/>
            <pc:sldMk cId="3383019256" sldId="655"/>
            <ac:cxnSpMk id="18" creationId="{7A864FDE-7666-0A38-6CFB-107559A48BE1}"/>
          </ac:cxnSpMkLst>
        </pc:cxnChg>
        <pc:cxnChg chg="add del mod">
          <ac:chgData name="Bullinger, Marvin" userId="5b54ce5a-dc89-476f-af33-5abd75d5b1e8" providerId="ADAL" clId="{B18DB96A-0F1B-4B04-B169-68D0DF683527}" dt="2024-08-12T21:31:00.716" v="25395" actId="478"/>
          <ac:cxnSpMkLst>
            <pc:docMk/>
            <pc:sldMk cId="3383019256" sldId="655"/>
            <ac:cxnSpMk id="19" creationId="{9F44B650-5847-DA36-A546-954791F28DA5}"/>
          </ac:cxnSpMkLst>
        </pc:cxnChg>
        <pc:cxnChg chg="add del mod">
          <ac:chgData name="Bullinger, Marvin" userId="5b54ce5a-dc89-476f-af33-5abd75d5b1e8" providerId="ADAL" clId="{B18DB96A-0F1B-4B04-B169-68D0DF683527}" dt="2024-08-12T21:31:00.716" v="25395" actId="478"/>
          <ac:cxnSpMkLst>
            <pc:docMk/>
            <pc:sldMk cId="3383019256" sldId="655"/>
            <ac:cxnSpMk id="20" creationId="{5730F0E2-4E80-4768-DF99-460840C4509A}"/>
          </ac:cxnSpMkLst>
        </pc:cxnChg>
        <pc:cxnChg chg="add del mod">
          <ac:chgData name="Bullinger, Marvin" userId="5b54ce5a-dc89-476f-af33-5abd75d5b1e8" providerId="ADAL" clId="{B18DB96A-0F1B-4B04-B169-68D0DF683527}" dt="2024-08-12T21:31:00.716" v="25395" actId="478"/>
          <ac:cxnSpMkLst>
            <pc:docMk/>
            <pc:sldMk cId="3383019256" sldId="655"/>
            <ac:cxnSpMk id="21" creationId="{BC3780D9-9346-EED9-A47C-46252E440DF5}"/>
          </ac:cxnSpMkLst>
        </pc:cxnChg>
        <pc:cxnChg chg="add del mod">
          <ac:chgData name="Bullinger, Marvin" userId="5b54ce5a-dc89-476f-af33-5abd75d5b1e8" providerId="ADAL" clId="{B18DB96A-0F1B-4B04-B169-68D0DF683527}" dt="2024-08-11T19:51:56.931" v="14804" actId="478"/>
          <ac:cxnSpMkLst>
            <pc:docMk/>
            <pc:sldMk cId="3383019256" sldId="655"/>
            <ac:cxnSpMk id="23" creationId="{82108BE3-5AD6-0199-FBD7-B5AA1325A5C9}"/>
          </ac:cxnSpMkLst>
        </pc:cxnChg>
        <pc:cxnChg chg="add del mod">
          <ac:chgData name="Bullinger, Marvin" userId="5b54ce5a-dc89-476f-af33-5abd75d5b1e8" providerId="ADAL" clId="{B18DB96A-0F1B-4B04-B169-68D0DF683527}" dt="2024-08-11T19:51:56.931" v="14804" actId="478"/>
          <ac:cxnSpMkLst>
            <pc:docMk/>
            <pc:sldMk cId="3383019256" sldId="655"/>
            <ac:cxnSpMk id="24" creationId="{38624977-D93A-1BF7-A5EC-BED3D3C7C38A}"/>
          </ac:cxnSpMkLst>
        </pc:cxnChg>
        <pc:cxnChg chg="add del mod">
          <ac:chgData name="Bullinger, Marvin" userId="5b54ce5a-dc89-476f-af33-5abd75d5b1e8" providerId="ADAL" clId="{B18DB96A-0F1B-4B04-B169-68D0DF683527}" dt="2024-08-11T19:51:56.931" v="14804" actId="478"/>
          <ac:cxnSpMkLst>
            <pc:docMk/>
            <pc:sldMk cId="3383019256" sldId="655"/>
            <ac:cxnSpMk id="25" creationId="{59753562-BFD6-AF97-B568-A5210A23EAAC}"/>
          </ac:cxnSpMkLst>
        </pc:cxnChg>
        <pc:cxnChg chg="add del mod">
          <ac:chgData name="Bullinger, Marvin" userId="5b54ce5a-dc89-476f-af33-5abd75d5b1e8" providerId="ADAL" clId="{B18DB96A-0F1B-4B04-B169-68D0DF683527}" dt="2024-08-11T19:51:56.931" v="14804" actId="478"/>
          <ac:cxnSpMkLst>
            <pc:docMk/>
            <pc:sldMk cId="3383019256" sldId="655"/>
            <ac:cxnSpMk id="26" creationId="{D85BCAFE-B254-5DDF-08BA-33E8612BD1F3}"/>
          </ac:cxnSpMkLst>
        </pc:cxnChg>
        <pc:cxnChg chg="add del mod">
          <ac:chgData name="Bullinger, Marvin" userId="5b54ce5a-dc89-476f-af33-5abd75d5b1e8" providerId="ADAL" clId="{B18DB96A-0F1B-4B04-B169-68D0DF683527}" dt="2024-08-11T19:51:56.931" v="14804" actId="478"/>
          <ac:cxnSpMkLst>
            <pc:docMk/>
            <pc:sldMk cId="3383019256" sldId="655"/>
            <ac:cxnSpMk id="28" creationId="{3A117665-1E93-24ED-7EFD-5EA254C32CB3}"/>
          </ac:cxnSpMkLst>
        </pc:cxnChg>
        <pc:cxnChg chg="add del mod">
          <ac:chgData name="Bullinger, Marvin" userId="5b54ce5a-dc89-476f-af33-5abd75d5b1e8" providerId="ADAL" clId="{B18DB96A-0F1B-4B04-B169-68D0DF683527}" dt="2024-08-11T19:51:56.931" v="14804" actId="478"/>
          <ac:cxnSpMkLst>
            <pc:docMk/>
            <pc:sldMk cId="3383019256" sldId="655"/>
            <ac:cxnSpMk id="29" creationId="{35C24744-D7B6-92BD-6B3F-0158F25F50A5}"/>
          </ac:cxnSpMkLst>
        </pc:cxnChg>
        <pc:cxnChg chg="add del mod">
          <ac:chgData name="Bullinger, Marvin" userId="5b54ce5a-dc89-476f-af33-5abd75d5b1e8" providerId="ADAL" clId="{B18DB96A-0F1B-4B04-B169-68D0DF683527}" dt="2024-08-11T19:51:56.931" v="14804" actId="478"/>
          <ac:cxnSpMkLst>
            <pc:docMk/>
            <pc:sldMk cId="3383019256" sldId="655"/>
            <ac:cxnSpMk id="30" creationId="{A5F7B5F0-7521-A405-933E-D0379863AEF3}"/>
          </ac:cxnSpMkLst>
        </pc:cxnChg>
        <pc:cxnChg chg="add del mod">
          <ac:chgData name="Bullinger, Marvin" userId="5b54ce5a-dc89-476f-af33-5abd75d5b1e8" providerId="ADAL" clId="{B18DB96A-0F1B-4B04-B169-68D0DF683527}" dt="2024-08-11T19:51:56.931" v="14804" actId="478"/>
          <ac:cxnSpMkLst>
            <pc:docMk/>
            <pc:sldMk cId="3383019256" sldId="655"/>
            <ac:cxnSpMk id="31" creationId="{0CCE629E-1553-5F1A-A4F3-9A648C16C0B1}"/>
          </ac:cxnSpMkLst>
        </pc:cxnChg>
        <pc:cxnChg chg="add del mod">
          <ac:chgData name="Bullinger, Marvin" userId="5b54ce5a-dc89-476f-af33-5abd75d5b1e8" providerId="ADAL" clId="{B18DB96A-0F1B-4B04-B169-68D0DF683527}" dt="2024-08-11T19:51:56.931" v="14804" actId="478"/>
          <ac:cxnSpMkLst>
            <pc:docMk/>
            <pc:sldMk cId="3383019256" sldId="655"/>
            <ac:cxnSpMk id="32" creationId="{D6B2AB1A-D4EE-AF00-BF9C-8DC03F81E020}"/>
          </ac:cxnSpMkLst>
        </pc:cxnChg>
        <pc:cxnChg chg="add del mod">
          <ac:chgData name="Bullinger, Marvin" userId="5b54ce5a-dc89-476f-af33-5abd75d5b1e8" providerId="ADAL" clId="{B18DB96A-0F1B-4B04-B169-68D0DF683527}" dt="2024-08-11T19:51:56.931" v="14804" actId="478"/>
          <ac:cxnSpMkLst>
            <pc:docMk/>
            <pc:sldMk cId="3383019256" sldId="655"/>
            <ac:cxnSpMk id="33" creationId="{2FDD933A-5F5E-359A-2CEA-0CCA659EB7C8}"/>
          </ac:cxnSpMkLst>
        </pc:cxnChg>
      </pc:sldChg>
      <pc:sldChg chg="new del">
        <pc:chgData name="Bullinger, Marvin" userId="5b54ce5a-dc89-476f-af33-5abd75d5b1e8" providerId="ADAL" clId="{B18DB96A-0F1B-4B04-B169-68D0DF683527}" dt="2024-08-10T11:22:26.166" v="12053" actId="680"/>
        <pc:sldMkLst>
          <pc:docMk/>
          <pc:sldMk cId="3667076966" sldId="655"/>
        </pc:sldMkLst>
      </pc:sldChg>
      <pc:sldChg chg="addSp delSp modSp add del mod modTransition addAnim delAnim">
        <pc:chgData name="Bullinger, Marvin" userId="5b54ce5a-dc89-476f-af33-5abd75d5b1e8" providerId="ADAL" clId="{B18DB96A-0F1B-4B04-B169-68D0DF683527}" dt="2024-08-11T14:39:23.026" v="12769" actId="47"/>
        <pc:sldMkLst>
          <pc:docMk/>
          <pc:sldMk cId="1685760646" sldId="656"/>
        </pc:sldMkLst>
        <pc:spChg chg="mod">
          <ac:chgData name="Bullinger, Marvin" userId="5b54ce5a-dc89-476f-af33-5abd75d5b1e8" providerId="ADAL" clId="{B18DB96A-0F1B-4B04-B169-68D0DF683527}" dt="2024-08-11T14:38:17.096" v="12763" actId="20577"/>
          <ac:spMkLst>
            <pc:docMk/>
            <pc:sldMk cId="1685760646" sldId="656"/>
            <ac:spMk id="44" creationId="{B26C11EE-FA77-127E-0DDF-7F2777A4141A}"/>
          </ac:spMkLst>
        </pc:spChg>
        <pc:picChg chg="add del mod">
          <ac:chgData name="Bullinger, Marvin" userId="5b54ce5a-dc89-476f-af33-5abd75d5b1e8" providerId="ADAL" clId="{B18DB96A-0F1B-4B04-B169-68D0DF683527}" dt="2024-08-11T14:39:16.150" v="12768" actId="478"/>
          <ac:picMkLst>
            <pc:docMk/>
            <pc:sldMk cId="1685760646" sldId="656"/>
            <ac:picMk id="7" creationId="{C727F60B-E82C-B270-E096-2369533FA35A}"/>
          </ac:picMkLst>
        </pc:picChg>
      </pc:sldChg>
      <pc:sldChg chg="addSp modSp new mod">
        <pc:chgData name="Bullinger, Marvin" userId="5b54ce5a-dc89-476f-af33-5abd75d5b1e8" providerId="ADAL" clId="{B18DB96A-0F1B-4B04-B169-68D0DF683527}" dt="2024-08-13T14:41:58.296" v="26296" actId="1076"/>
        <pc:sldMkLst>
          <pc:docMk/>
          <pc:sldMk cId="1995518795" sldId="656"/>
        </pc:sldMkLst>
        <pc:spChg chg="mod">
          <ac:chgData name="Bullinger, Marvin" userId="5b54ce5a-dc89-476f-af33-5abd75d5b1e8" providerId="ADAL" clId="{B18DB96A-0F1B-4B04-B169-68D0DF683527}" dt="2024-08-13T14:37:00.144" v="26238" actId="20577"/>
          <ac:spMkLst>
            <pc:docMk/>
            <pc:sldMk cId="1995518795" sldId="656"/>
            <ac:spMk id="2" creationId="{5DD45D90-F62E-D77F-DB9F-9BA6AD382F67}"/>
          </ac:spMkLst>
        </pc:spChg>
        <pc:spChg chg="mod">
          <ac:chgData name="Bullinger, Marvin" userId="5b54ce5a-dc89-476f-af33-5abd75d5b1e8" providerId="ADAL" clId="{B18DB96A-0F1B-4B04-B169-68D0DF683527}" dt="2024-08-13T14:37:07.310" v="26256" actId="20577"/>
          <ac:spMkLst>
            <pc:docMk/>
            <pc:sldMk cId="1995518795" sldId="656"/>
            <ac:spMk id="3" creationId="{FB3B2388-07A8-91DE-C330-1CD97219E162}"/>
          </ac:spMkLst>
        </pc:spChg>
        <pc:picChg chg="add mod">
          <ac:chgData name="Bullinger, Marvin" userId="5b54ce5a-dc89-476f-af33-5abd75d5b1e8" providerId="ADAL" clId="{B18DB96A-0F1B-4B04-B169-68D0DF683527}" dt="2024-08-13T14:41:58.296" v="26296" actId="1076"/>
          <ac:picMkLst>
            <pc:docMk/>
            <pc:sldMk cId="1995518795" sldId="656"/>
            <ac:picMk id="7" creationId="{CB2DE865-C5C9-0F48-569B-787F91F0577F}"/>
          </ac:picMkLst>
        </pc:picChg>
      </pc:sldChg>
      <pc:sldChg chg="addSp delSp modSp add mod">
        <pc:chgData name="Bullinger, Marvin" userId="5b54ce5a-dc89-476f-af33-5abd75d5b1e8" providerId="ADAL" clId="{B18DB96A-0F1B-4B04-B169-68D0DF683527}" dt="2024-08-10T20:57:17.295" v="12676" actId="12788"/>
        <pc:sldMkLst>
          <pc:docMk/>
          <pc:sldMk cId="3832929857" sldId="656"/>
        </pc:sldMkLst>
        <pc:spChg chg="del">
          <ac:chgData name="Bullinger, Marvin" userId="5b54ce5a-dc89-476f-af33-5abd75d5b1e8" providerId="ADAL" clId="{B18DB96A-0F1B-4B04-B169-68D0DF683527}" dt="2024-08-10T20:56:56.985" v="12671" actId="478"/>
          <ac:spMkLst>
            <pc:docMk/>
            <pc:sldMk cId="3832929857" sldId="656"/>
            <ac:spMk id="6" creationId="{F38B3B41-D7AA-9E92-325D-D91380D93106}"/>
          </ac:spMkLst>
        </pc:spChg>
        <pc:spChg chg="del">
          <ac:chgData name="Bullinger, Marvin" userId="5b54ce5a-dc89-476f-af33-5abd75d5b1e8" providerId="ADAL" clId="{B18DB96A-0F1B-4B04-B169-68D0DF683527}" dt="2024-08-10T20:56:56.985" v="12671" actId="478"/>
          <ac:spMkLst>
            <pc:docMk/>
            <pc:sldMk cId="3832929857" sldId="656"/>
            <ac:spMk id="8" creationId="{598CC6B2-B4BE-3704-1B3E-D5299F751956}"/>
          </ac:spMkLst>
        </pc:spChg>
        <pc:spChg chg="del">
          <ac:chgData name="Bullinger, Marvin" userId="5b54ce5a-dc89-476f-af33-5abd75d5b1e8" providerId="ADAL" clId="{B18DB96A-0F1B-4B04-B169-68D0DF683527}" dt="2024-08-10T20:56:56.985" v="12671" actId="478"/>
          <ac:spMkLst>
            <pc:docMk/>
            <pc:sldMk cId="3832929857" sldId="656"/>
            <ac:spMk id="9" creationId="{EABA8451-A17D-5EFD-0AA0-71F582075B7A}"/>
          </ac:spMkLst>
        </pc:spChg>
        <pc:spChg chg="del">
          <ac:chgData name="Bullinger, Marvin" userId="5b54ce5a-dc89-476f-af33-5abd75d5b1e8" providerId="ADAL" clId="{B18DB96A-0F1B-4B04-B169-68D0DF683527}" dt="2024-08-10T20:56:56.985" v="12671" actId="478"/>
          <ac:spMkLst>
            <pc:docMk/>
            <pc:sldMk cId="3832929857" sldId="656"/>
            <ac:spMk id="10" creationId="{04787A89-17B9-E557-5073-C526980168E8}"/>
          </ac:spMkLst>
        </pc:spChg>
        <pc:picChg chg="add mod">
          <ac:chgData name="Bullinger, Marvin" userId="5b54ce5a-dc89-476f-af33-5abd75d5b1e8" providerId="ADAL" clId="{B18DB96A-0F1B-4B04-B169-68D0DF683527}" dt="2024-08-10T20:57:17.295" v="12676" actId="12788"/>
          <ac:picMkLst>
            <pc:docMk/>
            <pc:sldMk cId="3832929857" sldId="656"/>
            <ac:picMk id="2" creationId="{CEFFF082-B78C-AA0F-1339-996B07029EA0}"/>
          </ac:picMkLst>
        </pc:picChg>
        <pc:picChg chg="del">
          <ac:chgData name="Bullinger, Marvin" userId="5b54ce5a-dc89-476f-af33-5abd75d5b1e8" providerId="ADAL" clId="{B18DB96A-0F1B-4B04-B169-68D0DF683527}" dt="2024-08-10T20:56:52.994" v="12670" actId="478"/>
          <ac:picMkLst>
            <pc:docMk/>
            <pc:sldMk cId="3832929857" sldId="656"/>
            <ac:picMk id="7" creationId="{F1EE4C9E-F64C-ED67-861D-4C3A294B927A}"/>
          </ac:picMkLst>
        </pc:picChg>
        <pc:cxnChg chg="del mod">
          <ac:chgData name="Bullinger, Marvin" userId="5b54ce5a-dc89-476f-af33-5abd75d5b1e8" providerId="ADAL" clId="{B18DB96A-0F1B-4B04-B169-68D0DF683527}" dt="2024-08-10T20:56:56.985" v="12671" actId="478"/>
          <ac:cxnSpMkLst>
            <pc:docMk/>
            <pc:sldMk cId="3832929857" sldId="656"/>
            <ac:cxnSpMk id="12" creationId="{9D023A9A-BED3-EFEF-72FD-72C0B034770B}"/>
          </ac:cxnSpMkLst>
        </pc:cxnChg>
        <pc:cxnChg chg="del">
          <ac:chgData name="Bullinger, Marvin" userId="5b54ce5a-dc89-476f-af33-5abd75d5b1e8" providerId="ADAL" clId="{B18DB96A-0F1B-4B04-B169-68D0DF683527}" dt="2024-08-10T20:56:56.985" v="12671" actId="478"/>
          <ac:cxnSpMkLst>
            <pc:docMk/>
            <pc:sldMk cId="3832929857" sldId="656"/>
            <ac:cxnSpMk id="16" creationId="{59411033-1DE3-36B7-EC10-07BA273F55CD}"/>
          </ac:cxnSpMkLst>
        </pc:cxnChg>
        <pc:cxnChg chg="del">
          <ac:chgData name="Bullinger, Marvin" userId="5b54ce5a-dc89-476f-af33-5abd75d5b1e8" providerId="ADAL" clId="{B18DB96A-0F1B-4B04-B169-68D0DF683527}" dt="2024-08-10T20:56:56.985" v="12671" actId="478"/>
          <ac:cxnSpMkLst>
            <pc:docMk/>
            <pc:sldMk cId="3832929857" sldId="656"/>
            <ac:cxnSpMk id="17" creationId="{C5354B8C-9E3E-6680-B3BD-951EB9535FCC}"/>
          </ac:cxnSpMkLst>
        </pc:cxnChg>
      </pc:sldChg>
      <pc:sldChg chg="addSp delSp modSp new mod">
        <pc:chgData name="Bullinger, Marvin" userId="5b54ce5a-dc89-476f-af33-5abd75d5b1e8" providerId="ADAL" clId="{B18DB96A-0F1B-4B04-B169-68D0DF683527}" dt="2024-08-13T15:00:26.843" v="26381" actId="20577"/>
        <pc:sldMkLst>
          <pc:docMk/>
          <pc:sldMk cId="2040393096" sldId="657"/>
        </pc:sldMkLst>
        <pc:spChg chg="mod">
          <ac:chgData name="Bullinger, Marvin" userId="5b54ce5a-dc89-476f-af33-5abd75d5b1e8" providerId="ADAL" clId="{B18DB96A-0F1B-4B04-B169-68D0DF683527}" dt="2024-08-13T14:59:30.070" v="26322" actId="20577"/>
          <ac:spMkLst>
            <pc:docMk/>
            <pc:sldMk cId="2040393096" sldId="657"/>
            <ac:spMk id="2" creationId="{6CB24F72-6599-C76F-DC28-680F3B5CFF16}"/>
          </ac:spMkLst>
        </pc:spChg>
        <pc:spChg chg="del">
          <ac:chgData name="Bullinger, Marvin" userId="5b54ce5a-dc89-476f-af33-5abd75d5b1e8" providerId="ADAL" clId="{B18DB96A-0F1B-4B04-B169-68D0DF683527}" dt="2024-08-13T14:59:20.519" v="26300" actId="478"/>
          <ac:spMkLst>
            <pc:docMk/>
            <pc:sldMk cId="2040393096" sldId="657"/>
            <ac:spMk id="3" creationId="{15574BF4-2E85-E7C4-E988-590D7CB3C4FD}"/>
          </ac:spMkLst>
        </pc:spChg>
        <pc:spChg chg="mod">
          <ac:chgData name="Bullinger, Marvin" userId="5b54ce5a-dc89-476f-af33-5abd75d5b1e8" providerId="ADAL" clId="{B18DB96A-0F1B-4B04-B169-68D0DF683527}" dt="2024-08-13T14:59:38.410" v="26338" actId="20577"/>
          <ac:spMkLst>
            <pc:docMk/>
            <pc:sldMk cId="2040393096" sldId="657"/>
            <ac:spMk id="4" creationId="{9CED7E75-957E-970B-69D8-2D36C7215C0A}"/>
          </ac:spMkLst>
        </pc:spChg>
        <pc:spChg chg="del">
          <ac:chgData name="Bullinger, Marvin" userId="5b54ce5a-dc89-476f-af33-5abd75d5b1e8" providerId="ADAL" clId="{B18DB96A-0F1B-4B04-B169-68D0DF683527}" dt="2024-08-13T14:59:22.656" v="26301" actId="478"/>
          <ac:spMkLst>
            <pc:docMk/>
            <pc:sldMk cId="2040393096" sldId="657"/>
            <ac:spMk id="5" creationId="{672C7AED-DBD6-E942-1750-ACAB0A8FB6AC}"/>
          </ac:spMkLst>
        </pc:spChg>
        <pc:spChg chg="add mod">
          <ac:chgData name="Bullinger, Marvin" userId="5b54ce5a-dc89-476f-af33-5abd75d5b1e8" providerId="ADAL" clId="{B18DB96A-0F1B-4B04-B169-68D0DF683527}" dt="2024-08-13T15:00:26.843" v="26381" actId="20577"/>
          <ac:spMkLst>
            <pc:docMk/>
            <pc:sldMk cId="2040393096" sldId="657"/>
            <ac:spMk id="9" creationId="{EC310BBB-3F40-8609-129F-03A6FA206010}"/>
          </ac:spMkLst>
        </pc:spChg>
        <pc:picChg chg="add mod">
          <ac:chgData name="Bullinger, Marvin" userId="5b54ce5a-dc89-476f-af33-5abd75d5b1e8" providerId="ADAL" clId="{B18DB96A-0F1B-4B04-B169-68D0DF683527}" dt="2024-08-13T14:59:24.257" v="26302" actId="1076"/>
          <ac:picMkLst>
            <pc:docMk/>
            <pc:sldMk cId="2040393096" sldId="657"/>
            <ac:picMk id="8" creationId="{EE75046D-F8F3-0613-3BB8-C1ECCDC878C4}"/>
          </ac:picMkLst>
        </pc:picChg>
      </pc:sldChg>
      <pc:sldMasterChg chg="modSldLayout">
        <pc:chgData name="Bullinger, Marvin" userId="5b54ce5a-dc89-476f-af33-5abd75d5b1e8" providerId="ADAL" clId="{B18DB96A-0F1B-4B04-B169-68D0DF683527}" dt="2024-08-08T22:17:26.963" v="10154" actId="1036"/>
        <pc:sldMasterMkLst>
          <pc:docMk/>
          <pc:sldMasterMk cId="2846167297" sldId="2147483677"/>
        </pc:sldMasterMkLst>
        <pc:sldLayoutChg chg="addSp delSp modSp mod">
          <pc:chgData name="Bullinger, Marvin" userId="5b54ce5a-dc89-476f-af33-5abd75d5b1e8" providerId="ADAL" clId="{B18DB96A-0F1B-4B04-B169-68D0DF683527}" dt="2024-08-08T22:00:18.359" v="9968"/>
          <pc:sldLayoutMkLst>
            <pc:docMk/>
            <pc:sldMasterMk cId="2846167297" sldId="2147483677"/>
            <pc:sldLayoutMk cId="2552064348" sldId="2147483679"/>
          </pc:sldLayoutMkLst>
          <pc:picChg chg="add mod">
            <ac:chgData name="Bullinger, Marvin" userId="5b54ce5a-dc89-476f-af33-5abd75d5b1e8" providerId="ADAL" clId="{B18DB96A-0F1B-4B04-B169-68D0DF683527}" dt="2024-08-08T22:00:18.359" v="9968"/>
            <ac:picMkLst>
              <pc:docMk/>
              <pc:sldMasterMk cId="2846167297" sldId="2147483677"/>
              <pc:sldLayoutMk cId="2552064348" sldId="2147483679"/>
              <ac:picMk id="3" creationId="{D49E552E-0E37-257B-60EB-07659DC55A67}"/>
            </ac:picMkLst>
          </pc:picChg>
          <pc:picChg chg="del">
            <ac:chgData name="Bullinger, Marvin" userId="5b54ce5a-dc89-476f-af33-5abd75d5b1e8" providerId="ADAL" clId="{B18DB96A-0F1B-4B04-B169-68D0DF683527}" dt="2024-08-08T22:00:17.999" v="9967" actId="478"/>
            <ac:picMkLst>
              <pc:docMk/>
              <pc:sldMasterMk cId="2846167297" sldId="2147483677"/>
              <pc:sldLayoutMk cId="2552064348" sldId="2147483679"/>
              <ac:picMk id="4" creationId="{E77897C7-512E-9BBE-0513-C8232D5D7231}"/>
            </ac:picMkLst>
          </pc:picChg>
          <pc:picChg chg="add mod">
            <ac:chgData name="Bullinger, Marvin" userId="5b54ce5a-dc89-476f-af33-5abd75d5b1e8" providerId="ADAL" clId="{B18DB96A-0F1B-4B04-B169-68D0DF683527}" dt="2024-08-08T22:00:18.359" v="9968"/>
            <ac:picMkLst>
              <pc:docMk/>
              <pc:sldMasterMk cId="2846167297" sldId="2147483677"/>
              <pc:sldLayoutMk cId="2552064348" sldId="2147483679"/>
              <ac:picMk id="5" creationId="{181F5CC1-9D79-69E2-3A17-B3C178477F50}"/>
            </ac:picMkLst>
          </pc:picChg>
        </pc:sldLayoutChg>
        <pc:sldLayoutChg chg="addSp delSp modSp mod">
          <pc:chgData name="Bullinger, Marvin" userId="5b54ce5a-dc89-476f-af33-5abd75d5b1e8" providerId="ADAL" clId="{B18DB96A-0F1B-4B04-B169-68D0DF683527}" dt="2024-08-08T22:00:22.837" v="9970"/>
          <pc:sldLayoutMkLst>
            <pc:docMk/>
            <pc:sldMasterMk cId="2846167297" sldId="2147483677"/>
            <pc:sldLayoutMk cId="3747579019" sldId="2147483680"/>
          </pc:sldLayoutMkLst>
          <pc:picChg chg="del">
            <ac:chgData name="Bullinger, Marvin" userId="5b54ce5a-dc89-476f-af33-5abd75d5b1e8" providerId="ADAL" clId="{B18DB96A-0F1B-4B04-B169-68D0DF683527}" dt="2024-08-08T22:00:22.482" v="9969" actId="478"/>
            <ac:picMkLst>
              <pc:docMk/>
              <pc:sldMasterMk cId="2846167297" sldId="2147483677"/>
              <pc:sldLayoutMk cId="3747579019" sldId="2147483680"/>
              <ac:picMk id="4" creationId="{13716D5F-9793-2331-7ACF-0E7477322434}"/>
            </ac:picMkLst>
          </pc:picChg>
          <pc:picChg chg="add mod">
            <ac:chgData name="Bullinger, Marvin" userId="5b54ce5a-dc89-476f-af33-5abd75d5b1e8" providerId="ADAL" clId="{B18DB96A-0F1B-4B04-B169-68D0DF683527}" dt="2024-08-08T22:00:22.837" v="9970"/>
            <ac:picMkLst>
              <pc:docMk/>
              <pc:sldMasterMk cId="2846167297" sldId="2147483677"/>
              <pc:sldLayoutMk cId="3747579019" sldId="2147483680"/>
              <ac:picMk id="5" creationId="{E9504846-CABC-5DF5-6D5B-54416E3ED6F1}"/>
            </ac:picMkLst>
          </pc:picChg>
          <pc:picChg chg="add mod">
            <ac:chgData name="Bullinger, Marvin" userId="5b54ce5a-dc89-476f-af33-5abd75d5b1e8" providerId="ADAL" clId="{B18DB96A-0F1B-4B04-B169-68D0DF683527}" dt="2024-08-08T22:00:22.837" v="9970"/>
            <ac:picMkLst>
              <pc:docMk/>
              <pc:sldMasterMk cId="2846167297" sldId="2147483677"/>
              <pc:sldLayoutMk cId="3747579019" sldId="2147483680"/>
              <ac:picMk id="6" creationId="{BC3D0B12-2FA5-5B55-EFFA-FBAB23EA9B74}"/>
            </ac:picMkLst>
          </pc:picChg>
        </pc:sldLayoutChg>
        <pc:sldLayoutChg chg="modSp mod">
          <pc:chgData name="Bullinger, Marvin" userId="5b54ce5a-dc89-476f-af33-5abd75d5b1e8" providerId="ADAL" clId="{B18DB96A-0F1B-4B04-B169-68D0DF683527}" dt="2024-08-08T22:17:26.963" v="10154" actId="1036"/>
          <pc:sldLayoutMkLst>
            <pc:docMk/>
            <pc:sldMasterMk cId="2846167297" sldId="2147483677"/>
            <pc:sldLayoutMk cId="1595020198" sldId="2147483687"/>
          </pc:sldLayoutMkLst>
          <pc:spChg chg="mod">
            <ac:chgData name="Bullinger, Marvin" userId="5b54ce5a-dc89-476f-af33-5abd75d5b1e8" providerId="ADAL" clId="{B18DB96A-0F1B-4B04-B169-68D0DF683527}" dt="2024-08-08T22:17:26.524" v="10153" actId="1036"/>
            <ac:spMkLst>
              <pc:docMk/>
              <pc:sldMasterMk cId="2846167297" sldId="2147483677"/>
              <pc:sldLayoutMk cId="1595020198" sldId="2147483687"/>
              <ac:spMk id="9" creationId="{FCDF64D8-43C9-4659-8FEB-D25E62DE2319}"/>
            </ac:spMkLst>
          </pc:spChg>
          <pc:cxnChg chg="mod">
            <ac:chgData name="Bullinger, Marvin" userId="5b54ce5a-dc89-476f-af33-5abd75d5b1e8" providerId="ADAL" clId="{B18DB96A-0F1B-4B04-B169-68D0DF683527}" dt="2024-08-08T22:17:26.963" v="10154" actId="1036"/>
            <ac:cxnSpMkLst>
              <pc:docMk/>
              <pc:sldMasterMk cId="2846167297" sldId="2147483677"/>
              <pc:sldLayoutMk cId="1595020198" sldId="2147483687"/>
              <ac:cxnSpMk id="10" creationId="{06BCC614-210D-45D8-85A7-4DB4D413AA8E}"/>
            </ac:cxnSpMkLst>
          </pc:cxnChg>
        </pc:sldLayoutChg>
        <pc:sldLayoutChg chg="addSp delSp modSp mod">
          <pc:chgData name="Bullinger, Marvin" userId="5b54ce5a-dc89-476f-af33-5abd75d5b1e8" providerId="ADAL" clId="{B18DB96A-0F1B-4B04-B169-68D0DF683527}" dt="2024-08-08T22:17:25.628" v="10151" actId="478"/>
          <pc:sldLayoutMkLst>
            <pc:docMk/>
            <pc:sldMasterMk cId="2846167297" sldId="2147483677"/>
            <pc:sldLayoutMk cId="110751718" sldId="2147483688"/>
          </pc:sldLayoutMkLst>
          <pc:spChg chg="add mod">
            <ac:chgData name="Bullinger, Marvin" userId="5b54ce5a-dc89-476f-af33-5abd75d5b1e8" providerId="ADAL" clId="{B18DB96A-0F1B-4B04-B169-68D0DF683527}" dt="2024-08-08T22:16:41.276" v="10141"/>
            <ac:spMkLst>
              <pc:docMk/>
              <pc:sldMasterMk cId="2846167297" sldId="2147483677"/>
              <pc:sldLayoutMk cId="110751718" sldId="2147483688"/>
              <ac:spMk id="5" creationId="{05B1FDE0-26E5-8179-D13C-D7AFA2DBA03E}"/>
            </ac:spMkLst>
          </pc:spChg>
          <pc:spChg chg="add del">
            <ac:chgData name="Bullinger, Marvin" userId="5b54ce5a-dc89-476f-af33-5abd75d5b1e8" providerId="ADAL" clId="{B18DB96A-0F1B-4B04-B169-68D0DF683527}" dt="2024-08-08T22:17:25.628" v="10151" actId="478"/>
            <ac:spMkLst>
              <pc:docMk/>
              <pc:sldMasterMk cId="2846167297" sldId="2147483677"/>
              <pc:sldLayoutMk cId="110751718" sldId="2147483688"/>
              <ac:spMk id="10" creationId="{162F79FD-685F-4AD0-AD07-F82DCA600046}"/>
            </ac:spMkLst>
          </pc:spChg>
          <pc:cxnChg chg="add mod">
            <ac:chgData name="Bullinger, Marvin" userId="5b54ce5a-dc89-476f-af33-5abd75d5b1e8" providerId="ADAL" clId="{B18DB96A-0F1B-4B04-B169-68D0DF683527}" dt="2024-08-08T22:16:31.427" v="10139"/>
            <ac:cxnSpMkLst>
              <pc:docMk/>
              <pc:sldMasterMk cId="2846167297" sldId="2147483677"/>
              <pc:sldLayoutMk cId="110751718" sldId="2147483688"/>
              <ac:cxnSpMk id="3" creationId="{783C4299-4059-38CC-4EC1-033A07C38485}"/>
            </ac:cxnSpMkLst>
          </pc:cxnChg>
          <pc:cxnChg chg="add mod">
            <ac:chgData name="Bullinger, Marvin" userId="5b54ce5a-dc89-476f-af33-5abd75d5b1e8" providerId="ADAL" clId="{B18DB96A-0F1B-4B04-B169-68D0DF683527}" dt="2024-08-08T22:16:34.498" v="10140"/>
            <ac:cxnSpMkLst>
              <pc:docMk/>
              <pc:sldMasterMk cId="2846167297" sldId="2147483677"/>
              <pc:sldLayoutMk cId="110751718" sldId="2147483688"/>
              <ac:cxnSpMk id="4" creationId="{4252D66B-85B0-0AC9-2123-74B2A4A34662}"/>
            </ac:cxnSpMkLst>
          </pc:cxnChg>
        </pc:sldLayoutChg>
        <pc:sldLayoutChg chg="addSp delSp modSp mod">
          <pc:chgData name="Bullinger, Marvin" userId="5b54ce5a-dc89-476f-af33-5abd75d5b1e8" providerId="ADAL" clId="{B18DB96A-0F1B-4B04-B169-68D0DF683527}" dt="2024-08-08T22:17:24.828" v="10150" actId="478"/>
          <pc:sldLayoutMkLst>
            <pc:docMk/>
            <pc:sldMasterMk cId="2846167297" sldId="2147483677"/>
            <pc:sldLayoutMk cId="3106629754" sldId="2147483689"/>
          </pc:sldLayoutMkLst>
          <pc:spChg chg="add mod">
            <ac:chgData name="Bullinger, Marvin" userId="5b54ce5a-dc89-476f-af33-5abd75d5b1e8" providerId="ADAL" clId="{B18DB96A-0F1B-4B04-B169-68D0DF683527}" dt="2024-08-08T22:16:46.412" v="10143"/>
            <ac:spMkLst>
              <pc:docMk/>
              <pc:sldMasterMk cId="2846167297" sldId="2147483677"/>
              <pc:sldLayoutMk cId="3106629754" sldId="2147483689"/>
              <ac:spMk id="3" creationId="{F179DA32-B521-3F26-D4DE-C6A09DA21BE8}"/>
            </ac:spMkLst>
          </pc:spChg>
          <pc:spChg chg="add del">
            <ac:chgData name="Bullinger, Marvin" userId="5b54ce5a-dc89-476f-af33-5abd75d5b1e8" providerId="ADAL" clId="{B18DB96A-0F1B-4B04-B169-68D0DF683527}" dt="2024-08-08T22:17:24.828" v="10150" actId="478"/>
            <ac:spMkLst>
              <pc:docMk/>
              <pc:sldMasterMk cId="2846167297" sldId="2147483677"/>
              <pc:sldLayoutMk cId="3106629754" sldId="2147483689"/>
              <ac:spMk id="11" creationId="{3672128A-9CD1-4BA0-8866-2DE4C8621BF2}"/>
            </ac:spMkLst>
          </pc:spChg>
        </pc:sldLayoutChg>
        <pc:sldLayoutChg chg="addSp delSp modSp mod">
          <pc:chgData name="Bullinger, Marvin" userId="5b54ce5a-dc89-476f-af33-5abd75d5b1e8" providerId="ADAL" clId="{B18DB96A-0F1B-4B04-B169-68D0DF683527}" dt="2024-08-08T22:17:24.091" v="10149" actId="478"/>
          <pc:sldLayoutMkLst>
            <pc:docMk/>
            <pc:sldMasterMk cId="2846167297" sldId="2147483677"/>
            <pc:sldLayoutMk cId="2393614516" sldId="2147483690"/>
          </pc:sldLayoutMkLst>
          <pc:spChg chg="add mod">
            <ac:chgData name="Bullinger, Marvin" userId="5b54ce5a-dc89-476f-af33-5abd75d5b1e8" providerId="ADAL" clId="{B18DB96A-0F1B-4B04-B169-68D0DF683527}" dt="2024-08-08T22:16:51.834" v="10145"/>
            <ac:spMkLst>
              <pc:docMk/>
              <pc:sldMasterMk cId="2846167297" sldId="2147483677"/>
              <pc:sldLayoutMk cId="2393614516" sldId="2147483690"/>
              <ac:spMk id="3" creationId="{2475DEDE-488A-435C-66C3-38204FB7E4D0}"/>
            </ac:spMkLst>
          </pc:spChg>
          <pc:spChg chg="add del">
            <ac:chgData name="Bullinger, Marvin" userId="5b54ce5a-dc89-476f-af33-5abd75d5b1e8" providerId="ADAL" clId="{B18DB96A-0F1B-4B04-B169-68D0DF683527}" dt="2024-08-08T22:17:24.091" v="10149" actId="478"/>
            <ac:spMkLst>
              <pc:docMk/>
              <pc:sldMasterMk cId="2846167297" sldId="2147483677"/>
              <pc:sldLayoutMk cId="2393614516" sldId="2147483690"/>
              <ac:spMk id="12" creationId="{6090A1F3-A7AB-42F7-9FBF-8736DC5882DB}"/>
            </ac:spMkLst>
          </pc:spChg>
        </pc:sldLayoutChg>
        <pc:sldLayoutChg chg="addSp delSp modSp mod">
          <pc:chgData name="Bullinger, Marvin" userId="5b54ce5a-dc89-476f-af33-5abd75d5b1e8" providerId="ADAL" clId="{B18DB96A-0F1B-4B04-B169-68D0DF683527}" dt="2024-08-08T22:17:23.039" v="10148" actId="478"/>
          <pc:sldLayoutMkLst>
            <pc:docMk/>
            <pc:sldMasterMk cId="2846167297" sldId="2147483677"/>
            <pc:sldLayoutMk cId="3736544426" sldId="2147483691"/>
          </pc:sldLayoutMkLst>
          <pc:spChg chg="add mod">
            <ac:chgData name="Bullinger, Marvin" userId="5b54ce5a-dc89-476f-af33-5abd75d5b1e8" providerId="ADAL" clId="{B18DB96A-0F1B-4B04-B169-68D0DF683527}" dt="2024-08-08T22:16:56.162" v="10147"/>
            <ac:spMkLst>
              <pc:docMk/>
              <pc:sldMasterMk cId="2846167297" sldId="2147483677"/>
              <pc:sldLayoutMk cId="3736544426" sldId="2147483691"/>
              <ac:spMk id="3" creationId="{5947892B-D362-A48B-A6EC-13E330CA2CC6}"/>
            </ac:spMkLst>
          </pc:spChg>
          <pc:spChg chg="add del">
            <ac:chgData name="Bullinger, Marvin" userId="5b54ce5a-dc89-476f-af33-5abd75d5b1e8" providerId="ADAL" clId="{B18DB96A-0F1B-4B04-B169-68D0DF683527}" dt="2024-08-08T22:17:23.039" v="10148" actId="478"/>
            <ac:spMkLst>
              <pc:docMk/>
              <pc:sldMasterMk cId="2846167297" sldId="2147483677"/>
              <pc:sldLayoutMk cId="3736544426" sldId="2147483691"/>
              <ac:spMk id="12" creationId="{A276B4CC-8E3B-49AA-A6D3-2C309ED8CFEE}"/>
            </ac:spMkLst>
          </pc:spChg>
        </pc:sldLayoutChg>
        <pc:sldLayoutChg chg="addSp delSp modSp mod">
          <pc:chgData name="Bullinger, Marvin" userId="5b54ce5a-dc89-476f-af33-5abd75d5b1e8" providerId="ADAL" clId="{B18DB96A-0F1B-4B04-B169-68D0DF683527}" dt="2024-08-08T15:02:28.215" v="9462" actId="1038"/>
          <pc:sldLayoutMkLst>
            <pc:docMk/>
            <pc:sldMasterMk cId="2846167297" sldId="2147483677"/>
            <pc:sldLayoutMk cId="816259686" sldId="2147483701"/>
          </pc:sldLayoutMkLst>
          <pc:graphicFrameChg chg="add del mod">
            <ac:chgData name="Bullinger, Marvin" userId="5b54ce5a-dc89-476f-af33-5abd75d5b1e8" providerId="ADAL" clId="{B18DB96A-0F1B-4B04-B169-68D0DF683527}" dt="2024-08-05T15:22:42.897" v="92" actId="478"/>
            <ac:graphicFrameMkLst>
              <pc:docMk/>
              <pc:sldMasterMk cId="2846167297" sldId="2147483677"/>
              <pc:sldLayoutMk cId="816259686" sldId="2147483701"/>
              <ac:graphicFrameMk id="4" creationId="{B8592797-C224-05A6-FAD8-3F437E86D745}"/>
            </ac:graphicFrameMkLst>
          </pc:graphicFrameChg>
          <pc:picChg chg="del">
            <ac:chgData name="Bullinger, Marvin" userId="5b54ce5a-dc89-476f-af33-5abd75d5b1e8" providerId="ADAL" clId="{B18DB96A-0F1B-4B04-B169-68D0DF683527}" dt="2024-08-05T15:16:50.553" v="76" actId="478"/>
            <ac:picMkLst>
              <pc:docMk/>
              <pc:sldMasterMk cId="2846167297" sldId="2147483677"/>
              <pc:sldLayoutMk cId="816259686" sldId="2147483701"/>
              <ac:picMk id="2" creationId="{66C34D74-1E41-CBA5-F808-7D17470983CE}"/>
            </ac:picMkLst>
          </pc:picChg>
          <pc:picChg chg="mod">
            <ac:chgData name="Bullinger, Marvin" userId="5b54ce5a-dc89-476f-af33-5abd75d5b1e8" providerId="ADAL" clId="{B18DB96A-0F1B-4B04-B169-68D0DF683527}" dt="2024-08-08T15:02:03.564" v="9400" actId="1037"/>
            <ac:picMkLst>
              <pc:docMk/>
              <pc:sldMasterMk cId="2846167297" sldId="2147483677"/>
              <pc:sldLayoutMk cId="816259686" sldId="2147483701"/>
              <ac:picMk id="3" creationId="{3677DBBD-8901-44E7-BC97-5FAE134425EB}"/>
            </ac:picMkLst>
          </pc:picChg>
          <pc:picChg chg="del">
            <ac:chgData name="Bullinger, Marvin" userId="5b54ce5a-dc89-476f-af33-5abd75d5b1e8" providerId="ADAL" clId="{B18DB96A-0F1B-4B04-B169-68D0DF683527}" dt="2024-08-05T15:16:51.706" v="78" actId="478"/>
            <ac:picMkLst>
              <pc:docMk/>
              <pc:sldMasterMk cId="2846167297" sldId="2147483677"/>
              <pc:sldLayoutMk cId="816259686" sldId="2147483701"/>
              <ac:picMk id="8" creationId="{24CC3BC4-0DE3-F617-D31A-89BB79089973}"/>
            </ac:picMkLst>
          </pc:picChg>
          <pc:picChg chg="mod">
            <ac:chgData name="Bullinger, Marvin" userId="5b54ce5a-dc89-476f-af33-5abd75d5b1e8" providerId="ADAL" clId="{B18DB96A-0F1B-4B04-B169-68D0DF683527}" dt="2024-08-08T15:02:28.215" v="9462" actId="1038"/>
            <ac:picMkLst>
              <pc:docMk/>
              <pc:sldMasterMk cId="2846167297" sldId="2147483677"/>
              <pc:sldLayoutMk cId="816259686" sldId="2147483701"/>
              <ac:picMk id="77" creationId="{D3DB975A-CF9E-4989-8391-5B4E38D67ADB}"/>
            </ac:picMkLst>
          </pc:picChg>
          <pc:picChg chg="del">
            <ac:chgData name="Bullinger, Marvin" userId="5b54ce5a-dc89-476f-af33-5abd75d5b1e8" providerId="ADAL" clId="{B18DB96A-0F1B-4B04-B169-68D0DF683527}" dt="2024-08-05T15:16:51.291" v="77" actId="478"/>
            <ac:picMkLst>
              <pc:docMk/>
              <pc:sldMasterMk cId="2846167297" sldId="2147483677"/>
              <pc:sldLayoutMk cId="816259686" sldId="2147483701"/>
              <ac:picMk id="2050" creationId="{8D119E22-7AB2-DB0C-3B2F-961E76963C3D}"/>
            </ac:picMkLst>
          </pc:picChg>
        </pc:sldLayoutChg>
      </pc:sldMasterChg>
    </pc:docChg>
  </pc:docChgLst>
  <pc:docChgLst>
    <pc:chgData name="Gavin Grimm" userId="6c4cb79d-2b23-417c-a733-7dcc36d0b4a1" providerId="ADAL" clId="{BA27B0C3-7E3B-4446-93A0-A47C6FAD50DC}"/>
    <pc:docChg chg="undo redo custSel addSld delSld modSld sldOrd modSection">
      <pc:chgData name="Gavin Grimm" userId="6c4cb79d-2b23-417c-a733-7dcc36d0b4a1" providerId="ADAL" clId="{BA27B0C3-7E3B-4446-93A0-A47C6FAD50DC}" dt="2024-10-09T00:40:28.534" v="1552" actId="5793"/>
      <pc:docMkLst>
        <pc:docMk/>
      </pc:docMkLst>
      <pc:sldChg chg="addSp delSp modSp mod delAnim modAnim modNotesTx">
        <pc:chgData name="Gavin Grimm" userId="6c4cb79d-2b23-417c-a733-7dcc36d0b4a1" providerId="ADAL" clId="{BA27B0C3-7E3B-4446-93A0-A47C6FAD50DC}" dt="2024-10-09T00:40:28.534" v="1552" actId="5793"/>
        <pc:sldMkLst>
          <pc:docMk/>
          <pc:sldMk cId="994611207" sldId="654"/>
        </pc:sldMkLst>
        <pc:spChg chg="del">
          <ac:chgData name="Gavin Grimm" userId="6c4cb79d-2b23-417c-a733-7dcc36d0b4a1" providerId="ADAL" clId="{BA27B0C3-7E3B-4446-93A0-A47C6FAD50DC}" dt="2024-10-04T22:05:18.386" v="141" actId="478"/>
          <ac:spMkLst>
            <pc:docMk/>
            <pc:sldMk cId="994611207" sldId="654"/>
            <ac:spMk id="44" creationId="{9A0D7DE8-29FE-08C8-D01C-97334E84F4D3}"/>
          </ac:spMkLst>
        </pc:spChg>
        <pc:spChg chg="add del mod">
          <ac:chgData name="Gavin Grimm" userId="6c4cb79d-2b23-417c-a733-7dcc36d0b4a1" providerId="ADAL" clId="{BA27B0C3-7E3B-4446-93A0-A47C6FAD50DC}" dt="2024-10-04T22:22:24.127" v="278" actId="478"/>
          <ac:spMkLst>
            <pc:docMk/>
            <pc:sldMk cId="994611207" sldId="654"/>
            <ac:spMk id="101" creationId="{CA094132-F8B6-93BC-E64B-82B6AB1A8B53}"/>
          </ac:spMkLst>
        </pc:spChg>
        <pc:spChg chg="add del mod">
          <ac:chgData name="Gavin Grimm" userId="6c4cb79d-2b23-417c-a733-7dcc36d0b4a1" providerId="ADAL" clId="{BA27B0C3-7E3B-4446-93A0-A47C6FAD50DC}" dt="2024-10-04T22:22:47.449" v="281" actId="478"/>
          <ac:spMkLst>
            <pc:docMk/>
            <pc:sldMk cId="994611207" sldId="654"/>
            <ac:spMk id="102" creationId="{B4B79518-C513-2566-30FC-FA946BC33D0A}"/>
          </ac:spMkLst>
        </pc:spChg>
        <pc:grpChg chg="add mod">
          <ac:chgData name="Gavin Grimm" userId="6c4cb79d-2b23-417c-a733-7dcc36d0b4a1" providerId="ADAL" clId="{BA27B0C3-7E3B-4446-93A0-A47C6FAD50DC}" dt="2024-10-04T22:10:16.675" v="198" actId="164"/>
          <ac:grpSpMkLst>
            <pc:docMk/>
            <pc:sldMk cId="994611207" sldId="654"/>
            <ac:grpSpMk id="28" creationId="{ED8C53B6-E87F-51D0-E5D0-1173FD4B5160}"/>
          </ac:grpSpMkLst>
        </pc:grpChg>
        <pc:grpChg chg="add mod">
          <ac:chgData name="Gavin Grimm" userId="6c4cb79d-2b23-417c-a733-7dcc36d0b4a1" providerId="ADAL" clId="{BA27B0C3-7E3B-4446-93A0-A47C6FAD50DC}" dt="2024-10-04T22:25:36.855" v="311" actId="1076"/>
          <ac:grpSpMkLst>
            <pc:docMk/>
            <pc:sldMk cId="994611207" sldId="654"/>
            <ac:grpSpMk id="29" creationId="{574AEC7A-10D3-952E-B6B0-B5275D978908}"/>
          </ac:grpSpMkLst>
        </pc:grpChg>
        <pc:grpChg chg="add del mod">
          <ac:chgData name="Gavin Grimm" userId="6c4cb79d-2b23-417c-a733-7dcc36d0b4a1" providerId="ADAL" clId="{BA27B0C3-7E3B-4446-93A0-A47C6FAD50DC}" dt="2024-10-04T22:12:42.025" v="214" actId="478"/>
          <ac:grpSpMkLst>
            <pc:docMk/>
            <pc:sldMk cId="994611207" sldId="654"/>
            <ac:grpSpMk id="30" creationId="{93307E21-055A-0E39-039B-965911D74A00}"/>
          </ac:grpSpMkLst>
        </pc:grpChg>
        <pc:grpChg chg="add del mod">
          <ac:chgData name="Gavin Grimm" userId="6c4cb79d-2b23-417c-a733-7dcc36d0b4a1" providerId="ADAL" clId="{BA27B0C3-7E3B-4446-93A0-A47C6FAD50DC}" dt="2024-10-04T22:12:55.880" v="216" actId="478"/>
          <ac:grpSpMkLst>
            <pc:docMk/>
            <pc:sldMk cId="994611207" sldId="654"/>
            <ac:grpSpMk id="37" creationId="{E60E681D-026D-A2FF-C9AF-10E849220AB0}"/>
          </ac:grpSpMkLst>
        </pc:grpChg>
        <pc:grpChg chg="add mod">
          <ac:chgData name="Gavin Grimm" userId="6c4cb79d-2b23-417c-a733-7dcc36d0b4a1" providerId="ADAL" clId="{BA27B0C3-7E3B-4446-93A0-A47C6FAD50DC}" dt="2024-10-04T22:25:36.855" v="311" actId="1076"/>
          <ac:grpSpMkLst>
            <pc:docMk/>
            <pc:sldMk cId="994611207" sldId="654"/>
            <ac:grpSpMk id="79" creationId="{B5C4E9CB-63D5-D200-5069-69D0CE8DFABD}"/>
          </ac:grpSpMkLst>
        </pc:grpChg>
        <pc:grpChg chg="add mod">
          <ac:chgData name="Gavin Grimm" userId="6c4cb79d-2b23-417c-a733-7dcc36d0b4a1" providerId="ADAL" clId="{BA27B0C3-7E3B-4446-93A0-A47C6FAD50DC}" dt="2024-10-04T22:25:36.855" v="311" actId="1076"/>
          <ac:grpSpMkLst>
            <pc:docMk/>
            <pc:sldMk cId="994611207" sldId="654"/>
            <ac:grpSpMk id="106" creationId="{A32C7BC8-C106-36EF-C2BB-A697F3BAC271}"/>
          </ac:grpSpMkLst>
        </pc:grpChg>
        <pc:graphicFrameChg chg="add mod modGraphic">
          <ac:chgData name="Gavin Grimm" userId="6c4cb79d-2b23-417c-a733-7dcc36d0b4a1" providerId="ADAL" clId="{BA27B0C3-7E3B-4446-93A0-A47C6FAD50DC}" dt="2024-10-04T22:27:41.673" v="339" actId="20577"/>
          <ac:graphicFrameMkLst>
            <pc:docMk/>
            <pc:sldMk cId="994611207" sldId="654"/>
            <ac:graphicFrameMk id="2" creationId="{0308DDC1-B91E-B7CF-088D-233A424D386B}"/>
          </ac:graphicFrameMkLst>
        </pc:graphicFrameChg>
        <pc:cxnChg chg="add del">
          <ac:chgData name="Gavin Grimm" userId="6c4cb79d-2b23-417c-a733-7dcc36d0b4a1" providerId="ADAL" clId="{BA27B0C3-7E3B-4446-93A0-A47C6FAD50DC}" dt="2024-10-04T22:06:14.060" v="153" actId="11529"/>
          <ac:cxnSpMkLst>
            <pc:docMk/>
            <pc:sldMk cId="994611207" sldId="654"/>
            <ac:cxnSpMk id="4" creationId="{4D3436A4-13A7-0D02-915B-125DFB2AFC71}"/>
          </ac:cxnSpMkLst>
        </pc:cxnChg>
        <pc:cxnChg chg="add mod">
          <ac:chgData name="Gavin Grimm" userId="6c4cb79d-2b23-417c-a733-7dcc36d0b4a1" providerId="ADAL" clId="{BA27B0C3-7E3B-4446-93A0-A47C6FAD50DC}" dt="2024-10-04T22:26:11.998" v="314" actId="692"/>
          <ac:cxnSpMkLst>
            <pc:docMk/>
            <pc:sldMk cId="994611207" sldId="654"/>
            <ac:cxnSpMk id="6" creationId="{F48264AC-25C0-CA81-5710-E4E3F429B193}"/>
          </ac:cxnSpMkLst>
        </pc:cxnChg>
        <pc:cxnChg chg="add mod">
          <ac:chgData name="Gavin Grimm" userId="6c4cb79d-2b23-417c-a733-7dcc36d0b4a1" providerId="ADAL" clId="{BA27B0C3-7E3B-4446-93A0-A47C6FAD50DC}" dt="2024-10-04T22:26:11.998" v="314" actId="692"/>
          <ac:cxnSpMkLst>
            <pc:docMk/>
            <pc:sldMk cId="994611207" sldId="654"/>
            <ac:cxnSpMk id="8" creationId="{B1C7D7D4-F4B3-1553-A5E4-4F10A47B9E64}"/>
          </ac:cxnSpMkLst>
        </pc:cxnChg>
        <pc:cxnChg chg="add mod">
          <ac:chgData name="Gavin Grimm" userId="6c4cb79d-2b23-417c-a733-7dcc36d0b4a1" providerId="ADAL" clId="{BA27B0C3-7E3B-4446-93A0-A47C6FAD50DC}" dt="2024-10-04T22:26:11.998" v="314" actId="692"/>
          <ac:cxnSpMkLst>
            <pc:docMk/>
            <pc:sldMk cId="994611207" sldId="654"/>
            <ac:cxnSpMk id="10" creationId="{52E417C1-025F-926B-B857-09D65364DA12}"/>
          </ac:cxnSpMkLst>
        </pc:cxnChg>
        <pc:cxnChg chg="add mod">
          <ac:chgData name="Gavin Grimm" userId="6c4cb79d-2b23-417c-a733-7dcc36d0b4a1" providerId="ADAL" clId="{BA27B0C3-7E3B-4446-93A0-A47C6FAD50DC}" dt="2024-10-04T22:26:11.998" v="314" actId="692"/>
          <ac:cxnSpMkLst>
            <pc:docMk/>
            <pc:sldMk cId="994611207" sldId="654"/>
            <ac:cxnSpMk id="12" creationId="{5D889661-0C8D-648E-BAAE-DAFDDD4C484A}"/>
          </ac:cxnSpMkLst>
        </pc:cxnChg>
        <pc:cxnChg chg="add mod">
          <ac:chgData name="Gavin Grimm" userId="6c4cb79d-2b23-417c-a733-7dcc36d0b4a1" providerId="ADAL" clId="{BA27B0C3-7E3B-4446-93A0-A47C6FAD50DC}" dt="2024-10-04T22:26:11.998" v="314" actId="692"/>
          <ac:cxnSpMkLst>
            <pc:docMk/>
            <pc:sldMk cId="994611207" sldId="654"/>
            <ac:cxnSpMk id="14" creationId="{D8BA191A-2857-ABF5-0CF8-7E457266AFF9}"/>
          </ac:cxnSpMkLst>
        </pc:cxnChg>
        <pc:cxnChg chg="add mod">
          <ac:chgData name="Gavin Grimm" userId="6c4cb79d-2b23-417c-a733-7dcc36d0b4a1" providerId="ADAL" clId="{BA27B0C3-7E3B-4446-93A0-A47C6FAD50DC}" dt="2024-10-04T22:26:11.998" v="314" actId="692"/>
          <ac:cxnSpMkLst>
            <pc:docMk/>
            <pc:sldMk cId="994611207" sldId="654"/>
            <ac:cxnSpMk id="16" creationId="{EC476304-94DB-A47B-EFF6-FA687F232DCE}"/>
          </ac:cxnSpMkLst>
        </pc:cxnChg>
        <pc:cxnChg chg="mod">
          <ac:chgData name="Gavin Grimm" userId="6c4cb79d-2b23-417c-a733-7dcc36d0b4a1" providerId="ADAL" clId="{BA27B0C3-7E3B-4446-93A0-A47C6FAD50DC}" dt="2024-10-04T22:12:35.146" v="211"/>
          <ac:cxnSpMkLst>
            <pc:docMk/>
            <pc:sldMk cId="994611207" sldId="654"/>
            <ac:cxnSpMk id="31" creationId="{268EBEE0-86B7-7F10-45DD-36FC5D2B26B2}"/>
          </ac:cxnSpMkLst>
        </pc:cxnChg>
        <pc:cxnChg chg="mod">
          <ac:chgData name="Gavin Grimm" userId="6c4cb79d-2b23-417c-a733-7dcc36d0b4a1" providerId="ADAL" clId="{BA27B0C3-7E3B-4446-93A0-A47C6FAD50DC}" dt="2024-10-04T22:12:35.146" v="211"/>
          <ac:cxnSpMkLst>
            <pc:docMk/>
            <pc:sldMk cId="994611207" sldId="654"/>
            <ac:cxnSpMk id="32" creationId="{B26AC67B-407F-7823-ED94-14CED0B4FD80}"/>
          </ac:cxnSpMkLst>
        </pc:cxnChg>
        <pc:cxnChg chg="mod">
          <ac:chgData name="Gavin Grimm" userId="6c4cb79d-2b23-417c-a733-7dcc36d0b4a1" providerId="ADAL" clId="{BA27B0C3-7E3B-4446-93A0-A47C6FAD50DC}" dt="2024-10-04T22:12:35.146" v="211"/>
          <ac:cxnSpMkLst>
            <pc:docMk/>
            <pc:sldMk cId="994611207" sldId="654"/>
            <ac:cxnSpMk id="33" creationId="{9BF31AB6-C40F-A838-7747-EB8D16C7FC4A}"/>
          </ac:cxnSpMkLst>
        </pc:cxnChg>
        <pc:cxnChg chg="mod">
          <ac:chgData name="Gavin Grimm" userId="6c4cb79d-2b23-417c-a733-7dcc36d0b4a1" providerId="ADAL" clId="{BA27B0C3-7E3B-4446-93A0-A47C6FAD50DC}" dt="2024-10-04T22:12:35.146" v="211"/>
          <ac:cxnSpMkLst>
            <pc:docMk/>
            <pc:sldMk cId="994611207" sldId="654"/>
            <ac:cxnSpMk id="34" creationId="{3F960E2C-41DA-F26B-21A6-1522345D45E9}"/>
          </ac:cxnSpMkLst>
        </pc:cxnChg>
        <pc:cxnChg chg="mod">
          <ac:chgData name="Gavin Grimm" userId="6c4cb79d-2b23-417c-a733-7dcc36d0b4a1" providerId="ADAL" clId="{BA27B0C3-7E3B-4446-93A0-A47C6FAD50DC}" dt="2024-10-04T22:12:35.146" v="211"/>
          <ac:cxnSpMkLst>
            <pc:docMk/>
            <pc:sldMk cId="994611207" sldId="654"/>
            <ac:cxnSpMk id="35" creationId="{559CD869-1F27-0C0D-D0DA-06AA0C600B7D}"/>
          </ac:cxnSpMkLst>
        </pc:cxnChg>
        <pc:cxnChg chg="mod">
          <ac:chgData name="Gavin Grimm" userId="6c4cb79d-2b23-417c-a733-7dcc36d0b4a1" providerId="ADAL" clId="{BA27B0C3-7E3B-4446-93A0-A47C6FAD50DC}" dt="2024-10-04T22:12:35.146" v="211"/>
          <ac:cxnSpMkLst>
            <pc:docMk/>
            <pc:sldMk cId="994611207" sldId="654"/>
            <ac:cxnSpMk id="36" creationId="{6554CDF7-35B7-8A53-DF87-9C1F6C11E3F9}"/>
          </ac:cxnSpMkLst>
        </pc:cxnChg>
        <pc:cxnChg chg="mod">
          <ac:chgData name="Gavin Grimm" userId="6c4cb79d-2b23-417c-a733-7dcc36d0b4a1" providerId="ADAL" clId="{BA27B0C3-7E3B-4446-93A0-A47C6FAD50DC}" dt="2024-10-04T22:12:54.376" v="215"/>
          <ac:cxnSpMkLst>
            <pc:docMk/>
            <pc:sldMk cId="994611207" sldId="654"/>
            <ac:cxnSpMk id="38" creationId="{9FFEA165-F30E-D0EB-F06F-BE2BC04A4D51}"/>
          </ac:cxnSpMkLst>
        </pc:cxnChg>
        <pc:cxnChg chg="mod">
          <ac:chgData name="Gavin Grimm" userId="6c4cb79d-2b23-417c-a733-7dcc36d0b4a1" providerId="ADAL" clId="{BA27B0C3-7E3B-4446-93A0-A47C6FAD50DC}" dt="2024-10-04T22:12:54.376" v="215"/>
          <ac:cxnSpMkLst>
            <pc:docMk/>
            <pc:sldMk cId="994611207" sldId="654"/>
            <ac:cxnSpMk id="39" creationId="{37627907-0FE9-E2FC-FF66-2BA5752BB779}"/>
          </ac:cxnSpMkLst>
        </pc:cxnChg>
        <pc:cxnChg chg="mod">
          <ac:chgData name="Gavin Grimm" userId="6c4cb79d-2b23-417c-a733-7dcc36d0b4a1" providerId="ADAL" clId="{BA27B0C3-7E3B-4446-93A0-A47C6FAD50DC}" dt="2024-10-04T22:12:54.376" v="215"/>
          <ac:cxnSpMkLst>
            <pc:docMk/>
            <pc:sldMk cId="994611207" sldId="654"/>
            <ac:cxnSpMk id="40" creationId="{CB4F4CDA-08A4-36AB-199C-2746BE6D4222}"/>
          </ac:cxnSpMkLst>
        </pc:cxnChg>
        <pc:cxnChg chg="mod">
          <ac:chgData name="Gavin Grimm" userId="6c4cb79d-2b23-417c-a733-7dcc36d0b4a1" providerId="ADAL" clId="{BA27B0C3-7E3B-4446-93A0-A47C6FAD50DC}" dt="2024-10-04T22:12:54.376" v="215"/>
          <ac:cxnSpMkLst>
            <pc:docMk/>
            <pc:sldMk cId="994611207" sldId="654"/>
            <ac:cxnSpMk id="41" creationId="{C72EF0E2-4030-A551-C975-AD0C1EF641D3}"/>
          </ac:cxnSpMkLst>
        </pc:cxnChg>
        <pc:cxnChg chg="mod">
          <ac:chgData name="Gavin Grimm" userId="6c4cb79d-2b23-417c-a733-7dcc36d0b4a1" providerId="ADAL" clId="{BA27B0C3-7E3B-4446-93A0-A47C6FAD50DC}" dt="2024-10-04T22:12:54.376" v="215"/>
          <ac:cxnSpMkLst>
            <pc:docMk/>
            <pc:sldMk cId="994611207" sldId="654"/>
            <ac:cxnSpMk id="45" creationId="{4F417991-1036-7307-CC0E-7F3028A467E5}"/>
          </ac:cxnSpMkLst>
        </pc:cxnChg>
        <pc:cxnChg chg="mod">
          <ac:chgData name="Gavin Grimm" userId="6c4cb79d-2b23-417c-a733-7dcc36d0b4a1" providerId="ADAL" clId="{BA27B0C3-7E3B-4446-93A0-A47C6FAD50DC}" dt="2024-10-04T22:12:54.376" v="215"/>
          <ac:cxnSpMkLst>
            <pc:docMk/>
            <pc:sldMk cId="994611207" sldId="654"/>
            <ac:cxnSpMk id="46" creationId="{CD069BC3-D75D-CFC7-DF34-18A3FDA8F832}"/>
          </ac:cxnSpMkLst>
        </pc:cxnChg>
        <pc:cxnChg chg="add mod">
          <ac:chgData name="Gavin Grimm" userId="6c4cb79d-2b23-417c-a733-7dcc36d0b4a1" providerId="ADAL" clId="{BA27B0C3-7E3B-4446-93A0-A47C6FAD50DC}" dt="2024-10-04T22:26:14.513" v="316" actId="692"/>
          <ac:cxnSpMkLst>
            <pc:docMk/>
            <pc:sldMk cId="994611207" sldId="654"/>
            <ac:cxnSpMk id="48" creationId="{F6D2972E-AE16-115D-9E9F-8B319CD27480}"/>
          </ac:cxnSpMkLst>
        </pc:cxnChg>
        <pc:cxnChg chg="add mod">
          <ac:chgData name="Gavin Grimm" userId="6c4cb79d-2b23-417c-a733-7dcc36d0b4a1" providerId="ADAL" clId="{BA27B0C3-7E3B-4446-93A0-A47C6FAD50DC}" dt="2024-10-04T22:26:14.513" v="316" actId="692"/>
          <ac:cxnSpMkLst>
            <pc:docMk/>
            <pc:sldMk cId="994611207" sldId="654"/>
            <ac:cxnSpMk id="52" creationId="{55065EDD-C37A-A8E4-4724-A092D76489EE}"/>
          </ac:cxnSpMkLst>
        </pc:cxnChg>
        <pc:cxnChg chg="add mod">
          <ac:chgData name="Gavin Grimm" userId="6c4cb79d-2b23-417c-a733-7dcc36d0b4a1" providerId="ADAL" clId="{BA27B0C3-7E3B-4446-93A0-A47C6FAD50DC}" dt="2024-10-04T22:26:14.513" v="316" actId="692"/>
          <ac:cxnSpMkLst>
            <pc:docMk/>
            <pc:sldMk cId="994611207" sldId="654"/>
            <ac:cxnSpMk id="54" creationId="{B63193C6-26E8-5EB8-9968-0773FB98C065}"/>
          </ac:cxnSpMkLst>
        </pc:cxnChg>
        <pc:cxnChg chg="add mod">
          <ac:chgData name="Gavin Grimm" userId="6c4cb79d-2b23-417c-a733-7dcc36d0b4a1" providerId="ADAL" clId="{BA27B0C3-7E3B-4446-93A0-A47C6FAD50DC}" dt="2024-10-04T22:26:14.513" v="316" actId="692"/>
          <ac:cxnSpMkLst>
            <pc:docMk/>
            <pc:sldMk cId="994611207" sldId="654"/>
            <ac:cxnSpMk id="56" creationId="{849C45A5-A29A-BBAD-A257-4931A6913219}"/>
          </ac:cxnSpMkLst>
        </pc:cxnChg>
        <pc:cxnChg chg="add mod">
          <ac:chgData name="Gavin Grimm" userId="6c4cb79d-2b23-417c-a733-7dcc36d0b4a1" providerId="ADAL" clId="{BA27B0C3-7E3B-4446-93A0-A47C6FAD50DC}" dt="2024-10-04T22:26:14.513" v="316" actId="692"/>
          <ac:cxnSpMkLst>
            <pc:docMk/>
            <pc:sldMk cId="994611207" sldId="654"/>
            <ac:cxnSpMk id="58" creationId="{8EF9394A-05E7-EAE6-AFA9-0A3AC376BBAA}"/>
          </ac:cxnSpMkLst>
        </pc:cxnChg>
        <pc:cxnChg chg="add mod">
          <ac:chgData name="Gavin Grimm" userId="6c4cb79d-2b23-417c-a733-7dcc36d0b4a1" providerId="ADAL" clId="{BA27B0C3-7E3B-4446-93A0-A47C6FAD50DC}" dt="2024-10-04T22:26:14.513" v="316" actId="692"/>
          <ac:cxnSpMkLst>
            <pc:docMk/>
            <pc:sldMk cId="994611207" sldId="654"/>
            <ac:cxnSpMk id="60" creationId="{D65A3752-B4C3-C989-D54F-B636A69DF4BB}"/>
          </ac:cxnSpMkLst>
        </pc:cxnChg>
        <pc:cxnChg chg="add mod">
          <ac:chgData name="Gavin Grimm" userId="6c4cb79d-2b23-417c-a733-7dcc36d0b4a1" providerId="ADAL" clId="{BA27B0C3-7E3B-4446-93A0-A47C6FAD50DC}" dt="2024-10-04T22:23:14.021" v="285" actId="164"/>
          <ac:cxnSpMkLst>
            <pc:docMk/>
            <pc:sldMk cId="994611207" sldId="654"/>
            <ac:cxnSpMk id="81" creationId="{12964EF0-C800-F45D-058A-1DF27220AE1A}"/>
          </ac:cxnSpMkLst>
        </pc:cxnChg>
        <pc:cxnChg chg="add mod">
          <ac:chgData name="Gavin Grimm" userId="6c4cb79d-2b23-417c-a733-7dcc36d0b4a1" providerId="ADAL" clId="{BA27B0C3-7E3B-4446-93A0-A47C6FAD50DC}" dt="2024-10-04T22:23:14.021" v="285" actId="164"/>
          <ac:cxnSpMkLst>
            <pc:docMk/>
            <pc:sldMk cId="994611207" sldId="654"/>
            <ac:cxnSpMk id="83" creationId="{2012A267-F128-F4FC-BEC8-5A068D8D382B}"/>
          </ac:cxnSpMkLst>
        </pc:cxnChg>
        <pc:cxnChg chg="add mod">
          <ac:chgData name="Gavin Grimm" userId="6c4cb79d-2b23-417c-a733-7dcc36d0b4a1" providerId="ADAL" clId="{BA27B0C3-7E3B-4446-93A0-A47C6FAD50DC}" dt="2024-10-04T22:23:14.021" v="285" actId="164"/>
          <ac:cxnSpMkLst>
            <pc:docMk/>
            <pc:sldMk cId="994611207" sldId="654"/>
            <ac:cxnSpMk id="88" creationId="{2060989E-A029-1486-4C2F-6BF1EAC18D01}"/>
          </ac:cxnSpMkLst>
        </pc:cxnChg>
        <pc:cxnChg chg="add mod">
          <ac:chgData name="Gavin Grimm" userId="6c4cb79d-2b23-417c-a733-7dcc36d0b4a1" providerId="ADAL" clId="{BA27B0C3-7E3B-4446-93A0-A47C6FAD50DC}" dt="2024-10-04T22:23:14.021" v="285" actId="164"/>
          <ac:cxnSpMkLst>
            <pc:docMk/>
            <pc:sldMk cId="994611207" sldId="654"/>
            <ac:cxnSpMk id="90" creationId="{5010234C-7118-AB31-C6CA-6230A80AA22B}"/>
          </ac:cxnSpMkLst>
        </pc:cxnChg>
        <pc:cxnChg chg="add mod">
          <ac:chgData name="Gavin Grimm" userId="6c4cb79d-2b23-417c-a733-7dcc36d0b4a1" providerId="ADAL" clId="{BA27B0C3-7E3B-4446-93A0-A47C6FAD50DC}" dt="2024-10-04T22:23:14.021" v="285" actId="164"/>
          <ac:cxnSpMkLst>
            <pc:docMk/>
            <pc:sldMk cId="994611207" sldId="654"/>
            <ac:cxnSpMk id="92" creationId="{FB1DED27-4214-3B62-E89E-FFD2DAE5BA34}"/>
          </ac:cxnSpMkLst>
        </pc:cxnChg>
        <pc:cxnChg chg="add mod">
          <ac:chgData name="Gavin Grimm" userId="6c4cb79d-2b23-417c-a733-7dcc36d0b4a1" providerId="ADAL" clId="{BA27B0C3-7E3B-4446-93A0-A47C6FAD50DC}" dt="2024-10-04T22:23:14.021" v="285" actId="164"/>
          <ac:cxnSpMkLst>
            <pc:docMk/>
            <pc:sldMk cId="994611207" sldId="654"/>
            <ac:cxnSpMk id="94" creationId="{2325942E-0BBE-CD28-A744-CE11CB868B9F}"/>
          </ac:cxnSpMkLst>
        </pc:cxnChg>
        <pc:cxnChg chg="add del mod">
          <ac:chgData name="Gavin Grimm" userId="6c4cb79d-2b23-417c-a733-7dcc36d0b4a1" providerId="ADAL" clId="{BA27B0C3-7E3B-4446-93A0-A47C6FAD50DC}" dt="2024-10-04T22:23:04.734" v="284" actId="478"/>
          <ac:cxnSpMkLst>
            <pc:docMk/>
            <pc:sldMk cId="994611207" sldId="654"/>
            <ac:cxnSpMk id="104" creationId="{3127A5C2-32EA-0C9E-667B-17C087A8FD0E}"/>
          </ac:cxnSpMkLst>
        </pc:cxnChg>
      </pc:sldChg>
      <pc:sldChg chg="addSp delSp modSp mod ord modNotesTx">
        <pc:chgData name="Gavin Grimm" userId="6c4cb79d-2b23-417c-a733-7dcc36d0b4a1" providerId="ADAL" clId="{BA27B0C3-7E3B-4446-93A0-A47C6FAD50DC}" dt="2024-10-09T00:40:00.670" v="1534" actId="20577"/>
        <pc:sldMkLst>
          <pc:docMk/>
          <pc:sldMk cId="1274719457" sldId="657"/>
        </pc:sldMkLst>
        <pc:spChg chg="del">
          <ac:chgData name="Gavin Grimm" userId="6c4cb79d-2b23-417c-a733-7dcc36d0b4a1" providerId="ADAL" clId="{BA27B0C3-7E3B-4446-93A0-A47C6FAD50DC}" dt="2024-10-04T21:59:25.742" v="75" actId="478"/>
          <ac:spMkLst>
            <pc:docMk/>
            <pc:sldMk cId="1274719457" sldId="657"/>
            <ac:spMk id="44" creationId="{9A0D7DE8-29FE-08C8-D01C-97334E84F4D3}"/>
          </ac:spMkLst>
        </pc:spChg>
        <pc:graphicFrameChg chg="add del mod modGraphic">
          <ac:chgData name="Gavin Grimm" userId="6c4cb79d-2b23-417c-a733-7dcc36d0b4a1" providerId="ADAL" clId="{BA27B0C3-7E3B-4446-93A0-A47C6FAD50DC}" dt="2024-10-04T22:31:37.252" v="346" actId="21"/>
          <ac:graphicFrameMkLst>
            <pc:docMk/>
            <pc:sldMk cId="1274719457" sldId="657"/>
            <ac:graphicFrameMk id="2" creationId="{3C4A8400-3FA5-C5FE-AEC1-E980B5F61320}"/>
          </ac:graphicFrameMkLst>
        </pc:graphicFrameChg>
        <pc:graphicFrameChg chg="add del mod">
          <ac:chgData name="Gavin Grimm" userId="6c4cb79d-2b23-417c-a733-7dcc36d0b4a1" providerId="ADAL" clId="{BA27B0C3-7E3B-4446-93A0-A47C6FAD50DC}" dt="2024-10-04T22:31:11.646" v="342" actId="478"/>
          <ac:graphicFrameMkLst>
            <pc:docMk/>
            <pc:sldMk cId="1274719457" sldId="657"/>
            <ac:graphicFrameMk id="3" creationId="{B038F0B4-46AB-D8A8-FA53-783348A18207}"/>
          </ac:graphicFrameMkLst>
        </pc:graphicFrameChg>
        <pc:picChg chg="mod">
          <ac:chgData name="Gavin Grimm" userId="6c4cb79d-2b23-417c-a733-7dcc36d0b4a1" providerId="ADAL" clId="{BA27B0C3-7E3B-4446-93A0-A47C6FAD50DC}" dt="2024-10-04T22:31:36.610" v="345" actId="1076"/>
          <ac:picMkLst>
            <pc:docMk/>
            <pc:sldMk cId="1274719457" sldId="657"/>
            <ac:picMk id="4" creationId="{AA688F5B-CBD6-E024-2F72-FAFB5589A073}"/>
          </ac:picMkLst>
        </pc:picChg>
      </pc:sldChg>
      <pc:sldChg chg="modSp add del mod ord">
        <pc:chgData name="Gavin Grimm" userId="6c4cb79d-2b23-417c-a733-7dcc36d0b4a1" providerId="ADAL" clId="{BA27B0C3-7E3B-4446-93A0-A47C6FAD50DC}" dt="2024-10-04T21:58:10.897" v="74" actId="2890"/>
        <pc:sldMkLst>
          <pc:docMk/>
          <pc:sldMk cId="505818433" sldId="662"/>
        </pc:sldMkLst>
        <pc:spChg chg="mod">
          <ac:chgData name="Gavin Grimm" userId="6c4cb79d-2b23-417c-a733-7dcc36d0b4a1" providerId="ADAL" clId="{BA27B0C3-7E3B-4446-93A0-A47C6FAD50DC}" dt="2024-10-04T21:58:10.878" v="73" actId="20577"/>
          <ac:spMkLst>
            <pc:docMk/>
            <pc:sldMk cId="505818433" sldId="662"/>
            <ac:spMk id="42" creationId="{C7E757C5-03D1-1F7C-8394-C9FB4BCDFB61}"/>
          </ac:spMkLst>
        </pc:spChg>
        <pc:spChg chg="mod">
          <ac:chgData name="Gavin Grimm" userId="6c4cb79d-2b23-417c-a733-7dcc36d0b4a1" providerId="ADAL" clId="{BA27B0C3-7E3B-4446-93A0-A47C6FAD50DC}" dt="2024-10-04T21:58:10.787" v="64" actId="20577"/>
          <ac:spMkLst>
            <pc:docMk/>
            <pc:sldMk cId="505818433" sldId="662"/>
            <ac:spMk id="43" creationId="{3896FE4D-A7AE-099B-363F-0C85F0A9502A}"/>
          </ac:spMkLst>
        </pc:spChg>
      </pc:sldChg>
      <pc:sldChg chg="addSp delSp modSp add del mod">
        <pc:chgData name="Gavin Grimm" userId="6c4cb79d-2b23-417c-a733-7dcc36d0b4a1" providerId="ADAL" clId="{BA27B0C3-7E3B-4446-93A0-A47C6FAD50DC}" dt="2024-10-04T22:33:37.076" v="367" actId="47"/>
        <pc:sldMkLst>
          <pc:docMk/>
          <pc:sldMk cId="1346025340" sldId="662"/>
        </pc:sldMkLst>
        <pc:spChg chg="mod topLvl">
          <ac:chgData name="Gavin Grimm" userId="6c4cb79d-2b23-417c-a733-7dcc36d0b4a1" providerId="ADAL" clId="{BA27B0C3-7E3B-4446-93A0-A47C6FAD50DC}" dt="2024-10-04T22:32:59.814" v="358" actId="165"/>
          <ac:spMkLst>
            <pc:docMk/>
            <pc:sldMk cId="1346025340" sldId="662"/>
            <ac:spMk id="5" creationId="{F57DFF39-4004-D8BF-5B0F-73841363ECD0}"/>
          </ac:spMkLst>
        </pc:spChg>
        <pc:spChg chg="mod topLvl">
          <ac:chgData name="Gavin Grimm" userId="6c4cb79d-2b23-417c-a733-7dcc36d0b4a1" providerId="ADAL" clId="{BA27B0C3-7E3B-4446-93A0-A47C6FAD50DC}" dt="2024-10-04T22:33:34.876" v="366" actId="164"/>
          <ac:spMkLst>
            <pc:docMk/>
            <pc:sldMk cId="1346025340" sldId="662"/>
            <ac:spMk id="6" creationId="{BB6475C8-93AF-92E0-FBC0-EDB023CBFDB1}"/>
          </ac:spMkLst>
        </pc:spChg>
        <pc:spChg chg="mod topLvl">
          <ac:chgData name="Gavin Grimm" userId="6c4cb79d-2b23-417c-a733-7dcc36d0b4a1" providerId="ADAL" clId="{BA27B0C3-7E3B-4446-93A0-A47C6FAD50DC}" dt="2024-10-04T22:32:59.814" v="358" actId="165"/>
          <ac:spMkLst>
            <pc:docMk/>
            <pc:sldMk cId="1346025340" sldId="662"/>
            <ac:spMk id="7" creationId="{DDE71E1A-F135-1E05-33EB-EEB72E4D1AF7}"/>
          </ac:spMkLst>
        </pc:spChg>
        <pc:spChg chg="mod topLvl">
          <ac:chgData name="Gavin Grimm" userId="6c4cb79d-2b23-417c-a733-7dcc36d0b4a1" providerId="ADAL" clId="{BA27B0C3-7E3B-4446-93A0-A47C6FAD50DC}" dt="2024-10-04T22:32:59.814" v="358" actId="165"/>
          <ac:spMkLst>
            <pc:docMk/>
            <pc:sldMk cId="1346025340" sldId="662"/>
            <ac:spMk id="8" creationId="{AE2E9771-96DD-7B9A-708B-84ACF5215F78}"/>
          </ac:spMkLst>
        </pc:spChg>
        <pc:spChg chg="mod topLvl">
          <ac:chgData name="Gavin Grimm" userId="6c4cb79d-2b23-417c-a733-7dcc36d0b4a1" providerId="ADAL" clId="{BA27B0C3-7E3B-4446-93A0-A47C6FAD50DC}" dt="2024-10-04T22:32:59.814" v="358" actId="165"/>
          <ac:spMkLst>
            <pc:docMk/>
            <pc:sldMk cId="1346025340" sldId="662"/>
            <ac:spMk id="9" creationId="{2D046D56-D481-47AC-B623-77307F0F677C}"/>
          </ac:spMkLst>
        </pc:spChg>
        <pc:spChg chg="mod topLvl">
          <ac:chgData name="Gavin Grimm" userId="6c4cb79d-2b23-417c-a733-7dcc36d0b4a1" providerId="ADAL" clId="{BA27B0C3-7E3B-4446-93A0-A47C6FAD50DC}" dt="2024-10-04T22:32:59.814" v="358" actId="165"/>
          <ac:spMkLst>
            <pc:docMk/>
            <pc:sldMk cId="1346025340" sldId="662"/>
            <ac:spMk id="10" creationId="{3B2BB6FE-C634-57A6-8270-E3CF7CA90DED}"/>
          </ac:spMkLst>
        </pc:spChg>
        <pc:spChg chg="mod topLvl">
          <ac:chgData name="Gavin Grimm" userId="6c4cb79d-2b23-417c-a733-7dcc36d0b4a1" providerId="ADAL" clId="{BA27B0C3-7E3B-4446-93A0-A47C6FAD50DC}" dt="2024-10-04T22:32:59.814" v="358" actId="165"/>
          <ac:spMkLst>
            <pc:docMk/>
            <pc:sldMk cId="1346025340" sldId="662"/>
            <ac:spMk id="11" creationId="{B00A1BE2-9471-18E5-A043-6D6388846A53}"/>
          </ac:spMkLst>
        </pc:spChg>
        <pc:spChg chg="mod topLvl">
          <ac:chgData name="Gavin Grimm" userId="6c4cb79d-2b23-417c-a733-7dcc36d0b4a1" providerId="ADAL" clId="{BA27B0C3-7E3B-4446-93A0-A47C6FAD50DC}" dt="2024-10-04T22:33:34.876" v="366" actId="164"/>
          <ac:spMkLst>
            <pc:docMk/>
            <pc:sldMk cId="1346025340" sldId="662"/>
            <ac:spMk id="12" creationId="{EBB699B7-53D0-FFFB-BEB2-780DDFA6BCB1}"/>
          </ac:spMkLst>
        </pc:spChg>
        <pc:spChg chg="mod topLvl">
          <ac:chgData name="Gavin Grimm" userId="6c4cb79d-2b23-417c-a733-7dcc36d0b4a1" providerId="ADAL" clId="{BA27B0C3-7E3B-4446-93A0-A47C6FAD50DC}" dt="2024-10-04T22:32:59.814" v="358" actId="165"/>
          <ac:spMkLst>
            <pc:docMk/>
            <pc:sldMk cId="1346025340" sldId="662"/>
            <ac:spMk id="13" creationId="{814284DC-F3AE-535E-23C3-BFFC6C25DA67}"/>
          </ac:spMkLst>
        </pc:spChg>
        <pc:spChg chg="mod topLvl">
          <ac:chgData name="Gavin Grimm" userId="6c4cb79d-2b23-417c-a733-7dcc36d0b4a1" providerId="ADAL" clId="{BA27B0C3-7E3B-4446-93A0-A47C6FAD50DC}" dt="2024-10-04T22:32:59.814" v="358" actId="165"/>
          <ac:spMkLst>
            <pc:docMk/>
            <pc:sldMk cId="1346025340" sldId="662"/>
            <ac:spMk id="14" creationId="{630F27AE-A0BC-6DB5-9BCB-485C18CC72CA}"/>
          </ac:spMkLst>
        </pc:spChg>
        <pc:spChg chg="mod topLvl">
          <ac:chgData name="Gavin Grimm" userId="6c4cb79d-2b23-417c-a733-7dcc36d0b4a1" providerId="ADAL" clId="{BA27B0C3-7E3B-4446-93A0-A47C6FAD50DC}" dt="2024-10-04T22:32:59.814" v="358" actId="165"/>
          <ac:spMkLst>
            <pc:docMk/>
            <pc:sldMk cId="1346025340" sldId="662"/>
            <ac:spMk id="15" creationId="{3C5EF538-2532-C0FA-7CA7-0EC188AF742C}"/>
          </ac:spMkLst>
        </pc:spChg>
        <pc:spChg chg="mod topLvl">
          <ac:chgData name="Gavin Grimm" userId="6c4cb79d-2b23-417c-a733-7dcc36d0b4a1" providerId="ADAL" clId="{BA27B0C3-7E3B-4446-93A0-A47C6FAD50DC}" dt="2024-10-04T22:32:59.814" v="358" actId="165"/>
          <ac:spMkLst>
            <pc:docMk/>
            <pc:sldMk cId="1346025340" sldId="662"/>
            <ac:spMk id="16" creationId="{7B0CADDB-A817-A9F6-6346-009CC58225F3}"/>
          </ac:spMkLst>
        </pc:spChg>
        <pc:spChg chg="mod topLvl">
          <ac:chgData name="Gavin Grimm" userId="6c4cb79d-2b23-417c-a733-7dcc36d0b4a1" providerId="ADAL" clId="{BA27B0C3-7E3B-4446-93A0-A47C6FAD50DC}" dt="2024-10-04T22:33:34.876" v="366" actId="164"/>
          <ac:spMkLst>
            <pc:docMk/>
            <pc:sldMk cId="1346025340" sldId="662"/>
            <ac:spMk id="17" creationId="{BC22ED58-078D-0BAD-48A6-9F054ECEFC73}"/>
          </ac:spMkLst>
        </pc:spChg>
        <pc:spChg chg="mod topLvl">
          <ac:chgData name="Gavin Grimm" userId="6c4cb79d-2b23-417c-a733-7dcc36d0b4a1" providerId="ADAL" clId="{BA27B0C3-7E3B-4446-93A0-A47C6FAD50DC}" dt="2024-10-04T22:32:59.814" v="358" actId="165"/>
          <ac:spMkLst>
            <pc:docMk/>
            <pc:sldMk cId="1346025340" sldId="662"/>
            <ac:spMk id="18" creationId="{59CD6E22-BD17-3229-8C57-9190D2EF64D4}"/>
          </ac:spMkLst>
        </pc:spChg>
        <pc:spChg chg="mod topLvl">
          <ac:chgData name="Gavin Grimm" userId="6c4cb79d-2b23-417c-a733-7dcc36d0b4a1" providerId="ADAL" clId="{BA27B0C3-7E3B-4446-93A0-A47C6FAD50DC}" dt="2024-10-04T22:32:59.814" v="358" actId="165"/>
          <ac:spMkLst>
            <pc:docMk/>
            <pc:sldMk cId="1346025340" sldId="662"/>
            <ac:spMk id="19" creationId="{D74345DD-B6A9-2BE7-8E99-B4658D0855FE}"/>
          </ac:spMkLst>
        </pc:spChg>
        <pc:spChg chg="mod topLvl">
          <ac:chgData name="Gavin Grimm" userId="6c4cb79d-2b23-417c-a733-7dcc36d0b4a1" providerId="ADAL" clId="{BA27B0C3-7E3B-4446-93A0-A47C6FAD50DC}" dt="2024-10-04T22:32:59.814" v="358" actId="165"/>
          <ac:spMkLst>
            <pc:docMk/>
            <pc:sldMk cId="1346025340" sldId="662"/>
            <ac:spMk id="20" creationId="{86242D69-7D8E-D2B1-110A-21D258E689C9}"/>
          </ac:spMkLst>
        </pc:spChg>
        <pc:spChg chg="mod topLvl">
          <ac:chgData name="Gavin Grimm" userId="6c4cb79d-2b23-417c-a733-7dcc36d0b4a1" providerId="ADAL" clId="{BA27B0C3-7E3B-4446-93A0-A47C6FAD50DC}" dt="2024-10-04T22:32:59.814" v="358" actId="165"/>
          <ac:spMkLst>
            <pc:docMk/>
            <pc:sldMk cId="1346025340" sldId="662"/>
            <ac:spMk id="21" creationId="{17DF1D14-B1A1-2E12-63C9-584C22423C9F}"/>
          </ac:spMkLst>
        </pc:spChg>
        <pc:spChg chg="mod topLvl">
          <ac:chgData name="Gavin Grimm" userId="6c4cb79d-2b23-417c-a733-7dcc36d0b4a1" providerId="ADAL" clId="{BA27B0C3-7E3B-4446-93A0-A47C6FAD50DC}" dt="2024-10-04T22:33:34.876" v="366" actId="164"/>
          <ac:spMkLst>
            <pc:docMk/>
            <pc:sldMk cId="1346025340" sldId="662"/>
            <ac:spMk id="22" creationId="{A90A7184-927B-A740-E1C4-D696899F0A04}"/>
          </ac:spMkLst>
        </pc:spChg>
        <pc:spChg chg="mod topLvl">
          <ac:chgData name="Gavin Grimm" userId="6c4cb79d-2b23-417c-a733-7dcc36d0b4a1" providerId="ADAL" clId="{BA27B0C3-7E3B-4446-93A0-A47C6FAD50DC}" dt="2024-10-04T22:32:59.814" v="358" actId="165"/>
          <ac:spMkLst>
            <pc:docMk/>
            <pc:sldMk cId="1346025340" sldId="662"/>
            <ac:spMk id="23" creationId="{DAC7332F-C968-45C5-6D9F-B6F6C2493DD0}"/>
          </ac:spMkLst>
        </pc:spChg>
        <pc:spChg chg="mod topLvl">
          <ac:chgData name="Gavin Grimm" userId="6c4cb79d-2b23-417c-a733-7dcc36d0b4a1" providerId="ADAL" clId="{BA27B0C3-7E3B-4446-93A0-A47C6FAD50DC}" dt="2024-10-04T22:32:59.814" v="358" actId="165"/>
          <ac:spMkLst>
            <pc:docMk/>
            <pc:sldMk cId="1346025340" sldId="662"/>
            <ac:spMk id="24" creationId="{44501B92-F2C8-F7DE-C595-DA214C8D95B0}"/>
          </ac:spMkLst>
        </pc:spChg>
        <pc:spChg chg="mod topLvl">
          <ac:chgData name="Gavin Grimm" userId="6c4cb79d-2b23-417c-a733-7dcc36d0b4a1" providerId="ADAL" clId="{BA27B0C3-7E3B-4446-93A0-A47C6FAD50DC}" dt="2024-10-04T22:32:59.814" v="358" actId="165"/>
          <ac:spMkLst>
            <pc:docMk/>
            <pc:sldMk cId="1346025340" sldId="662"/>
            <ac:spMk id="25" creationId="{AEF76F82-C208-2B04-14C4-AA0504D829C2}"/>
          </ac:spMkLst>
        </pc:spChg>
        <pc:spChg chg="mod">
          <ac:chgData name="Gavin Grimm" userId="6c4cb79d-2b23-417c-a733-7dcc36d0b4a1" providerId="ADAL" clId="{BA27B0C3-7E3B-4446-93A0-A47C6FAD50DC}" dt="2024-10-04T22:31:55.979" v="349" actId="338"/>
          <ac:spMkLst>
            <pc:docMk/>
            <pc:sldMk cId="1346025340" sldId="662"/>
            <ac:spMk id="26" creationId="{EC389C4C-2368-E86A-CAB7-B8B0A6A2E946}"/>
          </ac:spMkLst>
        </pc:spChg>
        <pc:spChg chg="mod">
          <ac:chgData name="Gavin Grimm" userId="6c4cb79d-2b23-417c-a733-7dcc36d0b4a1" providerId="ADAL" clId="{BA27B0C3-7E3B-4446-93A0-A47C6FAD50DC}" dt="2024-10-04T22:31:55.979" v="349" actId="338"/>
          <ac:spMkLst>
            <pc:docMk/>
            <pc:sldMk cId="1346025340" sldId="662"/>
            <ac:spMk id="27" creationId="{6ACF39F5-C145-B30E-6FE5-364D7828441D}"/>
          </ac:spMkLst>
        </pc:spChg>
        <pc:spChg chg="mod topLvl">
          <ac:chgData name="Gavin Grimm" userId="6c4cb79d-2b23-417c-a733-7dcc36d0b4a1" providerId="ADAL" clId="{BA27B0C3-7E3B-4446-93A0-A47C6FAD50DC}" dt="2024-10-04T22:32:59.814" v="358" actId="165"/>
          <ac:spMkLst>
            <pc:docMk/>
            <pc:sldMk cId="1346025340" sldId="662"/>
            <ac:spMk id="28" creationId="{E59F2404-BE0E-150B-E5A9-8342DF6BB742}"/>
          </ac:spMkLst>
        </pc:spChg>
        <pc:spChg chg="mod topLvl">
          <ac:chgData name="Gavin Grimm" userId="6c4cb79d-2b23-417c-a733-7dcc36d0b4a1" providerId="ADAL" clId="{BA27B0C3-7E3B-4446-93A0-A47C6FAD50DC}" dt="2024-10-04T22:33:34.876" v="366" actId="164"/>
          <ac:spMkLst>
            <pc:docMk/>
            <pc:sldMk cId="1346025340" sldId="662"/>
            <ac:spMk id="29" creationId="{9E948933-8532-E840-93B3-0382E7089B04}"/>
          </ac:spMkLst>
        </pc:spChg>
        <pc:spChg chg="mod topLvl">
          <ac:chgData name="Gavin Grimm" userId="6c4cb79d-2b23-417c-a733-7dcc36d0b4a1" providerId="ADAL" clId="{BA27B0C3-7E3B-4446-93A0-A47C6FAD50DC}" dt="2024-10-04T22:32:59.814" v="358" actId="165"/>
          <ac:spMkLst>
            <pc:docMk/>
            <pc:sldMk cId="1346025340" sldId="662"/>
            <ac:spMk id="30" creationId="{3031609D-852D-F3D2-C3F3-7F77CFB58055}"/>
          </ac:spMkLst>
        </pc:spChg>
        <pc:spChg chg="mod topLvl">
          <ac:chgData name="Gavin Grimm" userId="6c4cb79d-2b23-417c-a733-7dcc36d0b4a1" providerId="ADAL" clId="{BA27B0C3-7E3B-4446-93A0-A47C6FAD50DC}" dt="2024-10-04T22:32:59.814" v="358" actId="165"/>
          <ac:spMkLst>
            <pc:docMk/>
            <pc:sldMk cId="1346025340" sldId="662"/>
            <ac:spMk id="31" creationId="{23DAC708-CFEA-AB0E-483C-B0F40F4BDB4E}"/>
          </ac:spMkLst>
        </pc:spChg>
        <pc:spChg chg="mod topLvl">
          <ac:chgData name="Gavin Grimm" userId="6c4cb79d-2b23-417c-a733-7dcc36d0b4a1" providerId="ADAL" clId="{BA27B0C3-7E3B-4446-93A0-A47C6FAD50DC}" dt="2024-10-04T22:32:59.814" v="358" actId="165"/>
          <ac:spMkLst>
            <pc:docMk/>
            <pc:sldMk cId="1346025340" sldId="662"/>
            <ac:spMk id="32" creationId="{A40080A7-D20D-E18C-CED7-87945DA3609F}"/>
          </ac:spMkLst>
        </pc:spChg>
        <pc:spChg chg="mod topLvl">
          <ac:chgData name="Gavin Grimm" userId="6c4cb79d-2b23-417c-a733-7dcc36d0b4a1" providerId="ADAL" clId="{BA27B0C3-7E3B-4446-93A0-A47C6FAD50DC}" dt="2024-10-04T22:32:59.814" v="358" actId="165"/>
          <ac:spMkLst>
            <pc:docMk/>
            <pc:sldMk cId="1346025340" sldId="662"/>
            <ac:spMk id="33" creationId="{11A039B4-4ACC-28C4-05BB-986790012781}"/>
          </ac:spMkLst>
        </pc:spChg>
        <pc:spChg chg="mod topLvl">
          <ac:chgData name="Gavin Grimm" userId="6c4cb79d-2b23-417c-a733-7dcc36d0b4a1" providerId="ADAL" clId="{BA27B0C3-7E3B-4446-93A0-A47C6FAD50DC}" dt="2024-10-04T22:33:34.876" v="366" actId="164"/>
          <ac:spMkLst>
            <pc:docMk/>
            <pc:sldMk cId="1346025340" sldId="662"/>
            <ac:spMk id="34" creationId="{03DC8DDA-858D-889B-9B49-339AD157E2C3}"/>
          </ac:spMkLst>
        </pc:spChg>
        <pc:spChg chg="mod topLvl">
          <ac:chgData name="Gavin Grimm" userId="6c4cb79d-2b23-417c-a733-7dcc36d0b4a1" providerId="ADAL" clId="{BA27B0C3-7E3B-4446-93A0-A47C6FAD50DC}" dt="2024-10-04T22:32:59.814" v="358" actId="165"/>
          <ac:spMkLst>
            <pc:docMk/>
            <pc:sldMk cId="1346025340" sldId="662"/>
            <ac:spMk id="35" creationId="{A977269D-810C-E54D-EF9A-48D0AA197212}"/>
          </ac:spMkLst>
        </pc:spChg>
        <pc:spChg chg="mod topLvl">
          <ac:chgData name="Gavin Grimm" userId="6c4cb79d-2b23-417c-a733-7dcc36d0b4a1" providerId="ADAL" clId="{BA27B0C3-7E3B-4446-93A0-A47C6FAD50DC}" dt="2024-10-04T22:32:59.814" v="358" actId="165"/>
          <ac:spMkLst>
            <pc:docMk/>
            <pc:sldMk cId="1346025340" sldId="662"/>
            <ac:spMk id="36" creationId="{A52F7E1E-645F-3BF6-EFFE-811602E22BAF}"/>
          </ac:spMkLst>
        </pc:spChg>
        <pc:spChg chg="mod topLvl">
          <ac:chgData name="Gavin Grimm" userId="6c4cb79d-2b23-417c-a733-7dcc36d0b4a1" providerId="ADAL" clId="{BA27B0C3-7E3B-4446-93A0-A47C6FAD50DC}" dt="2024-10-04T22:32:59.814" v="358" actId="165"/>
          <ac:spMkLst>
            <pc:docMk/>
            <pc:sldMk cId="1346025340" sldId="662"/>
            <ac:spMk id="37" creationId="{A0BDB727-2D01-EC65-5076-FEA3B34565CF}"/>
          </ac:spMkLst>
        </pc:spChg>
        <pc:spChg chg="mod topLvl">
          <ac:chgData name="Gavin Grimm" userId="6c4cb79d-2b23-417c-a733-7dcc36d0b4a1" providerId="ADAL" clId="{BA27B0C3-7E3B-4446-93A0-A47C6FAD50DC}" dt="2024-10-04T22:32:59.814" v="358" actId="165"/>
          <ac:spMkLst>
            <pc:docMk/>
            <pc:sldMk cId="1346025340" sldId="662"/>
            <ac:spMk id="38" creationId="{A046FD1D-1597-BDB7-8F20-C62A2427259D}"/>
          </ac:spMkLst>
        </pc:spChg>
        <pc:spChg chg="mod topLvl">
          <ac:chgData name="Gavin Grimm" userId="6c4cb79d-2b23-417c-a733-7dcc36d0b4a1" providerId="ADAL" clId="{BA27B0C3-7E3B-4446-93A0-A47C6FAD50DC}" dt="2024-10-04T22:33:34.876" v="366" actId="164"/>
          <ac:spMkLst>
            <pc:docMk/>
            <pc:sldMk cId="1346025340" sldId="662"/>
            <ac:spMk id="39" creationId="{CF5C34C4-57E2-4646-C0E7-F912A52196FB}"/>
          </ac:spMkLst>
        </pc:spChg>
        <pc:spChg chg="mod topLvl">
          <ac:chgData name="Gavin Grimm" userId="6c4cb79d-2b23-417c-a733-7dcc36d0b4a1" providerId="ADAL" clId="{BA27B0C3-7E3B-4446-93A0-A47C6FAD50DC}" dt="2024-10-04T22:32:59.814" v="358" actId="165"/>
          <ac:spMkLst>
            <pc:docMk/>
            <pc:sldMk cId="1346025340" sldId="662"/>
            <ac:spMk id="40" creationId="{1370F70B-3FE2-31CE-CA95-2A4C492D947F}"/>
          </ac:spMkLst>
        </pc:spChg>
        <pc:spChg chg="mod topLvl">
          <ac:chgData name="Gavin Grimm" userId="6c4cb79d-2b23-417c-a733-7dcc36d0b4a1" providerId="ADAL" clId="{BA27B0C3-7E3B-4446-93A0-A47C6FAD50DC}" dt="2024-10-04T22:32:59.814" v="358" actId="165"/>
          <ac:spMkLst>
            <pc:docMk/>
            <pc:sldMk cId="1346025340" sldId="662"/>
            <ac:spMk id="41" creationId="{B96085FF-FC1C-E339-0458-3BD224C01B04}"/>
          </ac:spMkLst>
        </pc:spChg>
        <pc:spChg chg="mod">
          <ac:chgData name="Gavin Grimm" userId="6c4cb79d-2b23-417c-a733-7dcc36d0b4a1" providerId="ADAL" clId="{BA27B0C3-7E3B-4446-93A0-A47C6FAD50DC}" dt="2024-10-04T22:31:55.979" v="349" actId="338"/>
          <ac:spMkLst>
            <pc:docMk/>
            <pc:sldMk cId="1346025340" sldId="662"/>
            <ac:spMk id="42" creationId="{C7E757C5-03D1-1F7C-8394-C9FB4BCDFB61}"/>
          </ac:spMkLst>
        </pc:spChg>
        <pc:spChg chg="mod">
          <ac:chgData name="Gavin Grimm" userId="6c4cb79d-2b23-417c-a733-7dcc36d0b4a1" providerId="ADAL" clId="{BA27B0C3-7E3B-4446-93A0-A47C6FAD50DC}" dt="2024-10-04T22:31:55.979" v="349" actId="338"/>
          <ac:spMkLst>
            <pc:docMk/>
            <pc:sldMk cId="1346025340" sldId="662"/>
            <ac:spMk id="43" creationId="{3896FE4D-A7AE-099B-363F-0C85F0A9502A}"/>
          </ac:spMkLst>
        </pc:spChg>
        <pc:spChg chg="mod topLvl">
          <ac:chgData name="Gavin Grimm" userId="6c4cb79d-2b23-417c-a733-7dcc36d0b4a1" providerId="ADAL" clId="{BA27B0C3-7E3B-4446-93A0-A47C6FAD50DC}" dt="2024-10-04T22:32:59.814" v="358" actId="165"/>
          <ac:spMkLst>
            <pc:docMk/>
            <pc:sldMk cId="1346025340" sldId="662"/>
            <ac:spMk id="44" creationId="{92AE31F5-30A2-C72E-5B4D-149259B4C0DE}"/>
          </ac:spMkLst>
        </pc:spChg>
        <pc:spChg chg="mod topLvl">
          <ac:chgData name="Gavin Grimm" userId="6c4cb79d-2b23-417c-a733-7dcc36d0b4a1" providerId="ADAL" clId="{BA27B0C3-7E3B-4446-93A0-A47C6FAD50DC}" dt="2024-10-04T22:32:59.814" v="358" actId="165"/>
          <ac:spMkLst>
            <pc:docMk/>
            <pc:sldMk cId="1346025340" sldId="662"/>
            <ac:spMk id="45" creationId="{D86D4D35-08D4-2838-AFAC-DFBF2ADDA04C}"/>
          </ac:spMkLst>
        </pc:spChg>
        <pc:spChg chg="mod topLvl">
          <ac:chgData name="Gavin Grimm" userId="6c4cb79d-2b23-417c-a733-7dcc36d0b4a1" providerId="ADAL" clId="{BA27B0C3-7E3B-4446-93A0-A47C6FAD50DC}" dt="2024-10-04T22:32:59.814" v="358" actId="165"/>
          <ac:spMkLst>
            <pc:docMk/>
            <pc:sldMk cId="1346025340" sldId="662"/>
            <ac:spMk id="46" creationId="{6049C116-D84C-13A1-4426-2FAAFA4AF093}"/>
          </ac:spMkLst>
        </pc:spChg>
        <pc:spChg chg="mod topLvl">
          <ac:chgData name="Gavin Grimm" userId="6c4cb79d-2b23-417c-a733-7dcc36d0b4a1" providerId="ADAL" clId="{BA27B0C3-7E3B-4446-93A0-A47C6FAD50DC}" dt="2024-10-04T22:32:59.814" v="358" actId="165"/>
          <ac:spMkLst>
            <pc:docMk/>
            <pc:sldMk cId="1346025340" sldId="662"/>
            <ac:spMk id="47" creationId="{081D318E-6DB8-76A6-5D0D-CB732087C8C9}"/>
          </ac:spMkLst>
        </pc:spChg>
        <pc:spChg chg="mod topLvl">
          <ac:chgData name="Gavin Grimm" userId="6c4cb79d-2b23-417c-a733-7dcc36d0b4a1" providerId="ADAL" clId="{BA27B0C3-7E3B-4446-93A0-A47C6FAD50DC}" dt="2024-10-04T22:32:59.814" v="358" actId="165"/>
          <ac:spMkLst>
            <pc:docMk/>
            <pc:sldMk cId="1346025340" sldId="662"/>
            <ac:spMk id="48" creationId="{123D6385-1BA3-FE9A-BAD6-E539A79B4EB9}"/>
          </ac:spMkLst>
        </pc:spChg>
        <pc:spChg chg="mod topLvl">
          <ac:chgData name="Gavin Grimm" userId="6c4cb79d-2b23-417c-a733-7dcc36d0b4a1" providerId="ADAL" clId="{BA27B0C3-7E3B-4446-93A0-A47C6FAD50DC}" dt="2024-10-04T22:32:59.814" v="358" actId="165"/>
          <ac:spMkLst>
            <pc:docMk/>
            <pc:sldMk cId="1346025340" sldId="662"/>
            <ac:spMk id="49" creationId="{53ED227A-B270-378D-69EE-8363D0B44C1E}"/>
          </ac:spMkLst>
        </pc:spChg>
        <pc:spChg chg="mod topLvl">
          <ac:chgData name="Gavin Grimm" userId="6c4cb79d-2b23-417c-a733-7dcc36d0b4a1" providerId="ADAL" clId="{BA27B0C3-7E3B-4446-93A0-A47C6FAD50DC}" dt="2024-10-04T22:32:59.814" v="358" actId="165"/>
          <ac:spMkLst>
            <pc:docMk/>
            <pc:sldMk cId="1346025340" sldId="662"/>
            <ac:spMk id="50" creationId="{2F14295E-678C-A642-E501-5C63738BA8D9}"/>
          </ac:spMkLst>
        </pc:spChg>
        <pc:spChg chg="mod topLvl">
          <ac:chgData name="Gavin Grimm" userId="6c4cb79d-2b23-417c-a733-7dcc36d0b4a1" providerId="ADAL" clId="{BA27B0C3-7E3B-4446-93A0-A47C6FAD50DC}" dt="2024-10-04T22:32:59.814" v="358" actId="165"/>
          <ac:spMkLst>
            <pc:docMk/>
            <pc:sldMk cId="1346025340" sldId="662"/>
            <ac:spMk id="51" creationId="{0010D86C-F052-9F3C-FD3F-340B2801F54B}"/>
          </ac:spMkLst>
        </pc:spChg>
        <pc:spChg chg="mod topLvl">
          <ac:chgData name="Gavin Grimm" userId="6c4cb79d-2b23-417c-a733-7dcc36d0b4a1" providerId="ADAL" clId="{BA27B0C3-7E3B-4446-93A0-A47C6FAD50DC}" dt="2024-10-04T22:32:59.814" v="358" actId="165"/>
          <ac:spMkLst>
            <pc:docMk/>
            <pc:sldMk cId="1346025340" sldId="662"/>
            <ac:spMk id="52" creationId="{32145A47-795A-C494-08E3-8F4A612EF047}"/>
          </ac:spMkLst>
        </pc:spChg>
        <pc:spChg chg="mod topLvl">
          <ac:chgData name="Gavin Grimm" userId="6c4cb79d-2b23-417c-a733-7dcc36d0b4a1" providerId="ADAL" clId="{BA27B0C3-7E3B-4446-93A0-A47C6FAD50DC}" dt="2024-10-04T22:32:59.814" v="358" actId="165"/>
          <ac:spMkLst>
            <pc:docMk/>
            <pc:sldMk cId="1346025340" sldId="662"/>
            <ac:spMk id="53" creationId="{895D34C0-B596-513E-B05E-8F7F42A72074}"/>
          </ac:spMkLst>
        </pc:spChg>
        <pc:spChg chg="mod topLvl">
          <ac:chgData name="Gavin Grimm" userId="6c4cb79d-2b23-417c-a733-7dcc36d0b4a1" providerId="ADAL" clId="{BA27B0C3-7E3B-4446-93A0-A47C6FAD50DC}" dt="2024-10-04T22:32:59.814" v="358" actId="165"/>
          <ac:spMkLst>
            <pc:docMk/>
            <pc:sldMk cId="1346025340" sldId="662"/>
            <ac:spMk id="54" creationId="{7800745B-622F-7A78-4218-58F0F3B4D103}"/>
          </ac:spMkLst>
        </pc:spChg>
        <pc:spChg chg="mod topLvl">
          <ac:chgData name="Gavin Grimm" userId="6c4cb79d-2b23-417c-a733-7dcc36d0b4a1" providerId="ADAL" clId="{BA27B0C3-7E3B-4446-93A0-A47C6FAD50DC}" dt="2024-10-04T22:32:59.814" v="358" actId="165"/>
          <ac:spMkLst>
            <pc:docMk/>
            <pc:sldMk cId="1346025340" sldId="662"/>
            <ac:spMk id="55" creationId="{B5751F15-B5F0-393E-5B51-3731B6D95FE7}"/>
          </ac:spMkLst>
        </pc:spChg>
        <pc:spChg chg="mod topLvl">
          <ac:chgData name="Gavin Grimm" userId="6c4cb79d-2b23-417c-a733-7dcc36d0b4a1" providerId="ADAL" clId="{BA27B0C3-7E3B-4446-93A0-A47C6FAD50DC}" dt="2024-10-04T22:32:59.814" v="358" actId="165"/>
          <ac:spMkLst>
            <pc:docMk/>
            <pc:sldMk cId="1346025340" sldId="662"/>
            <ac:spMk id="56" creationId="{67650448-41D1-B5AB-C6B0-81463BAAE3B5}"/>
          </ac:spMkLst>
        </pc:spChg>
        <pc:spChg chg="mod topLvl">
          <ac:chgData name="Gavin Grimm" userId="6c4cb79d-2b23-417c-a733-7dcc36d0b4a1" providerId="ADAL" clId="{BA27B0C3-7E3B-4446-93A0-A47C6FAD50DC}" dt="2024-10-04T22:32:59.814" v="358" actId="165"/>
          <ac:spMkLst>
            <pc:docMk/>
            <pc:sldMk cId="1346025340" sldId="662"/>
            <ac:spMk id="57" creationId="{2BA86D85-7DC2-960D-7E76-041D6A7ADD40}"/>
          </ac:spMkLst>
        </pc:spChg>
        <pc:spChg chg="mod topLvl">
          <ac:chgData name="Gavin Grimm" userId="6c4cb79d-2b23-417c-a733-7dcc36d0b4a1" providerId="ADAL" clId="{BA27B0C3-7E3B-4446-93A0-A47C6FAD50DC}" dt="2024-10-04T22:32:59.814" v="358" actId="165"/>
          <ac:spMkLst>
            <pc:docMk/>
            <pc:sldMk cId="1346025340" sldId="662"/>
            <ac:spMk id="58" creationId="{39886188-B09B-4BFA-D41E-800CA1438C0C}"/>
          </ac:spMkLst>
        </pc:spChg>
        <pc:spChg chg="mod topLvl">
          <ac:chgData name="Gavin Grimm" userId="6c4cb79d-2b23-417c-a733-7dcc36d0b4a1" providerId="ADAL" clId="{BA27B0C3-7E3B-4446-93A0-A47C6FAD50DC}" dt="2024-10-04T22:32:59.814" v="358" actId="165"/>
          <ac:spMkLst>
            <pc:docMk/>
            <pc:sldMk cId="1346025340" sldId="662"/>
            <ac:spMk id="59" creationId="{EE53A143-FD84-9213-5AD2-8C605FB946F5}"/>
          </ac:spMkLst>
        </pc:spChg>
        <pc:spChg chg="mod topLvl">
          <ac:chgData name="Gavin Grimm" userId="6c4cb79d-2b23-417c-a733-7dcc36d0b4a1" providerId="ADAL" clId="{BA27B0C3-7E3B-4446-93A0-A47C6FAD50DC}" dt="2024-10-04T22:32:59.814" v="358" actId="165"/>
          <ac:spMkLst>
            <pc:docMk/>
            <pc:sldMk cId="1346025340" sldId="662"/>
            <ac:spMk id="60" creationId="{BAC3F07C-966F-D161-0A84-999E71DCCC2E}"/>
          </ac:spMkLst>
        </pc:spChg>
        <pc:spChg chg="mod topLvl">
          <ac:chgData name="Gavin Grimm" userId="6c4cb79d-2b23-417c-a733-7dcc36d0b4a1" providerId="ADAL" clId="{BA27B0C3-7E3B-4446-93A0-A47C6FAD50DC}" dt="2024-10-04T22:32:59.814" v="358" actId="165"/>
          <ac:spMkLst>
            <pc:docMk/>
            <pc:sldMk cId="1346025340" sldId="662"/>
            <ac:spMk id="61" creationId="{A3E5C345-A2C8-26B3-D60B-03B377E4E4DD}"/>
          </ac:spMkLst>
        </pc:spChg>
        <pc:spChg chg="mod topLvl">
          <ac:chgData name="Gavin Grimm" userId="6c4cb79d-2b23-417c-a733-7dcc36d0b4a1" providerId="ADAL" clId="{BA27B0C3-7E3B-4446-93A0-A47C6FAD50DC}" dt="2024-10-04T22:32:59.814" v="358" actId="165"/>
          <ac:spMkLst>
            <pc:docMk/>
            <pc:sldMk cId="1346025340" sldId="662"/>
            <ac:spMk id="62" creationId="{3C8677D1-5FC8-8C26-DDD1-6AE370F290DB}"/>
          </ac:spMkLst>
        </pc:spChg>
        <pc:spChg chg="mod topLvl">
          <ac:chgData name="Gavin Grimm" userId="6c4cb79d-2b23-417c-a733-7dcc36d0b4a1" providerId="ADAL" clId="{BA27B0C3-7E3B-4446-93A0-A47C6FAD50DC}" dt="2024-10-04T22:32:59.814" v="358" actId="165"/>
          <ac:spMkLst>
            <pc:docMk/>
            <pc:sldMk cId="1346025340" sldId="662"/>
            <ac:spMk id="63" creationId="{ED80B08F-AE26-C54D-7BE3-434AE35B0185}"/>
          </ac:spMkLst>
        </pc:spChg>
        <pc:spChg chg="mod topLvl">
          <ac:chgData name="Gavin Grimm" userId="6c4cb79d-2b23-417c-a733-7dcc36d0b4a1" providerId="ADAL" clId="{BA27B0C3-7E3B-4446-93A0-A47C6FAD50DC}" dt="2024-10-04T22:32:59.814" v="358" actId="165"/>
          <ac:spMkLst>
            <pc:docMk/>
            <pc:sldMk cId="1346025340" sldId="662"/>
            <ac:spMk id="64" creationId="{45CF7125-BA8B-29E4-7798-4619C98C7DB3}"/>
          </ac:spMkLst>
        </pc:spChg>
        <pc:spChg chg="mod topLvl">
          <ac:chgData name="Gavin Grimm" userId="6c4cb79d-2b23-417c-a733-7dcc36d0b4a1" providerId="ADAL" clId="{BA27B0C3-7E3B-4446-93A0-A47C6FAD50DC}" dt="2024-10-04T22:32:59.814" v="358" actId="165"/>
          <ac:spMkLst>
            <pc:docMk/>
            <pc:sldMk cId="1346025340" sldId="662"/>
            <ac:spMk id="65" creationId="{63F221BE-A5FB-9021-D29C-3BD10D59CC52}"/>
          </ac:spMkLst>
        </pc:spChg>
        <pc:spChg chg="mod topLvl">
          <ac:chgData name="Gavin Grimm" userId="6c4cb79d-2b23-417c-a733-7dcc36d0b4a1" providerId="ADAL" clId="{BA27B0C3-7E3B-4446-93A0-A47C6FAD50DC}" dt="2024-10-04T22:32:59.814" v="358" actId="165"/>
          <ac:spMkLst>
            <pc:docMk/>
            <pc:sldMk cId="1346025340" sldId="662"/>
            <ac:spMk id="66" creationId="{05943654-D423-3BD8-535F-EC3B3A5589C5}"/>
          </ac:spMkLst>
        </pc:spChg>
        <pc:spChg chg="mod topLvl">
          <ac:chgData name="Gavin Grimm" userId="6c4cb79d-2b23-417c-a733-7dcc36d0b4a1" providerId="ADAL" clId="{BA27B0C3-7E3B-4446-93A0-A47C6FAD50DC}" dt="2024-10-04T22:32:59.814" v="358" actId="165"/>
          <ac:spMkLst>
            <pc:docMk/>
            <pc:sldMk cId="1346025340" sldId="662"/>
            <ac:spMk id="67" creationId="{7D68E285-01D9-DC85-F2C4-ABC167CFBA5F}"/>
          </ac:spMkLst>
        </pc:spChg>
        <pc:spChg chg="mod topLvl">
          <ac:chgData name="Gavin Grimm" userId="6c4cb79d-2b23-417c-a733-7dcc36d0b4a1" providerId="ADAL" clId="{BA27B0C3-7E3B-4446-93A0-A47C6FAD50DC}" dt="2024-10-04T22:33:34.876" v="366" actId="164"/>
          <ac:spMkLst>
            <pc:docMk/>
            <pc:sldMk cId="1346025340" sldId="662"/>
            <ac:spMk id="68" creationId="{101CA6C1-11BC-8408-37FE-1E17A3DBC425}"/>
          </ac:spMkLst>
        </pc:spChg>
        <pc:spChg chg="mod topLvl">
          <ac:chgData name="Gavin Grimm" userId="6c4cb79d-2b23-417c-a733-7dcc36d0b4a1" providerId="ADAL" clId="{BA27B0C3-7E3B-4446-93A0-A47C6FAD50DC}" dt="2024-10-04T22:32:59.814" v="358" actId="165"/>
          <ac:spMkLst>
            <pc:docMk/>
            <pc:sldMk cId="1346025340" sldId="662"/>
            <ac:spMk id="69" creationId="{59B0E236-45E5-F9CA-BAAC-9760BDBEDD82}"/>
          </ac:spMkLst>
        </pc:spChg>
        <pc:spChg chg="mod topLvl">
          <ac:chgData name="Gavin Grimm" userId="6c4cb79d-2b23-417c-a733-7dcc36d0b4a1" providerId="ADAL" clId="{BA27B0C3-7E3B-4446-93A0-A47C6FAD50DC}" dt="2024-10-04T22:32:59.814" v="358" actId="165"/>
          <ac:spMkLst>
            <pc:docMk/>
            <pc:sldMk cId="1346025340" sldId="662"/>
            <ac:spMk id="70" creationId="{7CA18B83-7902-6F4F-A417-29F28762CEF5}"/>
          </ac:spMkLst>
        </pc:spChg>
        <pc:spChg chg="mod topLvl">
          <ac:chgData name="Gavin Grimm" userId="6c4cb79d-2b23-417c-a733-7dcc36d0b4a1" providerId="ADAL" clId="{BA27B0C3-7E3B-4446-93A0-A47C6FAD50DC}" dt="2024-10-04T22:32:59.814" v="358" actId="165"/>
          <ac:spMkLst>
            <pc:docMk/>
            <pc:sldMk cId="1346025340" sldId="662"/>
            <ac:spMk id="71" creationId="{5C4EBE86-63B8-7C4D-93BB-CB7D961F320B}"/>
          </ac:spMkLst>
        </pc:spChg>
        <pc:spChg chg="mod topLvl">
          <ac:chgData name="Gavin Grimm" userId="6c4cb79d-2b23-417c-a733-7dcc36d0b4a1" providerId="ADAL" clId="{BA27B0C3-7E3B-4446-93A0-A47C6FAD50DC}" dt="2024-10-04T22:32:59.814" v="358" actId="165"/>
          <ac:spMkLst>
            <pc:docMk/>
            <pc:sldMk cId="1346025340" sldId="662"/>
            <ac:spMk id="72" creationId="{D6233FDE-6900-9B3B-9D5B-FC8DBFE8433F}"/>
          </ac:spMkLst>
        </pc:spChg>
        <pc:spChg chg="mod topLvl">
          <ac:chgData name="Gavin Grimm" userId="6c4cb79d-2b23-417c-a733-7dcc36d0b4a1" providerId="ADAL" clId="{BA27B0C3-7E3B-4446-93A0-A47C6FAD50DC}" dt="2024-10-04T22:32:59.814" v="358" actId="165"/>
          <ac:spMkLst>
            <pc:docMk/>
            <pc:sldMk cId="1346025340" sldId="662"/>
            <ac:spMk id="73" creationId="{A85F25DB-6567-1815-21AB-96C2D4F3B7DD}"/>
          </ac:spMkLst>
        </pc:spChg>
        <pc:spChg chg="mod topLvl">
          <ac:chgData name="Gavin Grimm" userId="6c4cb79d-2b23-417c-a733-7dcc36d0b4a1" providerId="ADAL" clId="{BA27B0C3-7E3B-4446-93A0-A47C6FAD50DC}" dt="2024-10-04T22:32:59.814" v="358" actId="165"/>
          <ac:spMkLst>
            <pc:docMk/>
            <pc:sldMk cId="1346025340" sldId="662"/>
            <ac:spMk id="74" creationId="{D2CA2715-31EF-B2A0-B680-6340C201C1A6}"/>
          </ac:spMkLst>
        </pc:spChg>
        <pc:spChg chg="mod topLvl">
          <ac:chgData name="Gavin Grimm" userId="6c4cb79d-2b23-417c-a733-7dcc36d0b4a1" providerId="ADAL" clId="{BA27B0C3-7E3B-4446-93A0-A47C6FAD50DC}" dt="2024-10-04T22:32:59.814" v="358" actId="165"/>
          <ac:spMkLst>
            <pc:docMk/>
            <pc:sldMk cId="1346025340" sldId="662"/>
            <ac:spMk id="75" creationId="{3C768181-7477-4A28-E3BF-F4BE02E12B9A}"/>
          </ac:spMkLst>
        </pc:spChg>
        <pc:spChg chg="mod topLvl">
          <ac:chgData name="Gavin Grimm" userId="6c4cb79d-2b23-417c-a733-7dcc36d0b4a1" providerId="ADAL" clId="{BA27B0C3-7E3B-4446-93A0-A47C6FAD50DC}" dt="2024-10-04T22:33:34.876" v="366" actId="164"/>
          <ac:spMkLst>
            <pc:docMk/>
            <pc:sldMk cId="1346025340" sldId="662"/>
            <ac:spMk id="76" creationId="{3F287EE3-A06B-EE2D-96BE-AB47D4575D25}"/>
          </ac:spMkLst>
        </pc:spChg>
        <pc:spChg chg="mod topLvl">
          <ac:chgData name="Gavin Grimm" userId="6c4cb79d-2b23-417c-a733-7dcc36d0b4a1" providerId="ADAL" clId="{BA27B0C3-7E3B-4446-93A0-A47C6FAD50DC}" dt="2024-10-04T22:32:59.814" v="358" actId="165"/>
          <ac:spMkLst>
            <pc:docMk/>
            <pc:sldMk cId="1346025340" sldId="662"/>
            <ac:spMk id="77" creationId="{BB5E71EB-6C26-7AD9-13C6-16ED982AFAC1}"/>
          </ac:spMkLst>
        </pc:spChg>
        <pc:spChg chg="mod topLvl">
          <ac:chgData name="Gavin Grimm" userId="6c4cb79d-2b23-417c-a733-7dcc36d0b4a1" providerId="ADAL" clId="{BA27B0C3-7E3B-4446-93A0-A47C6FAD50DC}" dt="2024-10-04T22:32:59.814" v="358" actId="165"/>
          <ac:spMkLst>
            <pc:docMk/>
            <pc:sldMk cId="1346025340" sldId="662"/>
            <ac:spMk id="78" creationId="{21BA0AD5-21C7-78FE-633B-8431D006637C}"/>
          </ac:spMkLst>
        </pc:spChg>
        <pc:spChg chg="mod topLvl">
          <ac:chgData name="Gavin Grimm" userId="6c4cb79d-2b23-417c-a733-7dcc36d0b4a1" providerId="ADAL" clId="{BA27B0C3-7E3B-4446-93A0-A47C6FAD50DC}" dt="2024-10-04T22:32:59.814" v="358" actId="165"/>
          <ac:spMkLst>
            <pc:docMk/>
            <pc:sldMk cId="1346025340" sldId="662"/>
            <ac:spMk id="79" creationId="{24933765-2995-7648-4142-5FA7BD0179B1}"/>
          </ac:spMkLst>
        </pc:spChg>
        <pc:spChg chg="mod topLvl">
          <ac:chgData name="Gavin Grimm" userId="6c4cb79d-2b23-417c-a733-7dcc36d0b4a1" providerId="ADAL" clId="{BA27B0C3-7E3B-4446-93A0-A47C6FAD50DC}" dt="2024-10-04T22:32:59.814" v="358" actId="165"/>
          <ac:spMkLst>
            <pc:docMk/>
            <pc:sldMk cId="1346025340" sldId="662"/>
            <ac:spMk id="80" creationId="{1367E557-BD3A-C4F1-2CCB-2FCDE860EFC4}"/>
          </ac:spMkLst>
        </pc:spChg>
        <pc:spChg chg="mod topLvl">
          <ac:chgData name="Gavin Grimm" userId="6c4cb79d-2b23-417c-a733-7dcc36d0b4a1" providerId="ADAL" clId="{BA27B0C3-7E3B-4446-93A0-A47C6FAD50DC}" dt="2024-10-04T22:33:34.876" v="366" actId="164"/>
          <ac:spMkLst>
            <pc:docMk/>
            <pc:sldMk cId="1346025340" sldId="662"/>
            <ac:spMk id="81" creationId="{45C91DE4-E648-0B6B-0530-D16A7D0064C1}"/>
          </ac:spMkLst>
        </pc:spChg>
        <pc:spChg chg="mod topLvl">
          <ac:chgData name="Gavin Grimm" userId="6c4cb79d-2b23-417c-a733-7dcc36d0b4a1" providerId="ADAL" clId="{BA27B0C3-7E3B-4446-93A0-A47C6FAD50DC}" dt="2024-10-04T22:32:59.814" v="358" actId="165"/>
          <ac:spMkLst>
            <pc:docMk/>
            <pc:sldMk cId="1346025340" sldId="662"/>
            <ac:spMk id="82" creationId="{E6EFD8B5-238A-1B2D-40CF-1BFE70B6BD89}"/>
          </ac:spMkLst>
        </pc:spChg>
        <pc:spChg chg="mod topLvl">
          <ac:chgData name="Gavin Grimm" userId="6c4cb79d-2b23-417c-a733-7dcc36d0b4a1" providerId="ADAL" clId="{BA27B0C3-7E3B-4446-93A0-A47C6FAD50DC}" dt="2024-10-04T22:32:59.814" v="358" actId="165"/>
          <ac:spMkLst>
            <pc:docMk/>
            <pc:sldMk cId="1346025340" sldId="662"/>
            <ac:spMk id="83" creationId="{91EFB900-6F23-2831-BF82-694527DFB65C}"/>
          </ac:spMkLst>
        </pc:spChg>
        <pc:spChg chg="mod topLvl">
          <ac:chgData name="Gavin Grimm" userId="6c4cb79d-2b23-417c-a733-7dcc36d0b4a1" providerId="ADAL" clId="{BA27B0C3-7E3B-4446-93A0-A47C6FAD50DC}" dt="2024-10-04T22:32:59.814" v="358" actId="165"/>
          <ac:spMkLst>
            <pc:docMk/>
            <pc:sldMk cId="1346025340" sldId="662"/>
            <ac:spMk id="84" creationId="{FB189DF7-2D81-31A2-B3FA-012BB05887AB}"/>
          </ac:spMkLst>
        </pc:spChg>
        <pc:spChg chg="mod topLvl">
          <ac:chgData name="Gavin Grimm" userId="6c4cb79d-2b23-417c-a733-7dcc36d0b4a1" providerId="ADAL" clId="{BA27B0C3-7E3B-4446-93A0-A47C6FAD50DC}" dt="2024-10-04T22:32:59.814" v="358" actId="165"/>
          <ac:spMkLst>
            <pc:docMk/>
            <pc:sldMk cId="1346025340" sldId="662"/>
            <ac:spMk id="85" creationId="{B3E55C29-EE8A-CA4E-8080-F4DAD20D1DF5}"/>
          </ac:spMkLst>
        </pc:spChg>
        <pc:spChg chg="mod topLvl">
          <ac:chgData name="Gavin Grimm" userId="6c4cb79d-2b23-417c-a733-7dcc36d0b4a1" providerId="ADAL" clId="{BA27B0C3-7E3B-4446-93A0-A47C6FAD50DC}" dt="2024-10-04T22:33:34.876" v="366" actId="164"/>
          <ac:spMkLst>
            <pc:docMk/>
            <pc:sldMk cId="1346025340" sldId="662"/>
            <ac:spMk id="86" creationId="{87DD51EF-F2CA-2E5E-6563-BD9E28236A80}"/>
          </ac:spMkLst>
        </pc:spChg>
        <pc:spChg chg="mod topLvl">
          <ac:chgData name="Gavin Grimm" userId="6c4cb79d-2b23-417c-a733-7dcc36d0b4a1" providerId="ADAL" clId="{BA27B0C3-7E3B-4446-93A0-A47C6FAD50DC}" dt="2024-10-04T22:32:59.814" v="358" actId="165"/>
          <ac:spMkLst>
            <pc:docMk/>
            <pc:sldMk cId="1346025340" sldId="662"/>
            <ac:spMk id="87" creationId="{7E165ECC-7A79-98FC-600D-964A5FD2668B}"/>
          </ac:spMkLst>
        </pc:spChg>
        <pc:spChg chg="mod topLvl">
          <ac:chgData name="Gavin Grimm" userId="6c4cb79d-2b23-417c-a733-7dcc36d0b4a1" providerId="ADAL" clId="{BA27B0C3-7E3B-4446-93A0-A47C6FAD50DC}" dt="2024-10-04T22:32:59.814" v="358" actId="165"/>
          <ac:spMkLst>
            <pc:docMk/>
            <pc:sldMk cId="1346025340" sldId="662"/>
            <ac:spMk id="88" creationId="{2FB6E3C6-A244-92BF-84E2-A8C08E3AF531}"/>
          </ac:spMkLst>
        </pc:spChg>
        <pc:spChg chg="mod topLvl">
          <ac:chgData name="Gavin Grimm" userId="6c4cb79d-2b23-417c-a733-7dcc36d0b4a1" providerId="ADAL" clId="{BA27B0C3-7E3B-4446-93A0-A47C6FAD50DC}" dt="2024-10-04T22:32:59.814" v="358" actId="165"/>
          <ac:spMkLst>
            <pc:docMk/>
            <pc:sldMk cId="1346025340" sldId="662"/>
            <ac:spMk id="89" creationId="{F8F6186C-209C-5CDF-B0EF-CB1965E9BBFE}"/>
          </ac:spMkLst>
        </pc:spChg>
        <pc:spChg chg="mod topLvl">
          <ac:chgData name="Gavin Grimm" userId="6c4cb79d-2b23-417c-a733-7dcc36d0b4a1" providerId="ADAL" clId="{BA27B0C3-7E3B-4446-93A0-A47C6FAD50DC}" dt="2024-10-04T22:32:59.814" v="358" actId="165"/>
          <ac:spMkLst>
            <pc:docMk/>
            <pc:sldMk cId="1346025340" sldId="662"/>
            <ac:spMk id="90" creationId="{1FBABB91-779B-7CFB-A943-387AB3E13636}"/>
          </ac:spMkLst>
        </pc:spChg>
        <pc:spChg chg="mod topLvl">
          <ac:chgData name="Gavin Grimm" userId="6c4cb79d-2b23-417c-a733-7dcc36d0b4a1" providerId="ADAL" clId="{BA27B0C3-7E3B-4446-93A0-A47C6FAD50DC}" dt="2024-10-04T22:32:59.814" v="358" actId="165"/>
          <ac:spMkLst>
            <pc:docMk/>
            <pc:sldMk cId="1346025340" sldId="662"/>
            <ac:spMk id="91" creationId="{F3DCBDAB-E7BE-9F11-3B5C-9440060BB810}"/>
          </ac:spMkLst>
        </pc:spChg>
        <pc:spChg chg="mod topLvl">
          <ac:chgData name="Gavin Grimm" userId="6c4cb79d-2b23-417c-a733-7dcc36d0b4a1" providerId="ADAL" clId="{BA27B0C3-7E3B-4446-93A0-A47C6FAD50DC}" dt="2024-10-04T22:33:34.876" v="366" actId="164"/>
          <ac:spMkLst>
            <pc:docMk/>
            <pc:sldMk cId="1346025340" sldId="662"/>
            <ac:spMk id="92" creationId="{E157F568-F2A5-B895-F8FC-72EFB9F30963}"/>
          </ac:spMkLst>
        </pc:spChg>
        <pc:spChg chg="mod topLvl">
          <ac:chgData name="Gavin Grimm" userId="6c4cb79d-2b23-417c-a733-7dcc36d0b4a1" providerId="ADAL" clId="{BA27B0C3-7E3B-4446-93A0-A47C6FAD50DC}" dt="2024-10-04T22:32:59.814" v="358" actId="165"/>
          <ac:spMkLst>
            <pc:docMk/>
            <pc:sldMk cId="1346025340" sldId="662"/>
            <ac:spMk id="93" creationId="{34E987B6-3C9B-CF0C-E5DD-913ECB535891}"/>
          </ac:spMkLst>
        </pc:spChg>
        <pc:spChg chg="mod topLvl">
          <ac:chgData name="Gavin Grimm" userId="6c4cb79d-2b23-417c-a733-7dcc36d0b4a1" providerId="ADAL" clId="{BA27B0C3-7E3B-4446-93A0-A47C6FAD50DC}" dt="2024-10-04T22:32:59.814" v="358" actId="165"/>
          <ac:spMkLst>
            <pc:docMk/>
            <pc:sldMk cId="1346025340" sldId="662"/>
            <ac:spMk id="94" creationId="{B087A6A9-A564-EB22-8E79-DA9FC67D8419}"/>
          </ac:spMkLst>
        </pc:spChg>
        <pc:spChg chg="mod topLvl">
          <ac:chgData name="Gavin Grimm" userId="6c4cb79d-2b23-417c-a733-7dcc36d0b4a1" providerId="ADAL" clId="{BA27B0C3-7E3B-4446-93A0-A47C6FAD50DC}" dt="2024-10-04T22:32:59.814" v="358" actId="165"/>
          <ac:spMkLst>
            <pc:docMk/>
            <pc:sldMk cId="1346025340" sldId="662"/>
            <ac:spMk id="95" creationId="{01E75842-8383-BD77-780D-79E563AD4CFE}"/>
          </ac:spMkLst>
        </pc:spChg>
        <pc:spChg chg="mod topLvl">
          <ac:chgData name="Gavin Grimm" userId="6c4cb79d-2b23-417c-a733-7dcc36d0b4a1" providerId="ADAL" clId="{BA27B0C3-7E3B-4446-93A0-A47C6FAD50DC}" dt="2024-10-04T22:32:59.814" v="358" actId="165"/>
          <ac:spMkLst>
            <pc:docMk/>
            <pc:sldMk cId="1346025340" sldId="662"/>
            <ac:spMk id="96" creationId="{2D384992-45DE-634E-C81A-69FC93394E1B}"/>
          </ac:spMkLst>
        </pc:spChg>
        <pc:spChg chg="mod topLvl">
          <ac:chgData name="Gavin Grimm" userId="6c4cb79d-2b23-417c-a733-7dcc36d0b4a1" providerId="ADAL" clId="{BA27B0C3-7E3B-4446-93A0-A47C6FAD50DC}" dt="2024-10-04T22:32:59.814" v="358" actId="165"/>
          <ac:spMkLst>
            <pc:docMk/>
            <pc:sldMk cId="1346025340" sldId="662"/>
            <ac:spMk id="97" creationId="{DC2AB3BE-5F2A-2770-9791-DFD404D99B32}"/>
          </ac:spMkLst>
        </pc:spChg>
        <pc:spChg chg="mod topLvl">
          <ac:chgData name="Gavin Grimm" userId="6c4cb79d-2b23-417c-a733-7dcc36d0b4a1" providerId="ADAL" clId="{BA27B0C3-7E3B-4446-93A0-A47C6FAD50DC}" dt="2024-10-04T22:33:34.876" v="366" actId="164"/>
          <ac:spMkLst>
            <pc:docMk/>
            <pc:sldMk cId="1346025340" sldId="662"/>
            <ac:spMk id="98" creationId="{746C7FE5-2726-10C2-09C7-81E5AA34043D}"/>
          </ac:spMkLst>
        </pc:spChg>
        <pc:spChg chg="mod topLvl">
          <ac:chgData name="Gavin Grimm" userId="6c4cb79d-2b23-417c-a733-7dcc36d0b4a1" providerId="ADAL" clId="{BA27B0C3-7E3B-4446-93A0-A47C6FAD50DC}" dt="2024-10-04T22:32:59.814" v="358" actId="165"/>
          <ac:spMkLst>
            <pc:docMk/>
            <pc:sldMk cId="1346025340" sldId="662"/>
            <ac:spMk id="99" creationId="{4D8D5B51-51E5-C79A-65DE-1597516262B6}"/>
          </ac:spMkLst>
        </pc:spChg>
        <pc:spChg chg="mod topLvl">
          <ac:chgData name="Gavin Grimm" userId="6c4cb79d-2b23-417c-a733-7dcc36d0b4a1" providerId="ADAL" clId="{BA27B0C3-7E3B-4446-93A0-A47C6FAD50DC}" dt="2024-10-04T22:32:59.814" v="358" actId="165"/>
          <ac:spMkLst>
            <pc:docMk/>
            <pc:sldMk cId="1346025340" sldId="662"/>
            <ac:spMk id="100" creationId="{2CA16415-27E4-E9FE-E3A7-6352DF5AE855}"/>
          </ac:spMkLst>
        </pc:spChg>
        <pc:spChg chg="mod topLvl">
          <ac:chgData name="Gavin Grimm" userId="6c4cb79d-2b23-417c-a733-7dcc36d0b4a1" providerId="ADAL" clId="{BA27B0C3-7E3B-4446-93A0-A47C6FAD50DC}" dt="2024-10-04T22:32:59.814" v="358" actId="165"/>
          <ac:spMkLst>
            <pc:docMk/>
            <pc:sldMk cId="1346025340" sldId="662"/>
            <ac:spMk id="101" creationId="{B03C0EB0-582E-0F12-B208-8DF3CD42F896}"/>
          </ac:spMkLst>
        </pc:spChg>
        <pc:spChg chg="mod topLvl">
          <ac:chgData name="Gavin Grimm" userId="6c4cb79d-2b23-417c-a733-7dcc36d0b4a1" providerId="ADAL" clId="{BA27B0C3-7E3B-4446-93A0-A47C6FAD50DC}" dt="2024-10-04T22:32:59.814" v="358" actId="165"/>
          <ac:spMkLst>
            <pc:docMk/>
            <pc:sldMk cId="1346025340" sldId="662"/>
            <ac:spMk id="102" creationId="{6BD619E1-A4CD-43AF-B84A-1F8853BC550D}"/>
          </ac:spMkLst>
        </pc:spChg>
        <pc:spChg chg="mod topLvl">
          <ac:chgData name="Gavin Grimm" userId="6c4cb79d-2b23-417c-a733-7dcc36d0b4a1" providerId="ADAL" clId="{BA27B0C3-7E3B-4446-93A0-A47C6FAD50DC}" dt="2024-10-04T22:33:34.876" v="366" actId="164"/>
          <ac:spMkLst>
            <pc:docMk/>
            <pc:sldMk cId="1346025340" sldId="662"/>
            <ac:spMk id="103" creationId="{C2073EB1-3148-AED3-0749-07316143283A}"/>
          </ac:spMkLst>
        </pc:spChg>
        <pc:grpChg chg="mod">
          <ac:chgData name="Gavin Grimm" userId="6c4cb79d-2b23-417c-a733-7dcc36d0b4a1" providerId="ADAL" clId="{BA27B0C3-7E3B-4446-93A0-A47C6FAD50DC}" dt="2024-10-04T22:31:55.979" v="349" actId="338"/>
          <ac:grpSpMkLst>
            <pc:docMk/>
            <pc:sldMk cId="1346025340" sldId="662"/>
            <ac:grpSpMk id="1" creationId="{00000000-0000-0000-0000-000000000000}"/>
          </ac:grpSpMkLst>
        </pc:grpChg>
        <pc:grpChg chg="add del mod">
          <ac:chgData name="Gavin Grimm" userId="6c4cb79d-2b23-417c-a733-7dcc36d0b4a1" providerId="ADAL" clId="{BA27B0C3-7E3B-4446-93A0-A47C6FAD50DC}" dt="2024-10-04T22:32:55.100" v="356" actId="165"/>
          <ac:grpSpMkLst>
            <pc:docMk/>
            <pc:sldMk cId="1346025340" sldId="662"/>
            <ac:grpSpMk id="4" creationId="{5579182F-7D61-2814-8A17-BE90FF11F701}"/>
          </ac:grpSpMkLst>
        </pc:grpChg>
        <pc:grpChg chg="add del mod">
          <ac:chgData name="Gavin Grimm" userId="6c4cb79d-2b23-417c-a733-7dcc36d0b4a1" providerId="ADAL" clId="{BA27B0C3-7E3B-4446-93A0-A47C6FAD50DC}" dt="2024-10-04T22:32:59.814" v="358" actId="165"/>
          <ac:grpSpMkLst>
            <pc:docMk/>
            <pc:sldMk cId="1346025340" sldId="662"/>
            <ac:grpSpMk id="104" creationId="{7BBBB409-1DC4-4E28-C82F-C7F260CE8E42}"/>
          </ac:grpSpMkLst>
        </pc:grpChg>
        <pc:grpChg chg="add mod">
          <ac:chgData name="Gavin Grimm" userId="6c4cb79d-2b23-417c-a733-7dcc36d0b4a1" providerId="ADAL" clId="{BA27B0C3-7E3B-4446-93A0-A47C6FAD50DC}" dt="2024-10-04T22:33:18.847" v="360" actId="164"/>
          <ac:grpSpMkLst>
            <pc:docMk/>
            <pc:sldMk cId="1346025340" sldId="662"/>
            <ac:grpSpMk id="105" creationId="{353847C7-04CF-BD6B-79C4-05C054133FB1}"/>
          </ac:grpSpMkLst>
        </pc:grpChg>
        <pc:grpChg chg="add mod">
          <ac:chgData name="Gavin Grimm" userId="6c4cb79d-2b23-417c-a733-7dcc36d0b4a1" providerId="ADAL" clId="{BA27B0C3-7E3B-4446-93A0-A47C6FAD50DC}" dt="2024-10-04T22:33:34.876" v="366" actId="164"/>
          <ac:grpSpMkLst>
            <pc:docMk/>
            <pc:sldMk cId="1346025340" sldId="662"/>
            <ac:grpSpMk id="106" creationId="{FB625C3D-3E18-CAD8-1ECB-8C7E1C604238}"/>
          </ac:grpSpMkLst>
        </pc:grpChg>
        <pc:graphicFrameChg chg="del">
          <ac:chgData name="Gavin Grimm" userId="6c4cb79d-2b23-417c-a733-7dcc36d0b4a1" providerId="ADAL" clId="{BA27B0C3-7E3B-4446-93A0-A47C6FAD50DC}" dt="2024-10-04T22:31:40.788" v="347" actId="21"/>
          <ac:graphicFrameMkLst>
            <pc:docMk/>
            <pc:sldMk cId="1346025340" sldId="662"/>
            <ac:graphicFrameMk id="2" creationId="{3C4A8400-3FA5-C5FE-AEC1-E980B5F61320}"/>
          </ac:graphicFrameMkLst>
        </pc:graphicFrameChg>
        <pc:picChg chg="del mod">
          <ac:chgData name="Gavin Grimm" userId="6c4cb79d-2b23-417c-a733-7dcc36d0b4a1" providerId="ADAL" clId="{BA27B0C3-7E3B-4446-93A0-A47C6FAD50DC}" dt="2024-10-04T22:31:55.979" v="349" actId="338"/>
          <ac:picMkLst>
            <pc:docMk/>
            <pc:sldMk cId="1346025340" sldId="662"/>
            <ac:picMk id="3" creationId="{B9EEAE10-F3BD-F88E-7F8D-7D7DB9873CBB}"/>
          </ac:picMkLst>
        </pc:picChg>
      </pc:sldChg>
      <pc:sldChg chg="modSp add del mod">
        <pc:chgData name="Gavin Grimm" userId="6c4cb79d-2b23-417c-a733-7dcc36d0b4a1" providerId="ADAL" clId="{BA27B0C3-7E3B-4446-93A0-A47C6FAD50DC}" dt="2024-10-04T21:58:10.852" v="70" actId="2890"/>
        <pc:sldMkLst>
          <pc:docMk/>
          <pc:sldMk cId="362498557" sldId="663"/>
        </pc:sldMkLst>
        <pc:spChg chg="mod">
          <ac:chgData name="Gavin Grimm" userId="6c4cb79d-2b23-417c-a733-7dcc36d0b4a1" providerId="ADAL" clId="{BA27B0C3-7E3B-4446-93A0-A47C6FAD50DC}" dt="2024-10-04T21:58:10.820" v="69" actId="20577"/>
          <ac:spMkLst>
            <pc:docMk/>
            <pc:sldMk cId="362498557" sldId="663"/>
            <ac:spMk id="42" creationId="{C7E757C5-03D1-1F7C-8394-C9FB4BCDFB61}"/>
          </ac:spMkLst>
        </pc:spChg>
      </pc:sldChg>
    </pc:docChg>
  </pc:docChgLst>
  <pc:docChgLst>
    <pc:chgData name="Leo Xing" userId="S::l7xing@uwaterloo.ca::092ea61f-c2f3-4c9c-8a83-cb04ba707769" providerId="AD" clId="Web-{23250839-7FED-D064-18F9-4F009996D2B6}"/>
    <pc:docChg chg="addSld delSld modSld modSection">
      <pc:chgData name="Leo Xing" userId="S::l7xing@uwaterloo.ca::092ea61f-c2f3-4c9c-8a83-cb04ba707769" providerId="AD" clId="Web-{23250839-7FED-D064-18F9-4F009996D2B6}" dt="2024-10-05T06:06:01.605" v="1225" actId="20577"/>
      <pc:docMkLst>
        <pc:docMk/>
      </pc:docMkLst>
      <pc:sldChg chg="addSp delSp modSp add del">
        <pc:chgData name="Leo Xing" userId="S::l7xing@uwaterloo.ca::092ea61f-c2f3-4c9c-8a83-cb04ba707769" providerId="AD" clId="Web-{23250839-7FED-D064-18F9-4F009996D2B6}" dt="2024-10-05T06:06:01.605" v="1225" actId="20577"/>
        <pc:sldMkLst>
          <pc:docMk/>
          <pc:sldMk cId="1787319496" sldId="652"/>
        </pc:sldMkLst>
        <pc:spChg chg="add del mod">
          <ac:chgData name="Leo Xing" userId="S::l7xing@uwaterloo.ca::092ea61f-c2f3-4c9c-8a83-cb04ba707769" providerId="AD" clId="Web-{23250839-7FED-D064-18F9-4F009996D2B6}" dt="2024-10-05T05:38:02.767" v="106"/>
          <ac:spMkLst>
            <pc:docMk/>
            <pc:sldMk cId="1787319496" sldId="652"/>
            <ac:spMk id="2" creationId="{5AB993F1-7BA9-055F-6521-AF172DFE1371}"/>
          </ac:spMkLst>
        </pc:spChg>
        <pc:spChg chg="add mod">
          <ac:chgData name="Leo Xing" userId="S::l7xing@uwaterloo.ca::092ea61f-c2f3-4c9c-8a83-cb04ba707769" providerId="AD" clId="Web-{23250839-7FED-D064-18F9-4F009996D2B6}" dt="2024-10-05T05:38:15.798" v="111"/>
          <ac:spMkLst>
            <pc:docMk/>
            <pc:sldMk cId="1787319496" sldId="652"/>
            <ac:spMk id="3" creationId="{CF60932E-0063-6991-2BA3-1A347F1E72F8}"/>
          </ac:spMkLst>
        </pc:spChg>
        <pc:spChg chg="add mod ord">
          <ac:chgData name="Leo Xing" userId="S::l7xing@uwaterloo.ca::092ea61f-c2f3-4c9c-8a83-cb04ba707769" providerId="AD" clId="Web-{23250839-7FED-D064-18F9-4F009996D2B6}" dt="2024-10-05T06:06:01.605" v="1225" actId="20577"/>
          <ac:spMkLst>
            <pc:docMk/>
            <pc:sldMk cId="1787319496" sldId="652"/>
            <ac:spMk id="4" creationId="{33A612CA-2592-4795-DB7E-CE4E0F65DCB0}"/>
          </ac:spMkLst>
        </pc:spChg>
        <pc:spChg chg="add mod">
          <ac:chgData name="Leo Xing" userId="S::l7xing@uwaterloo.ca::092ea61f-c2f3-4c9c-8a83-cb04ba707769" providerId="AD" clId="Web-{23250839-7FED-D064-18F9-4F009996D2B6}" dt="2024-10-05T05:53:10.703" v="647" actId="14100"/>
          <ac:spMkLst>
            <pc:docMk/>
            <pc:sldMk cId="1787319496" sldId="652"/>
            <ac:spMk id="7" creationId="{EA693674-A127-EECA-D728-BF1BA6F6E6DC}"/>
          </ac:spMkLst>
        </pc:spChg>
        <pc:spChg chg="add del mod">
          <ac:chgData name="Leo Xing" userId="S::l7xing@uwaterloo.ca::092ea61f-c2f3-4c9c-8a83-cb04ba707769" providerId="AD" clId="Web-{23250839-7FED-D064-18F9-4F009996D2B6}" dt="2024-10-05T05:43:32.069" v="185"/>
          <ac:spMkLst>
            <pc:docMk/>
            <pc:sldMk cId="1787319496" sldId="652"/>
            <ac:spMk id="9" creationId="{061648DF-6AD4-75BE-BEE5-BA89B8361C31}"/>
          </ac:spMkLst>
        </pc:spChg>
        <pc:spChg chg="add del mod">
          <ac:chgData name="Leo Xing" userId="S::l7xing@uwaterloo.ca::092ea61f-c2f3-4c9c-8a83-cb04ba707769" providerId="AD" clId="Web-{23250839-7FED-D064-18F9-4F009996D2B6}" dt="2024-10-05T05:43:33.100" v="186"/>
          <ac:spMkLst>
            <pc:docMk/>
            <pc:sldMk cId="1787319496" sldId="652"/>
            <ac:spMk id="12" creationId="{F1DC607E-7173-DDDF-9269-569F9DB3A06D}"/>
          </ac:spMkLst>
        </pc:spChg>
        <pc:spChg chg="add del mod">
          <ac:chgData name="Leo Xing" userId="S::l7xing@uwaterloo.ca::092ea61f-c2f3-4c9c-8a83-cb04ba707769" providerId="AD" clId="Web-{23250839-7FED-D064-18F9-4F009996D2B6}" dt="2024-10-05T05:43:33.663" v="187"/>
          <ac:spMkLst>
            <pc:docMk/>
            <pc:sldMk cId="1787319496" sldId="652"/>
            <ac:spMk id="13" creationId="{BEB753F3-386D-69CF-148F-CAE2A2BB24BC}"/>
          </ac:spMkLst>
        </pc:spChg>
        <pc:spChg chg="add del mod">
          <ac:chgData name="Leo Xing" userId="S::l7xing@uwaterloo.ca::092ea61f-c2f3-4c9c-8a83-cb04ba707769" providerId="AD" clId="Web-{23250839-7FED-D064-18F9-4F009996D2B6}" dt="2024-10-05T05:43:34.178" v="188"/>
          <ac:spMkLst>
            <pc:docMk/>
            <pc:sldMk cId="1787319496" sldId="652"/>
            <ac:spMk id="14" creationId="{0F760137-C830-6007-8A77-147BB8C81A72}"/>
          </ac:spMkLst>
        </pc:spChg>
        <pc:spChg chg="add del mod">
          <ac:chgData name="Leo Xing" userId="S::l7xing@uwaterloo.ca::092ea61f-c2f3-4c9c-8a83-cb04ba707769" providerId="AD" clId="Web-{23250839-7FED-D064-18F9-4F009996D2B6}" dt="2024-10-05T05:43:34.631" v="189"/>
          <ac:spMkLst>
            <pc:docMk/>
            <pc:sldMk cId="1787319496" sldId="652"/>
            <ac:spMk id="15" creationId="{E886F88E-D67C-0D60-9B70-6E6368DA637C}"/>
          </ac:spMkLst>
        </pc:spChg>
        <pc:spChg chg="add mod">
          <ac:chgData name="Leo Xing" userId="S::l7xing@uwaterloo.ca::092ea61f-c2f3-4c9c-8a83-cb04ba707769" providerId="AD" clId="Web-{23250839-7FED-D064-18F9-4F009996D2B6}" dt="2024-10-05T05:49:38.887" v="545" actId="1076"/>
          <ac:spMkLst>
            <pc:docMk/>
            <pc:sldMk cId="1787319496" sldId="652"/>
            <ac:spMk id="16" creationId="{65BEF18B-9510-1A3B-AF11-3061853B54AB}"/>
          </ac:spMkLst>
        </pc:spChg>
        <pc:spChg chg="add del mod">
          <ac:chgData name="Leo Xing" userId="S::l7xing@uwaterloo.ca::092ea61f-c2f3-4c9c-8a83-cb04ba707769" providerId="AD" clId="Web-{23250839-7FED-D064-18F9-4F009996D2B6}" dt="2024-10-05T05:49:26.980" v="536"/>
          <ac:spMkLst>
            <pc:docMk/>
            <pc:sldMk cId="1787319496" sldId="652"/>
            <ac:spMk id="17" creationId="{FF86D4A2-FEAC-0667-2529-9BF9F1F17E65}"/>
          </ac:spMkLst>
        </pc:spChg>
        <pc:spChg chg="add del mod">
          <ac:chgData name="Leo Xing" userId="S::l7xing@uwaterloo.ca::092ea61f-c2f3-4c9c-8a83-cb04ba707769" providerId="AD" clId="Web-{23250839-7FED-D064-18F9-4F009996D2B6}" dt="2024-10-05T05:49:26.324" v="535"/>
          <ac:spMkLst>
            <pc:docMk/>
            <pc:sldMk cId="1787319496" sldId="652"/>
            <ac:spMk id="18" creationId="{7B6FEDCF-77F4-43C7-222C-7B9A4AB29419}"/>
          </ac:spMkLst>
        </pc:spChg>
        <pc:spChg chg="add del mod">
          <ac:chgData name="Leo Xing" userId="S::l7xing@uwaterloo.ca::092ea61f-c2f3-4c9c-8a83-cb04ba707769" providerId="AD" clId="Web-{23250839-7FED-D064-18F9-4F009996D2B6}" dt="2024-10-05T05:49:27.605" v="537"/>
          <ac:spMkLst>
            <pc:docMk/>
            <pc:sldMk cId="1787319496" sldId="652"/>
            <ac:spMk id="19" creationId="{7C165729-2BD5-198D-B217-8D2829C5D3E1}"/>
          </ac:spMkLst>
        </pc:spChg>
        <pc:spChg chg="add mod">
          <ac:chgData name="Leo Xing" userId="S::l7xing@uwaterloo.ca::092ea61f-c2f3-4c9c-8a83-cb04ba707769" providerId="AD" clId="Web-{23250839-7FED-D064-18F9-4F009996D2B6}" dt="2024-10-05T05:47:15.322" v="429" actId="1076"/>
          <ac:spMkLst>
            <pc:docMk/>
            <pc:sldMk cId="1787319496" sldId="652"/>
            <ac:spMk id="20" creationId="{DB9649A0-FB0D-1010-54D2-70A0A7833456}"/>
          </ac:spMkLst>
        </pc:spChg>
        <pc:spChg chg="add mod">
          <ac:chgData name="Leo Xing" userId="S::l7xing@uwaterloo.ca::092ea61f-c2f3-4c9c-8a83-cb04ba707769" providerId="AD" clId="Web-{23250839-7FED-D064-18F9-4F009996D2B6}" dt="2024-10-05T05:50:48.950" v="583" actId="1076"/>
          <ac:spMkLst>
            <pc:docMk/>
            <pc:sldMk cId="1787319496" sldId="652"/>
            <ac:spMk id="21" creationId="{997EEFC8-C82A-82F0-A051-FB11AE4CB378}"/>
          </ac:spMkLst>
        </pc:spChg>
        <pc:spChg chg="add mod">
          <ac:chgData name="Leo Xing" userId="S::l7xing@uwaterloo.ca::092ea61f-c2f3-4c9c-8a83-cb04ba707769" providerId="AD" clId="Web-{23250839-7FED-D064-18F9-4F009996D2B6}" dt="2024-10-05T05:52:09.342" v="620" actId="1076"/>
          <ac:spMkLst>
            <pc:docMk/>
            <pc:sldMk cId="1787319496" sldId="652"/>
            <ac:spMk id="22" creationId="{BCC7FC26-6152-9264-3CC5-8EB4A7DF7782}"/>
          </ac:spMkLst>
        </pc:spChg>
        <pc:spChg chg="add mod">
          <ac:chgData name="Leo Xing" userId="S::l7xing@uwaterloo.ca::092ea61f-c2f3-4c9c-8a83-cb04ba707769" providerId="AD" clId="Web-{23250839-7FED-D064-18F9-4F009996D2B6}" dt="2024-10-05T05:52:34.140" v="639" actId="1076"/>
          <ac:spMkLst>
            <pc:docMk/>
            <pc:sldMk cId="1787319496" sldId="652"/>
            <ac:spMk id="23" creationId="{EB6D6794-5066-0212-5AEE-2B457A937121}"/>
          </ac:spMkLst>
        </pc:spChg>
        <pc:spChg chg="add mod">
          <ac:chgData name="Leo Xing" userId="S::l7xing@uwaterloo.ca::092ea61f-c2f3-4c9c-8a83-cb04ba707769" providerId="AD" clId="Web-{23250839-7FED-D064-18F9-4F009996D2B6}" dt="2024-10-05T05:52:47.859" v="642" actId="1076"/>
          <ac:spMkLst>
            <pc:docMk/>
            <pc:sldMk cId="1787319496" sldId="652"/>
            <ac:spMk id="24" creationId="{470E7B34-D2C8-E805-D042-9EB9A53A94D2}"/>
          </ac:spMkLst>
        </pc:spChg>
        <pc:spChg chg="add mod">
          <ac:chgData name="Leo Xing" userId="S::l7xing@uwaterloo.ca::092ea61f-c2f3-4c9c-8a83-cb04ba707769" providerId="AD" clId="Web-{23250839-7FED-D064-18F9-4F009996D2B6}" dt="2024-10-05T05:53:23.781" v="651" actId="14100"/>
          <ac:spMkLst>
            <pc:docMk/>
            <pc:sldMk cId="1787319496" sldId="652"/>
            <ac:spMk id="25" creationId="{260FB528-A2DF-B204-1D5C-C7133353A86E}"/>
          </ac:spMkLst>
        </pc:spChg>
        <pc:spChg chg="add del">
          <ac:chgData name="Leo Xing" userId="S::l7xing@uwaterloo.ca::092ea61f-c2f3-4c9c-8a83-cb04ba707769" providerId="AD" clId="Web-{23250839-7FED-D064-18F9-4F009996D2B6}" dt="2024-10-05T05:50:26.278" v="571"/>
          <ac:spMkLst>
            <pc:docMk/>
            <pc:sldMk cId="1787319496" sldId="652"/>
            <ac:spMk id="28" creationId="{9E3888CB-0D63-F3E2-10AB-5BDDAE687AE5}"/>
          </ac:spMkLst>
        </pc:spChg>
        <pc:spChg chg="add mod">
          <ac:chgData name="Leo Xing" userId="S::l7xing@uwaterloo.ca::092ea61f-c2f3-4c9c-8a83-cb04ba707769" providerId="AD" clId="Web-{23250839-7FED-D064-18F9-4F009996D2B6}" dt="2024-10-05T05:53:29.844" v="652" actId="14100"/>
          <ac:spMkLst>
            <pc:docMk/>
            <pc:sldMk cId="1787319496" sldId="652"/>
            <ac:spMk id="29" creationId="{B2E31E26-7605-181A-CC84-10C605EC18A1}"/>
          </ac:spMkLst>
        </pc:spChg>
        <pc:spChg chg="add mod">
          <ac:chgData name="Leo Xing" userId="S::l7xing@uwaterloo.ca::092ea61f-c2f3-4c9c-8a83-cb04ba707769" providerId="AD" clId="Web-{23250839-7FED-D064-18F9-4F009996D2B6}" dt="2024-10-05T05:53:20.672" v="650" actId="14100"/>
          <ac:spMkLst>
            <pc:docMk/>
            <pc:sldMk cId="1787319496" sldId="652"/>
            <ac:spMk id="30" creationId="{0BBF209B-ACF0-31AE-4CB9-B42FEEBD6AA4}"/>
          </ac:spMkLst>
        </pc:spChg>
        <pc:spChg chg="add mod">
          <ac:chgData name="Leo Xing" userId="S::l7xing@uwaterloo.ca::092ea61f-c2f3-4c9c-8a83-cb04ba707769" providerId="AD" clId="Web-{23250839-7FED-D064-18F9-4F009996D2B6}" dt="2024-10-05T05:52:43.687" v="640"/>
          <ac:spMkLst>
            <pc:docMk/>
            <pc:sldMk cId="1787319496" sldId="652"/>
            <ac:spMk id="31" creationId="{8EA47EE4-E898-2A48-A632-BB0D6C3C2CF0}"/>
          </ac:spMkLst>
        </pc:spChg>
        <pc:spChg chg="add mod">
          <ac:chgData name="Leo Xing" userId="S::l7xing@uwaterloo.ca::092ea61f-c2f3-4c9c-8a83-cb04ba707769" providerId="AD" clId="Web-{23250839-7FED-D064-18F9-4F009996D2B6}" dt="2024-10-05T05:53:02.984" v="645"/>
          <ac:spMkLst>
            <pc:docMk/>
            <pc:sldMk cId="1787319496" sldId="652"/>
            <ac:spMk id="32" creationId="{8F28253C-BC89-1278-BCDA-44522C03B04A}"/>
          </ac:spMkLst>
        </pc:spChg>
        <pc:spChg chg="del mod">
          <ac:chgData name="Leo Xing" userId="S::l7xing@uwaterloo.ca::092ea61f-c2f3-4c9c-8a83-cb04ba707769" providerId="AD" clId="Web-{23250839-7FED-D064-18F9-4F009996D2B6}" dt="2024-10-05T05:37:07.797" v="92"/>
          <ac:spMkLst>
            <pc:docMk/>
            <pc:sldMk cId="1787319496" sldId="652"/>
            <ac:spMk id="42" creationId="{C7E757C5-03D1-1F7C-8394-C9FB4BCDFB61}"/>
          </ac:spMkLst>
        </pc:spChg>
        <pc:spChg chg="del">
          <ac:chgData name="Leo Xing" userId="S::l7xing@uwaterloo.ca::092ea61f-c2f3-4c9c-8a83-cb04ba707769" providerId="AD" clId="Web-{23250839-7FED-D064-18F9-4F009996D2B6}" dt="2024-10-05T05:34:31.389" v="12"/>
          <ac:spMkLst>
            <pc:docMk/>
            <pc:sldMk cId="1787319496" sldId="652"/>
            <ac:spMk id="43" creationId="{3896FE4D-A7AE-099B-363F-0C85F0A9502A}"/>
          </ac:spMkLst>
        </pc:spChg>
        <pc:spChg chg="del mod">
          <ac:chgData name="Leo Xing" userId="S::l7xing@uwaterloo.ca::092ea61f-c2f3-4c9c-8a83-cb04ba707769" providerId="AD" clId="Web-{23250839-7FED-D064-18F9-4F009996D2B6}" dt="2024-10-05T05:39:28.940" v="131"/>
          <ac:spMkLst>
            <pc:docMk/>
            <pc:sldMk cId="1787319496" sldId="652"/>
            <ac:spMk id="44" creationId="{9A0D7DE8-29FE-08C8-D01C-97334E84F4D3}"/>
          </ac:spMkLst>
        </pc:spChg>
        <pc:graphicFrameChg chg="add del mod">
          <ac:chgData name="Leo Xing" userId="S::l7xing@uwaterloo.ca::092ea61f-c2f3-4c9c-8a83-cb04ba707769" providerId="AD" clId="Web-{23250839-7FED-D064-18F9-4F009996D2B6}" dt="2024-10-05T05:41:39.427" v="147"/>
          <ac:graphicFrameMkLst>
            <pc:docMk/>
            <pc:sldMk cId="1787319496" sldId="652"/>
            <ac:graphicFrameMk id="6" creationId="{EE9235DE-3A46-B0E6-7329-AD2BB96BEB53}"/>
          </ac:graphicFrameMkLst>
        </pc:graphicFrameChg>
        <pc:graphicFrameChg chg="add del mod modGraphic">
          <ac:chgData name="Leo Xing" userId="S::l7xing@uwaterloo.ca::092ea61f-c2f3-4c9c-8a83-cb04ba707769" providerId="AD" clId="Web-{23250839-7FED-D064-18F9-4F009996D2B6}" dt="2024-10-05T05:43:11.881" v="176"/>
          <ac:graphicFrameMkLst>
            <pc:docMk/>
            <pc:sldMk cId="1787319496" sldId="652"/>
            <ac:graphicFrameMk id="11" creationId="{052D37BF-1FE5-14CF-7073-F9067DD25067}"/>
          </ac:graphicFrameMkLst>
        </pc:graphicFrameChg>
        <pc:cxnChg chg="add del mod">
          <ac:chgData name="Leo Xing" userId="S::l7xing@uwaterloo.ca::092ea61f-c2f3-4c9c-8a83-cb04ba707769" providerId="AD" clId="Web-{23250839-7FED-D064-18F9-4F009996D2B6}" dt="2024-10-05T05:42:39.677" v="164"/>
          <ac:cxnSpMkLst>
            <pc:docMk/>
            <pc:sldMk cId="1787319496" sldId="652"/>
            <ac:cxnSpMk id="8" creationId="{73388EE7-C8EC-A892-004B-EED0FC403E01}"/>
          </ac:cxnSpMkLst>
        </pc:cxnChg>
      </pc:sldChg>
      <pc:sldChg chg="addSp delSp modSp new">
        <pc:chgData name="Leo Xing" userId="S::l7xing@uwaterloo.ca::092ea61f-c2f3-4c9c-8a83-cb04ba707769" providerId="AD" clId="Web-{23250839-7FED-D064-18F9-4F009996D2B6}" dt="2024-10-05T06:00:40.772" v="1081" actId="1076"/>
        <pc:sldMkLst>
          <pc:docMk/>
          <pc:sldMk cId="3071594886" sldId="663"/>
        </pc:sldMkLst>
        <pc:spChg chg="del">
          <ac:chgData name="Leo Xing" userId="S::l7xing@uwaterloo.ca::092ea61f-c2f3-4c9c-8a83-cb04ba707769" providerId="AD" clId="Web-{23250839-7FED-D064-18F9-4F009996D2B6}" dt="2024-10-05T05:40:43.066" v="137"/>
          <ac:spMkLst>
            <pc:docMk/>
            <pc:sldMk cId="3071594886" sldId="663"/>
            <ac:spMk id="2" creationId="{AC73CA78-EA44-1515-0A36-E099B31D9CC8}"/>
          </ac:spMkLst>
        </pc:spChg>
        <pc:spChg chg="del">
          <ac:chgData name="Leo Xing" userId="S::l7xing@uwaterloo.ca::092ea61f-c2f3-4c9c-8a83-cb04ba707769" providerId="AD" clId="Web-{23250839-7FED-D064-18F9-4F009996D2B6}" dt="2024-10-05T05:40:45.066" v="138"/>
          <ac:spMkLst>
            <pc:docMk/>
            <pc:sldMk cId="3071594886" sldId="663"/>
            <ac:spMk id="3" creationId="{19E248DD-01A3-14E6-591F-A8145473CF22}"/>
          </ac:spMkLst>
        </pc:spChg>
        <pc:spChg chg="del mod">
          <ac:chgData name="Leo Xing" userId="S::l7xing@uwaterloo.ca::092ea61f-c2f3-4c9c-8a83-cb04ba707769" providerId="AD" clId="Web-{23250839-7FED-D064-18F9-4F009996D2B6}" dt="2024-10-05T05:54:37.016" v="701"/>
          <ac:spMkLst>
            <pc:docMk/>
            <pc:sldMk cId="3071594886" sldId="663"/>
            <ac:spMk id="4" creationId="{8EA11151-8E8A-B541-71CC-24C6C15E5C33}"/>
          </ac:spMkLst>
        </pc:spChg>
        <pc:spChg chg="add mod">
          <ac:chgData name="Leo Xing" userId="S::l7xing@uwaterloo.ca::092ea61f-c2f3-4c9c-8a83-cb04ba707769" providerId="AD" clId="Web-{23250839-7FED-D064-18F9-4F009996D2B6}" dt="2024-10-05T05:53:58.266" v="656" actId="20577"/>
          <ac:spMkLst>
            <pc:docMk/>
            <pc:sldMk cId="3071594886" sldId="663"/>
            <ac:spMk id="8" creationId="{377598D0-35F6-94D3-DCE1-3B3AB184D68F}"/>
          </ac:spMkLst>
        </pc:spChg>
        <pc:spChg chg="add mod">
          <ac:chgData name="Leo Xing" userId="S::l7xing@uwaterloo.ca::092ea61f-c2f3-4c9c-8a83-cb04ba707769" providerId="AD" clId="Web-{23250839-7FED-D064-18F9-4F009996D2B6}" dt="2024-10-05T05:59:50.131" v="1041"/>
          <ac:spMkLst>
            <pc:docMk/>
            <pc:sldMk cId="3071594886" sldId="663"/>
            <ac:spMk id="13" creationId="{C8676B13-ED23-D81D-BA70-49D47120C22C}"/>
          </ac:spMkLst>
        </pc:spChg>
        <pc:spChg chg="add mod">
          <ac:chgData name="Leo Xing" userId="S::l7xing@uwaterloo.ca::092ea61f-c2f3-4c9c-8a83-cb04ba707769" providerId="AD" clId="Web-{23250839-7FED-D064-18F9-4F009996D2B6}" dt="2024-10-05T06:00:40.772" v="1081" actId="1076"/>
          <ac:spMkLst>
            <pc:docMk/>
            <pc:sldMk cId="3071594886" sldId="663"/>
            <ac:spMk id="14" creationId="{3DC2E2A5-C070-8F6E-2784-278EC364CE2D}"/>
          </ac:spMkLst>
        </pc:spChg>
        <pc:graphicFrameChg chg="add del mod modGraphic">
          <ac:chgData name="Leo Xing" userId="S::l7xing@uwaterloo.ca::092ea61f-c2f3-4c9c-8a83-cb04ba707769" providerId="AD" clId="Web-{23250839-7FED-D064-18F9-4F009996D2B6}" dt="2024-10-05T05:54:39.376" v="702"/>
          <ac:graphicFrameMkLst>
            <pc:docMk/>
            <pc:sldMk cId="3071594886" sldId="663"/>
            <ac:graphicFrameMk id="10" creationId="{2096D246-2D93-0EA5-8AA9-C816C5122466}"/>
          </ac:graphicFrameMkLst>
        </pc:graphicFrameChg>
        <pc:graphicFrameChg chg="add mod modGraphic">
          <ac:chgData name="Leo Xing" userId="S::l7xing@uwaterloo.ca::092ea61f-c2f3-4c9c-8a83-cb04ba707769" providerId="AD" clId="Web-{23250839-7FED-D064-18F9-4F009996D2B6}" dt="2024-10-05T05:57:48.488" v="1038" actId="1076"/>
          <ac:graphicFrameMkLst>
            <pc:docMk/>
            <pc:sldMk cId="3071594886" sldId="663"/>
            <ac:graphicFrameMk id="12" creationId="{34450D97-3342-FA72-52C2-8DF6240CF90A}"/>
          </ac:graphicFrameMkLst>
        </pc:graphicFrameChg>
      </pc:sldChg>
    </pc:docChg>
  </pc:docChgLst>
  <pc:docChgLst>
    <pc:chgData name="Luke Johnston" userId="S::l9johnst@uwaterloo.ca::7be5ec8b-ae88-4142-92f0-36c89b907afe" providerId="AD" clId="Web-{0C2279DB-974F-9B24-AA22-9B71CC82E42F}"/>
    <pc:docChg chg="modSld">
      <pc:chgData name="Luke Johnston" userId="S::l9johnst@uwaterloo.ca::7be5ec8b-ae88-4142-92f0-36c89b907afe" providerId="AD" clId="Web-{0C2279DB-974F-9B24-AA22-9B71CC82E42F}" dt="2024-10-08T23:04:15.892" v="9" actId="20577"/>
      <pc:docMkLst>
        <pc:docMk/>
      </pc:docMkLst>
      <pc:sldChg chg="modSp">
        <pc:chgData name="Luke Johnston" userId="S::l9johnst@uwaterloo.ca::7be5ec8b-ae88-4142-92f0-36c89b907afe" providerId="AD" clId="Web-{0C2279DB-974F-9B24-AA22-9B71CC82E42F}" dt="2024-10-08T23:04:15.892" v="9" actId="20577"/>
        <pc:sldMkLst>
          <pc:docMk/>
          <pc:sldMk cId="211836646" sldId="650"/>
        </pc:sldMkLst>
        <pc:spChg chg="mod">
          <ac:chgData name="Luke Johnston" userId="S::l9johnst@uwaterloo.ca::7be5ec8b-ae88-4142-92f0-36c89b907afe" providerId="AD" clId="Web-{0C2279DB-974F-9B24-AA22-9B71CC82E42F}" dt="2024-10-08T23:04:15.892" v="9" actId="20577"/>
          <ac:spMkLst>
            <pc:docMk/>
            <pc:sldMk cId="211836646" sldId="650"/>
            <ac:spMk id="4" creationId="{02B30669-3C5B-FADB-B285-37421890FCA9}"/>
          </ac:spMkLst>
        </pc:spChg>
      </pc:sldChg>
    </pc:docChg>
  </pc:docChgLst>
  <pc:docChgLst>
    <pc:chgData name="Marvin Mario Bullinger" userId="S::mmbullin@uwaterloo.ca::3bbe2cfe-6e8b-4ac1-8799-4ce6c696cdc9" providerId="AD" clId="Web-{22ACEF56-E6AF-CC9A-E72F-DFA51DA999A2}"/>
    <pc:docChg chg="modSld sldOrd">
      <pc:chgData name="Marvin Mario Bullinger" userId="S::mmbullin@uwaterloo.ca::3bbe2cfe-6e8b-4ac1-8799-4ce6c696cdc9" providerId="AD" clId="Web-{22ACEF56-E6AF-CC9A-E72F-DFA51DA999A2}" dt="2024-10-09T00:01:37.731" v="9"/>
      <pc:docMkLst>
        <pc:docMk/>
      </pc:docMkLst>
      <pc:sldChg chg="ord">
        <pc:chgData name="Marvin Mario Bullinger" userId="S::mmbullin@uwaterloo.ca::3bbe2cfe-6e8b-4ac1-8799-4ce6c696cdc9" providerId="AD" clId="Web-{22ACEF56-E6AF-CC9A-E72F-DFA51DA999A2}" dt="2024-10-09T00:01:37.731" v="9"/>
        <pc:sldMkLst>
          <pc:docMk/>
          <pc:sldMk cId="2135841358" sldId="660"/>
        </pc:sldMkLst>
      </pc:sldChg>
      <pc:sldChg chg="modSp">
        <pc:chgData name="Marvin Mario Bullinger" userId="S::mmbullin@uwaterloo.ca::3bbe2cfe-6e8b-4ac1-8799-4ce6c696cdc9" providerId="AD" clId="Web-{22ACEF56-E6AF-CC9A-E72F-DFA51DA999A2}" dt="2024-10-08T23:58:47.855" v="8" actId="20577"/>
        <pc:sldMkLst>
          <pc:docMk/>
          <pc:sldMk cId="223390664" sldId="661"/>
        </pc:sldMkLst>
        <pc:spChg chg="mod">
          <ac:chgData name="Marvin Mario Bullinger" userId="S::mmbullin@uwaterloo.ca::3bbe2cfe-6e8b-4ac1-8799-4ce6c696cdc9" providerId="AD" clId="Web-{22ACEF56-E6AF-CC9A-E72F-DFA51DA999A2}" dt="2024-10-08T23:58:47.855" v="8" actId="20577"/>
          <ac:spMkLst>
            <pc:docMk/>
            <pc:sldMk cId="223390664" sldId="661"/>
            <ac:spMk id="3" creationId="{60003483-1355-F414-C249-CC5C3C705A89}"/>
          </ac:spMkLst>
        </pc:spChg>
      </pc:sldChg>
      <pc:sldChg chg="modSp">
        <pc:chgData name="Marvin Mario Bullinger" userId="S::mmbullin@uwaterloo.ca::3bbe2cfe-6e8b-4ac1-8799-4ce6c696cdc9" providerId="AD" clId="Web-{22ACEF56-E6AF-CC9A-E72F-DFA51DA999A2}" dt="2024-10-08T23:58:00.870" v="0" actId="14100"/>
        <pc:sldMkLst>
          <pc:docMk/>
          <pc:sldMk cId="3071594886" sldId="663"/>
        </pc:sldMkLst>
        <pc:spChg chg="mod">
          <ac:chgData name="Marvin Mario Bullinger" userId="S::mmbullin@uwaterloo.ca::3bbe2cfe-6e8b-4ac1-8799-4ce6c696cdc9" providerId="AD" clId="Web-{22ACEF56-E6AF-CC9A-E72F-DFA51DA999A2}" dt="2024-10-08T23:58:00.870" v="0" actId="14100"/>
          <ac:spMkLst>
            <pc:docMk/>
            <pc:sldMk cId="3071594886" sldId="663"/>
            <ac:spMk id="13" creationId="{C8676B13-ED23-D81D-BA70-49D47120C22C}"/>
          </ac:spMkLst>
        </pc:spChg>
      </pc:sldChg>
    </pc:docChg>
  </pc:docChgLst>
  <pc:docChgLst>
    <pc:chgData name="Leo Xing" userId="S::l7xing@uwaterloo.ca::092ea61f-c2f3-4c9c-8a83-cb04ba707769" providerId="AD" clId="Web-{0C323344-9959-0D31-4392-FE666D88C442}"/>
    <pc:docChg chg="modSld">
      <pc:chgData name="Leo Xing" userId="S::l7xing@uwaterloo.ca::092ea61f-c2f3-4c9c-8a83-cb04ba707769" providerId="AD" clId="Web-{0C323344-9959-0D31-4392-FE666D88C442}" dt="2024-10-07T03:58:23.291" v="1" actId="14100"/>
      <pc:docMkLst>
        <pc:docMk/>
      </pc:docMkLst>
      <pc:sldChg chg="modSp">
        <pc:chgData name="Leo Xing" userId="S::l7xing@uwaterloo.ca::092ea61f-c2f3-4c9c-8a83-cb04ba707769" providerId="AD" clId="Web-{0C323344-9959-0D31-4392-FE666D88C442}" dt="2024-10-07T03:58:23.291" v="1" actId="14100"/>
        <pc:sldMkLst>
          <pc:docMk/>
          <pc:sldMk cId="1787319496" sldId="652"/>
        </pc:sldMkLst>
        <pc:spChg chg="mod">
          <ac:chgData name="Leo Xing" userId="S::l7xing@uwaterloo.ca::092ea61f-c2f3-4c9c-8a83-cb04ba707769" providerId="AD" clId="Web-{0C323344-9959-0D31-4392-FE666D88C442}" dt="2024-10-07T03:58:23.291" v="1" actId="14100"/>
          <ac:spMkLst>
            <pc:docMk/>
            <pc:sldMk cId="1787319496" sldId="652"/>
            <ac:spMk id="7" creationId="{EA693674-A127-EECA-D728-BF1BA6F6E6DC}"/>
          </ac:spMkLst>
        </pc:spChg>
      </pc:sldChg>
    </pc:docChg>
  </pc:docChgLst>
  <pc:docChgLst>
    <pc:chgData name="Luke Johnston" userId="7be5ec8b-ae88-4142-92f0-36c89b907afe" providerId="ADAL" clId="{4160AB1F-2750-4A67-A484-F148538540BB}"/>
    <pc:docChg chg="custSel modSld">
      <pc:chgData name="Luke Johnston" userId="7be5ec8b-ae88-4142-92f0-36c89b907afe" providerId="ADAL" clId="{4160AB1F-2750-4A67-A484-F148538540BB}" dt="2024-10-08T23:21:39.556" v="22" actId="1076"/>
      <pc:docMkLst>
        <pc:docMk/>
      </pc:docMkLst>
      <pc:sldChg chg="addSp delSp modSp mod">
        <pc:chgData name="Luke Johnston" userId="7be5ec8b-ae88-4142-92f0-36c89b907afe" providerId="ADAL" clId="{4160AB1F-2750-4A67-A484-F148538540BB}" dt="2024-10-08T23:21:39.556" v="22" actId="1076"/>
        <pc:sldMkLst>
          <pc:docMk/>
          <pc:sldMk cId="1819382037" sldId="659"/>
        </pc:sldMkLst>
        <pc:spChg chg="mod">
          <ac:chgData name="Luke Johnston" userId="7be5ec8b-ae88-4142-92f0-36c89b907afe" providerId="ADAL" clId="{4160AB1F-2750-4A67-A484-F148538540BB}" dt="2024-10-08T23:11:52.772" v="10" actId="20577"/>
          <ac:spMkLst>
            <pc:docMk/>
            <pc:sldMk cId="1819382037" sldId="659"/>
            <ac:spMk id="43" creationId="{3896FE4D-A7AE-099B-363F-0C85F0A9502A}"/>
          </ac:spMkLst>
        </pc:spChg>
        <pc:spChg chg="del mod">
          <ac:chgData name="Luke Johnston" userId="7be5ec8b-ae88-4142-92f0-36c89b907afe" providerId="ADAL" clId="{4160AB1F-2750-4A67-A484-F148538540BB}" dt="2024-10-08T23:21:00.106" v="17" actId="478"/>
          <ac:spMkLst>
            <pc:docMk/>
            <pc:sldMk cId="1819382037" sldId="659"/>
            <ac:spMk id="44" creationId="{9A0D7DE8-29FE-08C8-D01C-97334E84F4D3}"/>
          </ac:spMkLst>
        </pc:spChg>
        <pc:graphicFrameChg chg="add mod">
          <ac:chgData name="Luke Johnston" userId="7be5ec8b-ae88-4142-92f0-36c89b907afe" providerId="ADAL" clId="{4160AB1F-2750-4A67-A484-F148538540BB}" dt="2024-10-08T23:21:39.556" v="22" actId="1076"/>
          <ac:graphicFrameMkLst>
            <pc:docMk/>
            <pc:sldMk cId="1819382037" sldId="659"/>
            <ac:graphicFrameMk id="2" creationId="{4EC62D01-BD6B-A5F5-AA3A-6F45D68E1E8C}"/>
          </ac:graphicFrameMkLst>
        </pc:graphicFrameChg>
      </pc:sldChg>
    </pc:docChg>
  </pc:docChgLst>
  <pc:docChgLst>
    <pc:chgData name="Bullinger, Marvin" userId="5b54ce5a-dc89-476f-af33-5abd75d5b1e8" providerId="ADAL" clId="{265A6489-94A2-4E64-A25F-E64F69B0C2C1}"/>
    <pc:docChg chg="undo custSel addSld delSld modSld sldOrd modMainMaster modSection replTag">
      <pc:chgData name="Bullinger, Marvin" userId="5b54ce5a-dc89-476f-af33-5abd75d5b1e8" providerId="ADAL" clId="{265A6489-94A2-4E64-A25F-E64F69B0C2C1}" dt="2024-03-11T07:16:31.923" v="5711"/>
      <pc:docMkLst>
        <pc:docMk/>
      </pc:docMkLst>
      <pc:sldChg chg="addSp delSp modSp mod">
        <pc:chgData name="Bullinger, Marvin" userId="5b54ce5a-dc89-476f-af33-5abd75d5b1e8" providerId="ADAL" clId="{265A6489-94A2-4E64-A25F-E64F69B0C2C1}" dt="2024-03-11T07:16:31.923" v="5711"/>
        <pc:sldMkLst>
          <pc:docMk/>
          <pc:sldMk cId="3664439336" sldId="262"/>
        </pc:sldMkLst>
        <pc:spChg chg="mod">
          <ac:chgData name="Bullinger, Marvin" userId="5b54ce5a-dc89-476f-af33-5abd75d5b1e8" providerId="ADAL" clId="{265A6489-94A2-4E64-A25F-E64F69B0C2C1}" dt="2024-03-05T20:03:01.191" v="83" actId="20577"/>
          <ac:spMkLst>
            <pc:docMk/>
            <pc:sldMk cId="3664439336" sldId="262"/>
            <ac:spMk id="3" creationId="{3D5704D4-182D-2081-A931-337F4856B6A2}"/>
          </ac:spMkLst>
        </pc:spChg>
        <pc:spChg chg="del">
          <ac:chgData name="Bullinger, Marvin" userId="5b54ce5a-dc89-476f-af33-5abd75d5b1e8" providerId="ADAL" clId="{265A6489-94A2-4E64-A25F-E64F69B0C2C1}" dt="2024-03-05T20:14:15.867" v="591"/>
          <ac:spMkLst>
            <pc:docMk/>
            <pc:sldMk cId="3664439336" sldId="262"/>
            <ac:spMk id="5" creationId="{29317A6B-3A63-05FD-DAB3-380DBDDDB41F}"/>
          </ac:spMkLst>
        </pc:spChg>
        <pc:spChg chg="mod">
          <ac:chgData name="Bullinger, Marvin" userId="5b54ce5a-dc89-476f-af33-5abd75d5b1e8" providerId="ADAL" clId="{265A6489-94A2-4E64-A25F-E64F69B0C2C1}" dt="2024-03-05T20:17:53.814" v="1205" actId="20577"/>
          <ac:spMkLst>
            <pc:docMk/>
            <pc:sldMk cId="3664439336" sldId="262"/>
            <ac:spMk id="8" creationId="{ED4AE48A-C92C-402F-A80C-7319190C2F22}"/>
          </ac:spMkLst>
        </pc:spChg>
        <pc:spChg chg="mod">
          <ac:chgData name="Bullinger, Marvin" userId="5b54ce5a-dc89-476f-af33-5abd75d5b1e8" providerId="ADAL" clId="{265A6489-94A2-4E64-A25F-E64F69B0C2C1}" dt="2024-03-11T07:16:31.923" v="5711"/>
          <ac:spMkLst>
            <pc:docMk/>
            <pc:sldMk cId="3664439336" sldId="262"/>
            <ac:spMk id="10" creationId="{626D9D8C-9093-4578-9B98-9CD567C49D36}"/>
          </ac:spMkLst>
        </pc:spChg>
        <pc:picChg chg="add mod">
          <ac:chgData name="Bullinger, Marvin" userId="5b54ce5a-dc89-476f-af33-5abd75d5b1e8" providerId="ADAL" clId="{265A6489-94A2-4E64-A25F-E64F69B0C2C1}" dt="2024-03-05T20:14:15.867" v="591"/>
          <ac:picMkLst>
            <pc:docMk/>
            <pc:sldMk cId="3664439336" sldId="262"/>
            <ac:picMk id="1026" creationId="{4BD74963-CA1A-7649-354F-731A1C6B228F}"/>
          </ac:picMkLst>
        </pc:picChg>
      </pc:sldChg>
      <pc:sldChg chg="addSp delSp modSp mod modAnim">
        <pc:chgData name="Bullinger, Marvin" userId="5b54ce5a-dc89-476f-af33-5abd75d5b1e8" providerId="ADAL" clId="{265A6489-94A2-4E64-A25F-E64F69B0C2C1}" dt="2024-03-08T14:15:00.876" v="5462"/>
        <pc:sldMkLst>
          <pc:docMk/>
          <pc:sldMk cId="2953579200" sldId="264"/>
        </pc:sldMkLst>
        <pc:spChg chg="mod">
          <ac:chgData name="Bullinger, Marvin" userId="5b54ce5a-dc89-476f-af33-5abd75d5b1e8" providerId="ADAL" clId="{265A6489-94A2-4E64-A25F-E64F69B0C2C1}" dt="2024-03-05T20:49:46.185" v="2378" actId="113"/>
          <ac:spMkLst>
            <pc:docMk/>
            <pc:sldMk cId="2953579200" sldId="264"/>
            <ac:spMk id="2" creationId="{F036CB7C-3D01-4FD0-973E-827329166DED}"/>
          </ac:spMkLst>
        </pc:spChg>
        <pc:spChg chg="add mod">
          <ac:chgData name="Bullinger, Marvin" userId="5b54ce5a-dc89-476f-af33-5abd75d5b1e8" providerId="ADAL" clId="{265A6489-94A2-4E64-A25F-E64F69B0C2C1}" dt="2024-03-05T20:34:00.770" v="1773" actId="1076"/>
          <ac:spMkLst>
            <pc:docMk/>
            <pc:sldMk cId="2953579200" sldId="264"/>
            <ac:spMk id="3" creationId="{26A838E0-D9A5-FAEE-02E8-9590AB0C65AC}"/>
          </ac:spMkLst>
        </pc:spChg>
        <pc:spChg chg="mod">
          <ac:chgData name="Bullinger, Marvin" userId="5b54ce5a-dc89-476f-af33-5abd75d5b1e8" providerId="ADAL" clId="{265A6489-94A2-4E64-A25F-E64F69B0C2C1}" dt="2024-03-05T20:18:05.402" v="1207" actId="5793"/>
          <ac:spMkLst>
            <pc:docMk/>
            <pc:sldMk cId="2953579200" sldId="264"/>
            <ac:spMk id="4" creationId="{B8ECF902-B082-4799-A6ED-316F410CB465}"/>
          </ac:spMkLst>
        </pc:spChg>
        <pc:spChg chg="add mod">
          <ac:chgData name="Bullinger, Marvin" userId="5b54ce5a-dc89-476f-af33-5abd75d5b1e8" providerId="ADAL" clId="{265A6489-94A2-4E64-A25F-E64F69B0C2C1}" dt="2024-03-05T20:39:20.769" v="1878" actId="1076"/>
          <ac:spMkLst>
            <pc:docMk/>
            <pc:sldMk cId="2953579200" sldId="264"/>
            <ac:spMk id="12" creationId="{A5F7354C-F7F5-8962-FC64-EC2704CD0141}"/>
          </ac:spMkLst>
        </pc:spChg>
        <pc:spChg chg="add mod">
          <ac:chgData name="Bullinger, Marvin" userId="5b54ce5a-dc89-476f-af33-5abd75d5b1e8" providerId="ADAL" clId="{265A6489-94A2-4E64-A25F-E64F69B0C2C1}" dt="2024-03-08T14:14:57.440" v="5461" actId="1076"/>
          <ac:spMkLst>
            <pc:docMk/>
            <pc:sldMk cId="2953579200" sldId="264"/>
            <ac:spMk id="2058" creationId="{23B927B3-2A88-6707-3ADE-32E7982D5471}"/>
          </ac:spMkLst>
        </pc:spChg>
        <pc:picChg chg="add mod">
          <ac:chgData name="Bullinger, Marvin" userId="5b54ce5a-dc89-476f-af33-5abd75d5b1e8" providerId="ADAL" clId="{265A6489-94A2-4E64-A25F-E64F69B0C2C1}" dt="2024-03-05T20:28:59.918" v="1374" actId="1076"/>
          <ac:picMkLst>
            <pc:docMk/>
            <pc:sldMk cId="2953579200" sldId="264"/>
            <ac:picMk id="5" creationId="{4147C821-FD9A-AFCE-B604-4CE34EAADCBD}"/>
          </ac:picMkLst>
        </pc:picChg>
        <pc:picChg chg="add mod">
          <ac:chgData name="Bullinger, Marvin" userId="5b54ce5a-dc89-476f-af33-5abd75d5b1e8" providerId="ADAL" clId="{265A6489-94A2-4E64-A25F-E64F69B0C2C1}" dt="2024-03-05T20:28:59.918" v="1374" actId="1076"/>
          <ac:picMkLst>
            <pc:docMk/>
            <pc:sldMk cId="2953579200" sldId="264"/>
            <ac:picMk id="7" creationId="{078F4BE8-3AFF-F7E5-FB8D-1F19F3DA4F37}"/>
          </ac:picMkLst>
        </pc:picChg>
        <pc:picChg chg="add mod">
          <ac:chgData name="Bullinger, Marvin" userId="5b54ce5a-dc89-476f-af33-5abd75d5b1e8" providerId="ADAL" clId="{265A6489-94A2-4E64-A25F-E64F69B0C2C1}" dt="2024-03-05T20:28:59.918" v="1374" actId="1076"/>
          <ac:picMkLst>
            <pc:docMk/>
            <pc:sldMk cId="2953579200" sldId="264"/>
            <ac:picMk id="8" creationId="{F88E1DCD-011C-8CA5-20B2-9AB1BA0CD8AB}"/>
          </ac:picMkLst>
        </pc:picChg>
        <pc:picChg chg="add mod">
          <ac:chgData name="Bullinger, Marvin" userId="5b54ce5a-dc89-476f-af33-5abd75d5b1e8" providerId="ADAL" clId="{265A6489-94A2-4E64-A25F-E64F69B0C2C1}" dt="2024-03-05T20:28:59.918" v="1374" actId="1076"/>
          <ac:picMkLst>
            <pc:docMk/>
            <pc:sldMk cId="2953579200" sldId="264"/>
            <ac:picMk id="9" creationId="{B6F4CA09-51D3-44F4-0664-0557C8A706E8}"/>
          </ac:picMkLst>
        </pc:picChg>
        <pc:picChg chg="add mod">
          <ac:chgData name="Bullinger, Marvin" userId="5b54ce5a-dc89-476f-af33-5abd75d5b1e8" providerId="ADAL" clId="{265A6489-94A2-4E64-A25F-E64F69B0C2C1}" dt="2024-03-05T20:28:59.918" v="1374" actId="1076"/>
          <ac:picMkLst>
            <pc:docMk/>
            <pc:sldMk cId="2953579200" sldId="264"/>
            <ac:picMk id="10" creationId="{739252CB-0522-5F74-1A2A-19E909DBB8E6}"/>
          </ac:picMkLst>
        </pc:picChg>
        <pc:picChg chg="add mod">
          <ac:chgData name="Bullinger, Marvin" userId="5b54ce5a-dc89-476f-af33-5abd75d5b1e8" providerId="ADAL" clId="{265A6489-94A2-4E64-A25F-E64F69B0C2C1}" dt="2024-03-05T20:28:59.918" v="1374" actId="1076"/>
          <ac:picMkLst>
            <pc:docMk/>
            <pc:sldMk cId="2953579200" sldId="264"/>
            <ac:picMk id="11" creationId="{39077DB9-BB4E-323C-1C39-8F761F0F7BCC}"/>
          </ac:picMkLst>
        </pc:picChg>
        <pc:picChg chg="add mod">
          <ac:chgData name="Bullinger, Marvin" userId="5b54ce5a-dc89-476f-af33-5abd75d5b1e8" providerId="ADAL" clId="{265A6489-94A2-4E64-A25F-E64F69B0C2C1}" dt="2024-03-05T20:28:59.918" v="1374" actId="1076"/>
          <ac:picMkLst>
            <pc:docMk/>
            <pc:sldMk cId="2953579200" sldId="264"/>
            <ac:picMk id="13" creationId="{BAF5DCC7-5622-FE3F-954C-806D8A2AB639}"/>
          </ac:picMkLst>
        </pc:picChg>
        <pc:picChg chg="add mod">
          <ac:chgData name="Bullinger, Marvin" userId="5b54ce5a-dc89-476f-af33-5abd75d5b1e8" providerId="ADAL" clId="{265A6489-94A2-4E64-A25F-E64F69B0C2C1}" dt="2024-03-05T20:28:59.918" v="1374" actId="1076"/>
          <ac:picMkLst>
            <pc:docMk/>
            <pc:sldMk cId="2953579200" sldId="264"/>
            <ac:picMk id="14" creationId="{79EF7E58-2601-31CD-C98F-5FE80B384BF2}"/>
          </ac:picMkLst>
        </pc:picChg>
        <pc:picChg chg="add mod">
          <ac:chgData name="Bullinger, Marvin" userId="5b54ce5a-dc89-476f-af33-5abd75d5b1e8" providerId="ADAL" clId="{265A6489-94A2-4E64-A25F-E64F69B0C2C1}" dt="2024-03-05T20:28:59.918" v="1374" actId="1076"/>
          <ac:picMkLst>
            <pc:docMk/>
            <pc:sldMk cId="2953579200" sldId="264"/>
            <ac:picMk id="15" creationId="{EFEEAB6F-6E2B-F669-B792-81A13AB51C47}"/>
          </ac:picMkLst>
        </pc:picChg>
        <pc:picChg chg="add mod">
          <ac:chgData name="Bullinger, Marvin" userId="5b54ce5a-dc89-476f-af33-5abd75d5b1e8" providerId="ADAL" clId="{265A6489-94A2-4E64-A25F-E64F69B0C2C1}" dt="2024-03-05T20:28:59.918" v="1374" actId="1076"/>
          <ac:picMkLst>
            <pc:docMk/>
            <pc:sldMk cId="2953579200" sldId="264"/>
            <ac:picMk id="16" creationId="{AFDE819A-AACA-2EFF-400D-74ECFC968A51}"/>
          </ac:picMkLst>
        </pc:picChg>
        <pc:picChg chg="add mod">
          <ac:chgData name="Bullinger, Marvin" userId="5b54ce5a-dc89-476f-af33-5abd75d5b1e8" providerId="ADAL" clId="{265A6489-94A2-4E64-A25F-E64F69B0C2C1}" dt="2024-03-05T20:34:00.770" v="1773" actId="1076"/>
          <ac:picMkLst>
            <pc:docMk/>
            <pc:sldMk cId="2953579200" sldId="264"/>
            <ac:picMk id="2050" creationId="{6EBCDE0D-35CC-61A7-25B0-B56E1131226B}"/>
          </ac:picMkLst>
        </pc:picChg>
        <pc:picChg chg="add del mod">
          <ac:chgData name="Bullinger, Marvin" userId="5b54ce5a-dc89-476f-af33-5abd75d5b1e8" providerId="ADAL" clId="{265A6489-94A2-4E64-A25F-E64F69B0C2C1}" dt="2024-03-05T20:28:49.594" v="1373" actId="478"/>
          <ac:picMkLst>
            <pc:docMk/>
            <pc:sldMk cId="2953579200" sldId="264"/>
            <ac:picMk id="2052" creationId="{887F60C0-FAB6-8859-B8D8-9ECE405C8D0C}"/>
          </ac:picMkLst>
        </pc:picChg>
        <pc:picChg chg="add mod">
          <ac:chgData name="Bullinger, Marvin" userId="5b54ce5a-dc89-476f-af33-5abd75d5b1e8" providerId="ADAL" clId="{265A6489-94A2-4E64-A25F-E64F69B0C2C1}" dt="2024-03-05T20:28:59.918" v="1374" actId="1076"/>
          <ac:picMkLst>
            <pc:docMk/>
            <pc:sldMk cId="2953579200" sldId="264"/>
            <ac:picMk id="2054" creationId="{ACDC49B2-F01F-14A2-6AF6-258CA598DD35}"/>
          </ac:picMkLst>
        </pc:picChg>
        <pc:picChg chg="add mod">
          <ac:chgData name="Bullinger, Marvin" userId="5b54ce5a-dc89-476f-af33-5abd75d5b1e8" providerId="ADAL" clId="{265A6489-94A2-4E64-A25F-E64F69B0C2C1}" dt="2024-03-05T20:28:59.918" v="1374" actId="1076"/>
          <ac:picMkLst>
            <pc:docMk/>
            <pc:sldMk cId="2953579200" sldId="264"/>
            <ac:picMk id="2056" creationId="{33BADD5B-8F77-C513-F384-8801B6447AAF}"/>
          </ac:picMkLst>
        </pc:picChg>
        <pc:picChg chg="add mod">
          <ac:chgData name="Bullinger, Marvin" userId="5b54ce5a-dc89-476f-af33-5abd75d5b1e8" providerId="ADAL" clId="{265A6489-94A2-4E64-A25F-E64F69B0C2C1}" dt="2024-03-05T20:37:37.766" v="1835"/>
          <ac:picMkLst>
            <pc:docMk/>
            <pc:sldMk cId="2953579200" sldId="264"/>
            <ac:picMk id="2103" creationId="{878BDCED-FF3D-842D-7053-EA64B7D51E2E}"/>
          </ac:picMkLst>
        </pc:picChg>
        <pc:picChg chg="add mod">
          <ac:chgData name="Bullinger, Marvin" userId="5b54ce5a-dc89-476f-af33-5abd75d5b1e8" providerId="ADAL" clId="{265A6489-94A2-4E64-A25F-E64F69B0C2C1}" dt="2024-03-05T20:37:38.777" v="1836"/>
          <ac:picMkLst>
            <pc:docMk/>
            <pc:sldMk cId="2953579200" sldId="264"/>
            <ac:picMk id="2104" creationId="{83BC7A35-A0EB-E902-80A1-1E026E38B2A3}"/>
          </ac:picMkLst>
        </pc:picChg>
        <pc:picChg chg="add mod">
          <ac:chgData name="Bullinger, Marvin" userId="5b54ce5a-dc89-476f-af33-5abd75d5b1e8" providerId="ADAL" clId="{265A6489-94A2-4E64-A25F-E64F69B0C2C1}" dt="2024-03-05T20:37:41.127" v="1837"/>
          <ac:picMkLst>
            <pc:docMk/>
            <pc:sldMk cId="2953579200" sldId="264"/>
            <ac:picMk id="2105" creationId="{1E0BC3E8-C16A-0FB8-0DB6-1E48ADE6B996}"/>
          </ac:picMkLst>
        </pc:picChg>
        <pc:picChg chg="add mod">
          <ac:chgData name="Bullinger, Marvin" userId="5b54ce5a-dc89-476f-af33-5abd75d5b1e8" providerId="ADAL" clId="{265A6489-94A2-4E64-A25F-E64F69B0C2C1}" dt="2024-03-05T20:37:41.502" v="1838"/>
          <ac:picMkLst>
            <pc:docMk/>
            <pc:sldMk cId="2953579200" sldId="264"/>
            <ac:picMk id="2106" creationId="{5241908A-AF6E-FB59-83C0-BE1BE83B2A9F}"/>
          </ac:picMkLst>
        </pc:picChg>
        <pc:picChg chg="add del mod">
          <ac:chgData name="Bullinger, Marvin" userId="5b54ce5a-dc89-476f-af33-5abd75d5b1e8" providerId="ADAL" clId="{265A6489-94A2-4E64-A25F-E64F69B0C2C1}" dt="2024-03-05T20:38:30.950" v="1873" actId="478"/>
          <ac:picMkLst>
            <pc:docMk/>
            <pc:sldMk cId="2953579200" sldId="264"/>
            <ac:picMk id="2107" creationId="{CE3EC74B-C181-44A9-BD1F-C22D8F0A6CFD}"/>
          </ac:picMkLst>
        </pc:picChg>
        <pc:picChg chg="add mod">
          <ac:chgData name="Bullinger, Marvin" userId="5b54ce5a-dc89-476f-af33-5abd75d5b1e8" providerId="ADAL" clId="{265A6489-94A2-4E64-A25F-E64F69B0C2C1}" dt="2024-03-05T20:37:43.679" v="1840"/>
          <ac:picMkLst>
            <pc:docMk/>
            <pc:sldMk cId="2953579200" sldId="264"/>
            <ac:picMk id="2108" creationId="{549C5259-2D35-BFD5-A8C5-8E9A90A1E1A2}"/>
          </ac:picMkLst>
        </pc:picChg>
        <pc:picChg chg="add mod">
          <ac:chgData name="Bullinger, Marvin" userId="5b54ce5a-dc89-476f-af33-5abd75d5b1e8" providerId="ADAL" clId="{265A6489-94A2-4E64-A25F-E64F69B0C2C1}" dt="2024-03-05T20:37:44.031" v="1841"/>
          <ac:picMkLst>
            <pc:docMk/>
            <pc:sldMk cId="2953579200" sldId="264"/>
            <ac:picMk id="2109" creationId="{FCE6AF94-BB67-8173-0F77-D01D5E3DFFF5}"/>
          </ac:picMkLst>
        </pc:picChg>
        <pc:picChg chg="add del mod">
          <ac:chgData name="Bullinger, Marvin" userId="5b54ce5a-dc89-476f-af33-5abd75d5b1e8" providerId="ADAL" clId="{265A6489-94A2-4E64-A25F-E64F69B0C2C1}" dt="2024-03-05T20:38:30.950" v="1873" actId="478"/>
          <ac:picMkLst>
            <pc:docMk/>
            <pc:sldMk cId="2953579200" sldId="264"/>
            <ac:picMk id="2110" creationId="{76DA1416-FBF9-4FAC-A52C-6E37A4677979}"/>
          </ac:picMkLst>
        </pc:picChg>
        <pc:picChg chg="add mod">
          <ac:chgData name="Bullinger, Marvin" userId="5b54ce5a-dc89-476f-af33-5abd75d5b1e8" providerId="ADAL" clId="{265A6489-94A2-4E64-A25F-E64F69B0C2C1}" dt="2024-03-05T20:37:45.907" v="1843"/>
          <ac:picMkLst>
            <pc:docMk/>
            <pc:sldMk cId="2953579200" sldId="264"/>
            <ac:picMk id="2111" creationId="{AB3321E7-2554-2850-87D1-CAB63307C0F6}"/>
          </ac:picMkLst>
        </pc:picChg>
        <pc:picChg chg="add mod">
          <ac:chgData name="Bullinger, Marvin" userId="5b54ce5a-dc89-476f-af33-5abd75d5b1e8" providerId="ADAL" clId="{265A6489-94A2-4E64-A25F-E64F69B0C2C1}" dt="2024-03-05T20:37:46.257" v="1844"/>
          <ac:picMkLst>
            <pc:docMk/>
            <pc:sldMk cId="2953579200" sldId="264"/>
            <ac:picMk id="2112" creationId="{E28C6011-9AA4-6592-109C-92CDE1DAE469}"/>
          </ac:picMkLst>
        </pc:picChg>
        <pc:picChg chg="add del mod">
          <ac:chgData name="Bullinger, Marvin" userId="5b54ce5a-dc89-476f-af33-5abd75d5b1e8" providerId="ADAL" clId="{265A6489-94A2-4E64-A25F-E64F69B0C2C1}" dt="2024-03-05T20:38:30.950" v="1873" actId="478"/>
          <ac:picMkLst>
            <pc:docMk/>
            <pc:sldMk cId="2953579200" sldId="264"/>
            <ac:picMk id="2113" creationId="{E6BB1939-2683-17E5-1856-524B57C08AB4}"/>
          </ac:picMkLst>
        </pc:picChg>
        <pc:picChg chg="add mod">
          <ac:chgData name="Bullinger, Marvin" userId="5b54ce5a-dc89-476f-af33-5abd75d5b1e8" providerId="ADAL" clId="{265A6489-94A2-4E64-A25F-E64F69B0C2C1}" dt="2024-03-05T20:37:48.235" v="1846"/>
          <ac:picMkLst>
            <pc:docMk/>
            <pc:sldMk cId="2953579200" sldId="264"/>
            <ac:picMk id="2114" creationId="{66E1EB04-0791-A671-DC8B-2C1DAC494ED2}"/>
          </ac:picMkLst>
        </pc:picChg>
        <pc:picChg chg="add mod">
          <ac:chgData name="Bullinger, Marvin" userId="5b54ce5a-dc89-476f-af33-5abd75d5b1e8" providerId="ADAL" clId="{265A6489-94A2-4E64-A25F-E64F69B0C2C1}" dt="2024-03-05T20:37:48.511" v="1847"/>
          <ac:picMkLst>
            <pc:docMk/>
            <pc:sldMk cId="2953579200" sldId="264"/>
            <ac:picMk id="2115" creationId="{4FF8037C-A273-EDCA-B251-9E5169FE7C89}"/>
          </ac:picMkLst>
        </pc:picChg>
        <pc:picChg chg="add del mod">
          <ac:chgData name="Bullinger, Marvin" userId="5b54ce5a-dc89-476f-af33-5abd75d5b1e8" providerId="ADAL" clId="{265A6489-94A2-4E64-A25F-E64F69B0C2C1}" dt="2024-03-05T20:38:30.950" v="1873" actId="478"/>
          <ac:picMkLst>
            <pc:docMk/>
            <pc:sldMk cId="2953579200" sldId="264"/>
            <ac:picMk id="2116" creationId="{E8B2B881-37B1-A274-85B0-6FB8EDE39F03}"/>
          </ac:picMkLst>
        </pc:picChg>
        <pc:picChg chg="add mod">
          <ac:chgData name="Bullinger, Marvin" userId="5b54ce5a-dc89-476f-af33-5abd75d5b1e8" providerId="ADAL" clId="{265A6489-94A2-4E64-A25F-E64F69B0C2C1}" dt="2024-03-05T20:37:50.263" v="1849"/>
          <ac:picMkLst>
            <pc:docMk/>
            <pc:sldMk cId="2953579200" sldId="264"/>
            <ac:picMk id="2117" creationId="{18DB4949-6321-498A-7FD7-DC8C6A62E136}"/>
          </ac:picMkLst>
        </pc:picChg>
        <pc:picChg chg="add mod">
          <ac:chgData name="Bullinger, Marvin" userId="5b54ce5a-dc89-476f-af33-5abd75d5b1e8" providerId="ADAL" clId="{265A6489-94A2-4E64-A25F-E64F69B0C2C1}" dt="2024-03-05T20:37:50.463" v="1850"/>
          <ac:picMkLst>
            <pc:docMk/>
            <pc:sldMk cId="2953579200" sldId="264"/>
            <ac:picMk id="2118" creationId="{9343E162-ADA4-0B6E-5D19-C763D7ED1B68}"/>
          </ac:picMkLst>
        </pc:picChg>
        <pc:picChg chg="add del mod">
          <ac:chgData name="Bullinger, Marvin" userId="5b54ce5a-dc89-476f-af33-5abd75d5b1e8" providerId="ADAL" clId="{265A6489-94A2-4E64-A25F-E64F69B0C2C1}" dt="2024-03-05T20:38:30.950" v="1873" actId="478"/>
          <ac:picMkLst>
            <pc:docMk/>
            <pc:sldMk cId="2953579200" sldId="264"/>
            <ac:picMk id="2119" creationId="{58265420-D3FE-6F9C-B156-2094F31D2C3A}"/>
          </ac:picMkLst>
        </pc:picChg>
        <pc:picChg chg="add del mod">
          <ac:chgData name="Bullinger, Marvin" userId="5b54ce5a-dc89-476f-af33-5abd75d5b1e8" providerId="ADAL" clId="{265A6489-94A2-4E64-A25F-E64F69B0C2C1}" dt="2024-03-05T20:37:54.274" v="1853" actId="478"/>
          <ac:picMkLst>
            <pc:docMk/>
            <pc:sldMk cId="2953579200" sldId="264"/>
            <ac:picMk id="2120" creationId="{25676668-0A6A-5D13-734C-4D90638A9070}"/>
          </ac:picMkLst>
        </pc:picChg>
        <pc:picChg chg="add mod">
          <ac:chgData name="Bullinger, Marvin" userId="5b54ce5a-dc89-476f-af33-5abd75d5b1e8" providerId="ADAL" clId="{265A6489-94A2-4E64-A25F-E64F69B0C2C1}" dt="2024-03-05T20:39:16.214" v="1877" actId="1076"/>
          <ac:picMkLst>
            <pc:docMk/>
            <pc:sldMk cId="2953579200" sldId="264"/>
            <ac:picMk id="2121" creationId="{4CB5BCD2-6B26-5D54-CA1D-7501DAA24514}"/>
          </ac:picMkLst>
        </pc:picChg>
        <pc:picChg chg="add mod">
          <ac:chgData name="Bullinger, Marvin" userId="5b54ce5a-dc89-476f-af33-5abd75d5b1e8" providerId="ADAL" clId="{265A6489-94A2-4E64-A25F-E64F69B0C2C1}" dt="2024-03-05T20:37:56.679" v="1855"/>
          <ac:picMkLst>
            <pc:docMk/>
            <pc:sldMk cId="2953579200" sldId="264"/>
            <ac:picMk id="2122" creationId="{96004239-B74B-6A0E-CD16-1EF52B80E509}"/>
          </ac:picMkLst>
        </pc:picChg>
        <pc:picChg chg="add del mod">
          <ac:chgData name="Bullinger, Marvin" userId="5b54ce5a-dc89-476f-af33-5abd75d5b1e8" providerId="ADAL" clId="{265A6489-94A2-4E64-A25F-E64F69B0C2C1}" dt="2024-03-05T20:38:30.950" v="1873" actId="478"/>
          <ac:picMkLst>
            <pc:docMk/>
            <pc:sldMk cId="2953579200" sldId="264"/>
            <ac:picMk id="2123" creationId="{10098DFB-91E6-8779-A1F0-526AFCECE679}"/>
          </ac:picMkLst>
        </pc:picChg>
        <pc:picChg chg="add mod">
          <ac:chgData name="Bullinger, Marvin" userId="5b54ce5a-dc89-476f-af33-5abd75d5b1e8" providerId="ADAL" clId="{265A6489-94A2-4E64-A25F-E64F69B0C2C1}" dt="2024-03-05T20:37:58.384" v="1857"/>
          <ac:picMkLst>
            <pc:docMk/>
            <pc:sldMk cId="2953579200" sldId="264"/>
            <ac:picMk id="2124" creationId="{0903C7F3-5901-5512-2F4F-3EBBD34128F7}"/>
          </ac:picMkLst>
        </pc:picChg>
        <pc:picChg chg="add mod">
          <ac:chgData name="Bullinger, Marvin" userId="5b54ce5a-dc89-476f-af33-5abd75d5b1e8" providerId="ADAL" clId="{265A6489-94A2-4E64-A25F-E64F69B0C2C1}" dt="2024-03-05T20:37:58.552" v="1858"/>
          <ac:picMkLst>
            <pc:docMk/>
            <pc:sldMk cId="2953579200" sldId="264"/>
            <ac:picMk id="2125" creationId="{499DB44B-D14A-758F-869D-34D9A58C380F}"/>
          </ac:picMkLst>
        </pc:picChg>
        <pc:picChg chg="add del mod">
          <ac:chgData name="Bullinger, Marvin" userId="5b54ce5a-dc89-476f-af33-5abd75d5b1e8" providerId="ADAL" clId="{265A6489-94A2-4E64-A25F-E64F69B0C2C1}" dt="2024-03-05T20:38:30.950" v="1873" actId="478"/>
          <ac:picMkLst>
            <pc:docMk/>
            <pc:sldMk cId="2953579200" sldId="264"/>
            <ac:picMk id="2126" creationId="{A3F6FD65-BCE8-4925-04C4-295583D092F6}"/>
          </ac:picMkLst>
        </pc:picChg>
        <pc:picChg chg="add mod">
          <ac:chgData name="Bullinger, Marvin" userId="5b54ce5a-dc89-476f-af33-5abd75d5b1e8" providerId="ADAL" clId="{265A6489-94A2-4E64-A25F-E64F69B0C2C1}" dt="2024-03-05T20:38:00.175" v="1860"/>
          <ac:picMkLst>
            <pc:docMk/>
            <pc:sldMk cId="2953579200" sldId="264"/>
            <ac:picMk id="2127" creationId="{B2ED9DD4-5062-8AA7-5A2C-9C7C7DF3809E}"/>
          </ac:picMkLst>
        </pc:picChg>
        <pc:picChg chg="add mod">
          <ac:chgData name="Bullinger, Marvin" userId="5b54ce5a-dc89-476f-af33-5abd75d5b1e8" providerId="ADAL" clId="{265A6489-94A2-4E64-A25F-E64F69B0C2C1}" dt="2024-03-05T20:38:00.366" v="1861"/>
          <ac:picMkLst>
            <pc:docMk/>
            <pc:sldMk cId="2953579200" sldId="264"/>
            <ac:picMk id="2128" creationId="{F5EB56FD-A70F-A483-7B35-3701F4D300E4}"/>
          </ac:picMkLst>
        </pc:picChg>
        <pc:picChg chg="add del mod">
          <ac:chgData name="Bullinger, Marvin" userId="5b54ce5a-dc89-476f-af33-5abd75d5b1e8" providerId="ADAL" clId="{265A6489-94A2-4E64-A25F-E64F69B0C2C1}" dt="2024-03-05T20:38:30.950" v="1873" actId="478"/>
          <ac:picMkLst>
            <pc:docMk/>
            <pc:sldMk cId="2953579200" sldId="264"/>
            <ac:picMk id="2129" creationId="{299A4401-F104-95B4-B9BA-EAD55CF6AE2F}"/>
          </ac:picMkLst>
        </pc:picChg>
        <pc:picChg chg="add mod">
          <ac:chgData name="Bullinger, Marvin" userId="5b54ce5a-dc89-476f-af33-5abd75d5b1e8" providerId="ADAL" clId="{265A6489-94A2-4E64-A25F-E64F69B0C2C1}" dt="2024-03-05T20:38:01.933" v="1863"/>
          <ac:picMkLst>
            <pc:docMk/>
            <pc:sldMk cId="2953579200" sldId="264"/>
            <ac:picMk id="2130" creationId="{87343DEC-FBBF-8522-BAF8-17722D60371E}"/>
          </ac:picMkLst>
        </pc:picChg>
        <pc:picChg chg="add mod">
          <ac:chgData name="Bullinger, Marvin" userId="5b54ce5a-dc89-476f-af33-5abd75d5b1e8" providerId="ADAL" clId="{265A6489-94A2-4E64-A25F-E64F69B0C2C1}" dt="2024-03-05T20:38:02.101" v="1864"/>
          <ac:picMkLst>
            <pc:docMk/>
            <pc:sldMk cId="2953579200" sldId="264"/>
            <ac:picMk id="2131" creationId="{27E7CB20-1A88-1DFB-2F35-D5851B240A64}"/>
          </ac:picMkLst>
        </pc:picChg>
        <pc:picChg chg="add del mod">
          <ac:chgData name="Bullinger, Marvin" userId="5b54ce5a-dc89-476f-af33-5abd75d5b1e8" providerId="ADAL" clId="{265A6489-94A2-4E64-A25F-E64F69B0C2C1}" dt="2024-03-05T20:38:30.950" v="1873" actId="478"/>
          <ac:picMkLst>
            <pc:docMk/>
            <pc:sldMk cId="2953579200" sldId="264"/>
            <ac:picMk id="2132" creationId="{BB4D58CF-B79F-501F-83FE-27495DB1049B}"/>
          </ac:picMkLst>
        </pc:picChg>
        <pc:picChg chg="add mod">
          <ac:chgData name="Bullinger, Marvin" userId="5b54ce5a-dc89-476f-af33-5abd75d5b1e8" providerId="ADAL" clId="{265A6489-94A2-4E64-A25F-E64F69B0C2C1}" dt="2024-03-05T20:38:03.794" v="1866"/>
          <ac:picMkLst>
            <pc:docMk/>
            <pc:sldMk cId="2953579200" sldId="264"/>
            <ac:picMk id="2133" creationId="{8575E61D-A710-3DB0-FE8F-CBC1094C37AD}"/>
          </ac:picMkLst>
        </pc:picChg>
        <pc:picChg chg="add mod">
          <ac:chgData name="Bullinger, Marvin" userId="5b54ce5a-dc89-476f-af33-5abd75d5b1e8" providerId="ADAL" clId="{265A6489-94A2-4E64-A25F-E64F69B0C2C1}" dt="2024-03-05T20:39:09.986" v="1875" actId="1076"/>
          <ac:picMkLst>
            <pc:docMk/>
            <pc:sldMk cId="2953579200" sldId="264"/>
            <ac:picMk id="2134" creationId="{F52D11B1-1E59-D4A6-16B1-EFC784E93F37}"/>
          </ac:picMkLst>
        </pc:picChg>
        <pc:picChg chg="add del mod">
          <ac:chgData name="Bullinger, Marvin" userId="5b54ce5a-dc89-476f-af33-5abd75d5b1e8" providerId="ADAL" clId="{265A6489-94A2-4E64-A25F-E64F69B0C2C1}" dt="2024-03-05T20:38:30.950" v="1873" actId="478"/>
          <ac:picMkLst>
            <pc:docMk/>
            <pc:sldMk cId="2953579200" sldId="264"/>
            <ac:picMk id="2135" creationId="{2D954868-65BA-639D-5AAD-519293962F84}"/>
          </ac:picMkLst>
        </pc:picChg>
        <pc:picChg chg="add mod">
          <ac:chgData name="Bullinger, Marvin" userId="5b54ce5a-dc89-476f-af33-5abd75d5b1e8" providerId="ADAL" clId="{265A6489-94A2-4E64-A25F-E64F69B0C2C1}" dt="2024-03-05T20:38:05.634" v="1869"/>
          <ac:picMkLst>
            <pc:docMk/>
            <pc:sldMk cId="2953579200" sldId="264"/>
            <ac:picMk id="2136" creationId="{F4A99DB8-D0BF-EA73-3373-EB4081248602}"/>
          </ac:picMkLst>
        </pc:picChg>
        <pc:picChg chg="add mod">
          <ac:chgData name="Bullinger, Marvin" userId="5b54ce5a-dc89-476f-af33-5abd75d5b1e8" providerId="ADAL" clId="{265A6489-94A2-4E64-A25F-E64F69B0C2C1}" dt="2024-03-05T20:38:05.822" v="1870"/>
          <ac:picMkLst>
            <pc:docMk/>
            <pc:sldMk cId="2953579200" sldId="264"/>
            <ac:picMk id="2137" creationId="{29F46041-F405-55C5-2534-7C33386A5E41}"/>
          </ac:picMkLst>
        </pc:picChg>
        <pc:picChg chg="add del mod">
          <ac:chgData name="Bullinger, Marvin" userId="5b54ce5a-dc89-476f-af33-5abd75d5b1e8" providerId="ADAL" clId="{265A6489-94A2-4E64-A25F-E64F69B0C2C1}" dt="2024-03-05T20:38:30.950" v="1873" actId="478"/>
          <ac:picMkLst>
            <pc:docMk/>
            <pc:sldMk cId="2953579200" sldId="264"/>
            <ac:picMk id="2138" creationId="{37B1EF4E-0872-52AA-7FF1-FB57F1D97D75}"/>
          </ac:picMkLst>
        </pc:picChg>
        <pc:picChg chg="add del mod">
          <ac:chgData name="Bullinger, Marvin" userId="5b54ce5a-dc89-476f-af33-5abd75d5b1e8" providerId="ADAL" clId="{265A6489-94A2-4E64-A25F-E64F69B0C2C1}" dt="2024-03-05T20:38:30.950" v="1873" actId="478"/>
          <ac:picMkLst>
            <pc:docMk/>
            <pc:sldMk cId="2953579200" sldId="264"/>
            <ac:picMk id="2139" creationId="{04783CAB-748E-920C-363E-A93A6582CC3B}"/>
          </ac:picMkLst>
        </pc:picChg>
        <pc:cxnChg chg="add del">
          <ac:chgData name="Bullinger, Marvin" userId="5b54ce5a-dc89-476f-af33-5abd75d5b1e8" providerId="ADAL" clId="{265A6489-94A2-4E64-A25F-E64F69B0C2C1}" dt="2024-03-05T20:30:45.380" v="1403" actId="478"/>
          <ac:cxnSpMkLst>
            <pc:docMk/>
            <pc:sldMk cId="2953579200" sldId="264"/>
            <ac:cxnSpMk id="18" creationId="{FCD16478-72AB-D761-0121-7C5B39E7A04A}"/>
          </ac:cxnSpMkLst>
        </pc:cxnChg>
        <pc:cxnChg chg="add del mod">
          <ac:chgData name="Bullinger, Marvin" userId="5b54ce5a-dc89-476f-af33-5abd75d5b1e8" providerId="ADAL" clId="{265A6489-94A2-4E64-A25F-E64F69B0C2C1}" dt="2024-03-05T20:30:43.999" v="1402" actId="478"/>
          <ac:cxnSpMkLst>
            <pc:docMk/>
            <pc:sldMk cId="2953579200" sldId="264"/>
            <ac:cxnSpMk id="19" creationId="{7CA8383A-796B-9E0B-255D-E16D474FC580}"/>
          </ac:cxnSpMkLst>
        </pc:cxnChg>
        <pc:cxnChg chg="add del mod">
          <ac:chgData name="Bullinger, Marvin" userId="5b54ce5a-dc89-476f-af33-5abd75d5b1e8" providerId="ADAL" clId="{265A6489-94A2-4E64-A25F-E64F69B0C2C1}" dt="2024-03-05T20:30:42.311" v="1401" actId="478"/>
          <ac:cxnSpMkLst>
            <pc:docMk/>
            <pc:sldMk cId="2953579200" sldId="264"/>
            <ac:cxnSpMk id="21" creationId="{770657E7-C2D7-A206-DD69-2971010298FC}"/>
          </ac:cxnSpMkLst>
        </pc:cxnChg>
        <pc:cxnChg chg="add del mod">
          <ac:chgData name="Bullinger, Marvin" userId="5b54ce5a-dc89-476f-af33-5abd75d5b1e8" providerId="ADAL" clId="{265A6489-94A2-4E64-A25F-E64F69B0C2C1}" dt="2024-03-05T20:30:40.892" v="1400" actId="478"/>
          <ac:cxnSpMkLst>
            <pc:docMk/>
            <pc:sldMk cId="2953579200" sldId="264"/>
            <ac:cxnSpMk id="26" creationId="{18155EE0-3F6B-9CB6-736B-34EDF50558A7}"/>
          </ac:cxnSpMkLst>
        </pc:cxnChg>
        <pc:cxnChg chg="add del mod">
          <ac:chgData name="Bullinger, Marvin" userId="5b54ce5a-dc89-476f-af33-5abd75d5b1e8" providerId="ADAL" clId="{265A6489-94A2-4E64-A25F-E64F69B0C2C1}" dt="2024-03-05T20:30:39.290" v="1399" actId="478"/>
          <ac:cxnSpMkLst>
            <pc:docMk/>
            <pc:sldMk cId="2953579200" sldId="264"/>
            <ac:cxnSpMk id="30" creationId="{46CF6B48-AE7E-AC2D-0E44-2927E6D7DD5B}"/>
          </ac:cxnSpMkLst>
        </pc:cxnChg>
        <pc:cxnChg chg="add del mod">
          <ac:chgData name="Bullinger, Marvin" userId="5b54ce5a-dc89-476f-af33-5abd75d5b1e8" providerId="ADAL" clId="{265A6489-94A2-4E64-A25F-E64F69B0C2C1}" dt="2024-03-05T20:30:37.669" v="1398" actId="478"/>
          <ac:cxnSpMkLst>
            <pc:docMk/>
            <pc:sldMk cId="2953579200" sldId="264"/>
            <ac:cxnSpMk id="2049" creationId="{3CFEF177-B782-8BF5-947C-4094E112817C}"/>
          </ac:cxnSpMkLst>
        </pc:cxnChg>
        <pc:cxnChg chg="add del mod">
          <ac:chgData name="Bullinger, Marvin" userId="5b54ce5a-dc89-476f-af33-5abd75d5b1e8" providerId="ADAL" clId="{265A6489-94A2-4E64-A25F-E64F69B0C2C1}" dt="2024-03-05T20:30:35.850" v="1397" actId="478"/>
          <ac:cxnSpMkLst>
            <pc:docMk/>
            <pc:sldMk cId="2953579200" sldId="264"/>
            <ac:cxnSpMk id="2055" creationId="{A819D612-7BF3-9227-4E94-238173A2AC32}"/>
          </ac:cxnSpMkLst>
        </pc:cxnChg>
        <pc:cxnChg chg="add mod">
          <ac:chgData name="Bullinger, Marvin" userId="5b54ce5a-dc89-476f-af33-5abd75d5b1e8" providerId="ADAL" clId="{265A6489-94A2-4E64-A25F-E64F69B0C2C1}" dt="2024-03-05T20:36:24.864" v="1815" actId="14100"/>
          <ac:cxnSpMkLst>
            <pc:docMk/>
            <pc:sldMk cId="2953579200" sldId="264"/>
            <ac:cxnSpMk id="2060" creationId="{CB6F9293-ABE7-9C1B-713A-11DCA3E7D4B2}"/>
          </ac:cxnSpMkLst>
        </pc:cxnChg>
        <pc:cxnChg chg="add mod">
          <ac:chgData name="Bullinger, Marvin" userId="5b54ce5a-dc89-476f-af33-5abd75d5b1e8" providerId="ADAL" clId="{265A6489-94A2-4E64-A25F-E64F69B0C2C1}" dt="2024-03-05T20:36:28.097" v="1816" actId="14100"/>
          <ac:cxnSpMkLst>
            <pc:docMk/>
            <pc:sldMk cId="2953579200" sldId="264"/>
            <ac:cxnSpMk id="2061" creationId="{AB0D99A1-51CC-4FDC-4F7B-7C62A30515F4}"/>
          </ac:cxnSpMkLst>
        </pc:cxnChg>
        <pc:cxnChg chg="add mod">
          <ac:chgData name="Bullinger, Marvin" userId="5b54ce5a-dc89-476f-af33-5abd75d5b1e8" providerId="ADAL" clId="{265A6489-94A2-4E64-A25F-E64F69B0C2C1}" dt="2024-03-05T20:36:30.456" v="1817" actId="14100"/>
          <ac:cxnSpMkLst>
            <pc:docMk/>
            <pc:sldMk cId="2953579200" sldId="264"/>
            <ac:cxnSpMk id="2063" creationId="{BE9FEA0D-78D2-49FB-61AB-42E13A3A655B}"/>
          </ac:cxnSpMkLst>
        </pc:cxnChg>
        <pc:cxnChg chg="add mod">
          <ac:chgData name="Bullinger, Marvin" userId="5b54ce5a-dc89-476f-af33-5abd75d5b1e8" providerId="ADAL" clId="{265A6489-94A2-4E64-A25F-E64F69B0C2C1}" dt="2024-03-05T20:36:33.703" v="1818" actId="14100"/>
          <ac:cxnSpMkLst>
            <pc:docMk/>
            <pc:sldMk cId="2953579200" sldId="264"/>
            <ac:cxnSpMk id="2066" creationId="{E21DBDBD-9150-11CA-8341-4E5AACE30DD2}"/>
          </ac:cxnSpMkLst>
        </pc:cxnChg>
        <pc:cxnChg chg="add mod">
          <ac:chgData name="Bullinger, Marvin" userId="5b54ce5a-dc89-476f-af33-5abd75d5b1e8" providerId="ADAL" clId="{265A6489-94A2-4E64-A25F-E64F69B0C2C1}" dt="2024-03-05T20:36:37.433" v="1819" actId="14100"/>
          <ac:cxnSpMkLst>
            <pc:docMk/>
            <pc:sldMk cId="2953579200" sldId="264"/>
            <ac:cxnSpMk id="2071" creationId="{87C75D2B-D2FA-8033-4BC1-771760A5B7B2}"/>
          </ac:cxnSpMkLst>
        </pc:cxnChg>
        <pc:cxnChg chg="add mod">
          <ac:chgData name="Bullinger, Marvin" userId="5b54ce5a-dc89-476f-af33-5abd75d5b1e8" providerId="ADAL" clId="{265A6489-94A2-4E64-A25F-E64F69B0C2C1}" dt="2024-03-05T20:36:39.420" v="1820" actId="14100"/>
          <ac:cxnSpMkLst>
            <pc:docMk/>
            <pc:sldMk cId="2953579200" sldId="264"/>
            <ac:cxnSpMk id="2073" creationId="{121A4E35-4148-B070-B0F6-43F8827C13EC}"/>
          </ac:cxnSpMkLst>
        </pc:cxnChg>
        <pc:cxnChg chg="add mod">
          <ac:chgData name="Bullinger, Marvin" userId="5b54ce5a-dc89-476f-af33-5abd75d5b1e8" providerId="ADAL" clId="{265A6489-94A2-4E64-A25F-E64F69B0C2C1}" dt="2024-03-05T20:36:43.252" v="1821" actId="14100"/>
          <ac:cxnSpMkLst>
            <pc:docMk/>
            <pc:sldMk cId="2953579200" sldId="264"/>
            <ac:cxnSpMk id="2075" creationId="{2744075A-99F9-341F-6CA5-AF81F5C0344C}"/>
          </ac:cxnSpMkLst>
        </pc:cxnChg>
        <pc:cxnChg chg="add mod">
          <ac:chgData name="Bullinger, Marvin" userId="5b54ce5a-dc89-476f-af33-5abd75d5b1e8" providerId="ADAL" clId="{265A6489-94A2-4E64-A25F-E64F69B0C2C1}" dt="2024-03-05T20:36:45.485" v="1822" actId="14100"/>
          <ac:cxnSpMkLst>
            <pc:docMk/>
            <pc:sldMk cId="2953579200" sldId="264"/>
            <ac:cxnSpMk id="2077" creationId="{C5564C02-6489-6EA6-993C-D78448970A76}"/>
          </ac:cxnSpMkLst>
        </pc:cxnChg>
        <pc:cxnChg chg="add del mod">
          <ac:chgData name="Bullinger, Marvin" userId="5b54ce5a-dc89-476f-af33-5abd75d5b1e8" providerId="ADAL" clId="{265A6489-94A2-4E64-A25F-E64F69B0C2C1}" dt="2024-03-05T20:36:16.086" v="1812" actId="478"/>
          <ac:cxnSpMkLst>
            <pc:docMk/>
            <pc:sldMk cId="2953579200" sldId="264"/>
            <ac:cxnSpMk id="2085" creationId="{A0AE4BFB-0AF8-E638-CCAE-D002317970F9}"/>
          </ac:cxnSpMkLst>
        </pc:cxnChg>
        <pc:cxnChg chg="add mod">
          <ac:chgData name="Bullinger, Marvin" userId="5b54ce5a-dc89-476f-af33-5abd75d5b1e8" providerId="ADAL" clId="{265A6489-94A2-4E64-A25F-E64F69B0C2C1}" dt="2024-03-05T20:36:55.776" v="1825" actId="14100"/>
          <ac:cxnSpMkLst>
            <pc:docMk/>
            <pc:sldMk cId="2953579200" sldId="264"/>
            <ac:cxnSpMk id="2095" creationId="{276E1261-4796-4A3A-32D9-BB5AE53BFE1E}"/>
          </ac:cxnSpMkLst>
        </pc:cxnChg>
        <pc:cxnChg chg="add mod">
          <ac:chgData name="Bullinger, Marvin" userId="5b54ce5a-dc89-476f-af33-5abd75d5b1e8" providerId="ADAL" clId="{265A6489-94A2-4E64-A25F-E64F69B0C2C1}" dt="2024-03-05T20:37:02.049" v="1828" actId="14100"/>
          <ac:cxnSpMkLst>
            <pc:docMk/>
            <pc:sldMk cId="2953579200" sldId="264"/>
            <ac:cxnSpMk id="2097" creationId="{4C1A750C-09A2-2E9D-5E98-80B87820D011}"/>
          </ac:cxnSpMkLst>
        </pc:cxnChg>
        <pc:cxnChg chg="add mod">
          <ac:chgData name="Bullinger, Marvin" userId="5b54ce5a-dc89-476f-af33-5abd75d5b1e8" providerId="ADAL" clId="{265A6489-94A2-4E64-A25F-E64F69B0C2C1}" dt="2024-03-05T20:37:08.555" v="1831" actId="14100"/>
          <ac:cxnSpMkLst>
            <pc:docMk/>
            <pc:sldMk cId="2953579200" sldId="264"/>
            <ac:cxnSpMk id="2099" creationId="{725B2CBC-E04B-92E4-776F-9F827ACC8ABC}"/>
          </ac:cxnSpMkLst>
        </pc:cxnChg>
        <pc:cxnChg chg="add mod">
          <ac:chgData name="Bullinger, Marvin" userId="5b54ce5a-dc89-476f-af33-5abd75d5b1e8" providerId="ADAL" clId="{265A6489-94A2-4E64-A25F-E64F69B0C2C1}" dt="2024-03-05T20:37:15.473" v="1834" actId="14100"/>
          <ac:cxnSpMkLst>
            <pc:docMk/>
            <pc:sldMk cId="2953579200" sldId="264"/>
            <ac:cxnSpMk id="2101" creationId="{FD05EE19-CC8C-7EB2-442C-643DF3210A0F}"/>
          </ac:cxnSpMkLst>
        </pc:cxnChg>
      </pc:sldChg>
      <pc:sldChg chg="addSp delSp modSp mod ord modAnim">
        <pc:chgData name="Bullinger, Marvin" userId="5b54ce5a-dc89-476f-af33-5abd75d5b1e8" providerId="ADAL" clId="{265A6489-94A2-4E64-A25F-E64F69B0C2C1}" dt="2024-03-08T14:52:45.331" v="5481" actId="1076"/>
        <pc:sldMkLst>
          <pc:docMk/>
          <pc:sldMk cId="3814452180" sldId="266"/>
        </pc:sldMkLst>
        <pc:spChg chg="mod">
          <ac:chgData name="Bullinger, Marvin" userId="5b54ce5a-dc89-476f-af33-5abd75d5b1e8" providerId="ADAL" clId="{265A6489-94A2-4E64-A25F-E64F69B0C2C1}" dt="2024-03-06T13:54:06.157" v="5141" actId="20577"/>
          <ac:spMkLst>
            <pc:docMk/>
            <pc:sldMk cId="3814452180" sldId="266"/>
            <ac:spMk id="2" creationId="{57CB0A8A-C4B9-4BB3-9BCA-7156482E722C}"/>
          </ac:spMkLst>
        </pc:spChg>
        <pc:spChg chg="mod">
          <ac:chgData name="Bullinger, Marvin" userId="5b54ce5a-dc89-476f-af33-5abd75d5b1e8" providerId="ADAL" clId="{265A6489-94A2-4E64-A25F-E64F69B0C2C1}" dt="2024-03-06T13:54:17.336" v="5143" actId="20577"/>
          <ac:spMkLst>
            <pc:docMk/>
            <pc:sldMk cId="3814452180" sldId="266"/>
            <ac:spMk id="3" creationId="{029855C6-FDDD-42E4-A04B-86C57249772A}"/>
          </ac:spMkLst>
        </pc:spChg>
        <pc:spChg chg="del">
          <ac:chgData name="Bullinger, Marvin" userId="5b54ce5a-dc89-476f-af33-5abd75d5b1e8" providerId="ADAL" clId="{265A6489-94A2-4E64-A25F-E64F69B0C2C1}" dt="2024-03-05T21:00:10.106" v="2398" actId="478"/>
          <ac:spMkLst>
            <pc:docMk/>
            <pc:sldMk cId="3814452180" sldId="266"/>
            <ac:spMk id="4" creationId="{8A6D72A5-84E6-411C-8CFD-C064944396F5}"/>
          </ac:spMkLst>
        </pc:spChg>
        <pc:spChg chg="del">
          <ac:chgData name="Bullinger, Marvin" userId="5b54ce5a-dc89-476f-af33-5abd75d5b1e8" providerId="ADAL" clId="{265A6489-94A2-4E64-A25F-E64F69B0C2C1}" dt="2024-03-05T21:00:14.500" v="2400" actId="478"/>
          <ac:spMkLst>
            <pc:docMk/>
            <pc:sldMk cId="3814452180" sldId="266"/>
            <ac:spMk id="7" creationId="{47506B9A-60C2-1B89-CCE3-E1ACD4A91BA2}"/>
          </ac:spMkLst>
        </pc:spChg>
        <pc:spChg chg="add del mod">
          <ac:chgData name="Bullinger, Marvin" userId="5b54ce5a-dc89-476f-af33-5abd75d5b1e8" providerId="ADAL" clId="{265A6489-94A2-4E64-A25F-E64F69B0C2C1}" dt="2024-03-05T21:00:12.237" v="2399" actId="478"/>
          <ac:spMkLst>
            <pc:docMk/>
            <pc:sldMk cId="3814452180" sldId="266"/>
            <ac:spMk id="8" creationId="{16ED855E-CA94-19F3-1D13-3E3BF5C37336}"/>
          </ac:spMkLst>
        </pc:spChg>
        <pc:spChg chg="add del">
          <ac:chgData name="Bullinger, Marvin" userId="5b54ce5a-dc89-476f-af33-5abd75d5b1e8" providerId="ADAL" clId="{265A6489-94A2-4E64-A25F-E64F69B0C2C1}" dt="2024-03-05T21:01:57.255" v="2491" actId="22"/>
          <ac:spMkLst>
            <pc:docMk/>
            <pc:sldMk cId="3814452180" sldId="266"/>
            <ac:spMk id="13" creationId="{2242AFB9-8FF2-201F-3CE6-D1E7F9021347}"/>
          </ac:spMkLst>
        </pc:spChg>
        <pc:spChg chg="add del mod">
          <ac:chgData name="Bullinger, Marvin" userId="5b54ce5a-dc89-476f-af33-5abd75d5b1e8" providerId="ADAL" clId="{265A6489-94A2-4E64-A25F-E64F69B0C2C1}" dt="2024-03-05T21:02:56.340" v="2516" actId="478"/>
          <ac:spMkLst>
            <pc:docMk/>
            <pc:sldMk cId="3814452180" sldId="266"/>
            <ac:spMk id="15" creationId="{AF4D7481-175B-DF87-7D4A-3BE811B3C9AE}"/>
          </ac:spMkLst>
        </pc:spChg>
        <pc:spChg chg="add mod">
          <ac:chgData name="Bullinger, Marvin" userId="5b54ce5a-dc89-476f-af33-5abd75d5b1e8" providerId="ADAL" clId="{265A6489-94A2-4E64-A25F-E64F69B0C2C1}" dt="2024-03-05T21:10:39.966" v="2638"/>
          <ac:spMkLst>
            <pc:docMk/>
            <pc:sldMk cId="3814452180" sldId="266"/>
            <ac:spMk id="23" creationId="{4DB9AB81-2E68-D815-1AEA-13646D7A3D27}"/>
          </ac:spMkLst>
        </pc:spChg>
        <pc:spChg chg="add mod">
          <ac:chgData name="Bullinger, Marvin" userId="5b54ce5a-dc89-476f-af33-5abd75d5b1e8" providerId="ADAL" clId="{265A6489-94A2-4E64-A25F-E64F69B0C2C1}" dt="2024-03-08T14:52:30.135" v="5472" actId="20577"/>
          <ac:spMkLst>
            <pc:docMk/>
            <pc:sldMk cId="3814452180" sldId="266"/>
            <ac:spMk id="24" creationId="{7BA1DB2B-C594-B5A3-51E5-3C7DB00DDB0C}"/>
          </ac:spMkLst>
        </pc:spChg>
        <pc:spChg chg="add mod">
          <ac:chgData name="Bullinger, Marvin" userId="5b54ce5a-dc89-476f-af33-5abd75d5b1e8" providerId="ADAL" clId="{265A6489-94A2-4E64-A25F-E64F69B0C2C1}" dt="2024-03-08T14:52:38.378" v="5480" actId="20577"/>
          <ac:spMkLst>
            <pc:docMk/>
            <pc:sldMk cId="3814452180" sldId="266"/>
            <ac:spMk id="25" creationId="{C6959E5A-8C8B-57E5-BE57-AEA4F585D510}"/>
          </ac:spMkLst>
        </pc:spChg>
        <pc:spChg chg="add mod">
          <ac:chgData name="Bullinger, Marvin" userId="5b54ce5a-dc89-476f-af33-5abd75d5b1e8" providerId="ADAL" clId="{265A6489-94A2-4E64-A25F-E64F69B0C2C1}" dt="2024-03-08T14:52:45.331" v="5481" actId="1076"/>
          <ac:spMkLst>
            <pc:docMk/>
            <pc:sldMk cId="3814452180" sldId="266"/>
            <ac:spMk id="26" creationId="{F96F79FD-793A-D481-4782-A8800122034A}"/>
          </ac:spMkLst>
        </pc:spChg>
        <pc:picChg chg="del">
          <ac:chgData name="Bullinger, Marvin" userId="5b54ce5a-dc89-476f-af33-5abd75d5b1e8" providerId="ADAL" clId="{265A6489-94A2-4E64-A25F-E64F69B0C2C1}" dt="2024-03-05T21:00:07.614" v="2397" actId="478"/>
          <ac:picMkLst>
            <pc:docMk/>
            <pc:sldMk cId="3814452180" sldId="266"/>
            <ac:picMk id="9" creationId="{BDB9B43B-9B8D-4693-B1B1-1BF162590BA2}"/>
          </ac:picMkLst>
        </pc:picChg>
        <pc:picChg chg="add mod">
          <ac:chgData name="Bullinger, Marvin" userId="5b54ce5a-dc89-476f-af33-5abd75d5b1e8" providerId="ADAL" clId="{265A6489-94A2-4E64-A25F-E64F69B0C2C1}" dt="2024-03-05T21:03:02.796" v="2518" actId="1076"/>
          <ac:picMkLst>
            <pc:docMk/>
            <pc:sldMk cId="3814452180" sldId="266"/>
            <ac:picMk id="11" creationId="{F98485F0-1A89-2770-876A-EC93CD795AA2}"/>
          </ac:picMkLst>
        </pc:picChg>
        <pc:picChg chg="add mod">
          <ac:chgData name="Bullinger, Marvin" userId="5b54ce5a-dc89-476f-af33-5abd75d5b1e8" providerId="ADAL" clId="{265A6489-94A2-4E64-A25F-E64F69B0C2C1}" dt="2024-03-05T21:02:59.063" v="2517" actId="1076"/>
          <ac:picMkLst>
            <pc:docMk/>
            <pc:sldMk cId="3814452180" sldId="266"/>
            <ac:picMk id="14" creationId="{82B8EB4B-900E-B65E-C801-859B5F6C7321}"/>
          </ac:picMkLst>
        </pc:picChg>
        <pc:picChg chg="add mod">
          <ac:chgData name="Bullinger, Marvin" userId="5b54ce5a-dc89-476f-af33-5abd75d5b1e8" providerId="ADAL" clId="{265A6489-94A2-4E64-A25F-E64F69B0C2C1}" dt="2024-03-05T21:06:35.019" v="2528" actId="207"/>
          <ac:picMkLst>
            <pc:docMk/>
            <pc:sldMk cId="3814452180" sldId="266"/>
            <ac:picMk id="16" creationId="{1FBEE304-3692-0F75-A444-5ED8AD5A7CFB}"/>
          </ac:picMkLst>
        </pc:picChg>
        <pc:picChg chg="add del">
          <ac:chgData name="Bullinger, Marvin" userId="5b54ce5a-dc89-476f-af33-5abd75d5b1e8" providerId="ADAL" clId="{265A6489-94A2-4E64-A25F-E64F69B0C2C1}" dt="2024-03-05T21:03:50.663" v="2520" actId="478"/>
          <ac:picMkLst>
            <pc:docMk/>
            <pc:sldMk cId="3814452180" sldId="266"/>
            <ac:picMk id="3074" creationId="{A84974B9-B337-537A-DA1E-95D2F726E28A}"/>
          </ac:picMkLst>
        </pc:picChg>
        <pc:picChg chg="add mod">
          <ac:chgData name="Bullinger, Marvin" userId="5b54ce5a-dc89-476f-af33-5abd75d5b1e8" providerId="ADAL" clId="{265A6489-94A2-4E64-A25F-E64F69B0C2C1}" dt="2024-03-05T21:04:05.427" v="2525" actId="1076"/>
          <ac:picMkLst>
            <pc:docMk/>
            <pc:sldMk cId="3814452180" sldId="266"/>
            <ac:picMk id="3076" creationId="{BF76D8E4-28D0-3F08-1A39-8DC39A23FC6D}"/>
          </ac:picMkLst>
        </pc:picChg>
        <pc:cxnChg chg="add mod">
          <ac:chgData name="Bullinger, Marvin" userId="5b54ce5a-dc89-476f-af33-5abd75d5b1e8" providerId="ADAL" clId="{265A6489-94A2-4E64-A25F-E64F69B0C2C1}" dt="2024-03-05T21:07:06.221" v="2533" actId="14100"/>
          <ac:cxnSpMkLst>
            <pc:docMk/>
            <pc:sldMk cId="3814452180" sldId="266"/>
            <ac:cxnSpMk id="17" creationId="{464D09DE-5AAE-6C8D-355F-9BF4242D1714}"/>
          </ac:cxnSpMkLst>
        </pc:cxnChg>
        <pc:cxnChg chg="add mod">
          <ac:chgData name="Bullinger, Marvin" userId="5b54ce5a-dc89-476f-af33-5abd75d5b1e8" providerId="ADAL" clId="{265A6489-94A2-4E64-A25F-E64F69B0C2C1}" dt="2024-03-05T21:07:19.388" v="2536" actId="14100"/>
          <ac:cxnSpMkLst>
            <pc:docMk/>
            <pc:sldMk cId="3814452180" sldId="266"/>
            <ac:cxnSpMk id="19" creationId="{BCBF4BD2-F141-53C1-F4EB-31812034B6D0}"/>
          </ac:cxnSpMkLst>
        </pc:cxnChg>
        <pc:cxnChg chg="add mod">
          <ac:chgData name="Bullinger, Marvin" userId="5b54ce5a-dc89-476f-af33-5abd75d5b1e8" providerId="ADAL" clId="{265A6489-94A2-4E64-A25F-E64F69B0C2C1}" dt="2024-03-05T21:07:32.349" v="2539" actId="14100"/>
          <ac:cxnSpMkLst>
            <pc:docMk/>
            <pc:sldMk cId="3814452180" sldId="266"/>
            <ac:cxnSpMk id="21" creationId="{1040B118-B7FF-9E33-AD18-EBD96E339368}"/>
          </ac:cxnSpMkLst>
        </pc:cxnChg>
      </pc:sldChg>
      <pc:sldChg chg="del">
        <pc:chgData name="Bullinger, Marvin" userId="5b54ce5a-dc89-476f-af33-5abd75d5b1e8" providerId="ADAL" clId="{265A6489-94A2-4E64-A25F-E64F69B0C2C1}" dt="2024-03-05T22:13:23.829" v="4240" actId="47"/>
        <pc:sldMkLst>
          <pc:docMk/>
          <pc:sldMk cId="304157022" sldId="540"/>
        </pc:sldMkLst>
      </pc:sldChg>
      <pc:sldChg chg="del">
        <pc:chgData name="Bullinger, Marvin" userId="5b54ce5a-dc89-476f-af33-5abd75d5b1e8" providerId="ADAL" clId="{265A6489-94A2-4E64-A25F-E64F69B0C2C1}" dt="2024-03-05T22:13:25.783" v="4241" actId="47"/>
        <pc:sldMkLst>
          <pc:docMk/>
          <pc:sldMk cId="4137227083" sldId="541"/>
        </pc:sldMkLst>
      </pc:sldChg>
      <pc:sldChg chg="addSp delSp modSp mod">
        <pc:chgData name="Bullinger, Marvin" userId="5b54ce5a-dc89-476f-af33-5abd75d5b1e8" providerId="ADAL" clId="{265A6489-94A2-4E64-A25F-E64F69B0C2C1}" dt="2024-03-06T14:03:05.085" v="5393" actId="1076"/>
        <pc:sldMkLst>
          <pc:docMk/>
          <pc:sldMk cId="4287890113" sldId="549"/>
        </pc:sldMkLst>
        <pc:spChg chg="del">
          <ac:chgData name="Bullinger, Marvin" userId="5b54ce5a-dc89-476f-af33-5abd75d5b1e8" providerId="ADAL" clId="{265A6489-94A2-4E64-A25F-E64F69B0C2C1}" dt="2024-03-05T21:21:29.842" v="3231" actId="478"/>
          <ac:spMkLst>
            <pc:docMk/>
            <pc:sldMk cId="4287890113" sldId="549"/>
            <ac:spMk id="2" creationId="{F66B0FF1-D2AD-A839-D10A-3B2F4EAE6B48}"/>
          </ac:spMkLst>
        </pc:spChg>
        <pc:spChg chg="add mod">
          <ac:chgData name="Bullinger, Marvin" userId="5b54ce5a-dc89-476f-af33-5abd75d5b1e8" providerId="ADAL" clId="{265A6489-94A2-4E64-A25F-E64F69B0C2C1}" dt="2024-03-06T14:03:05.085" v="5393" actId="1076"/>
          <ac:spMkLst>
            <pc:docMk/>
            <pc:sldMk cId="4287890113" sldId="549"/>
            <ac:spMk id="3" creationId="{CE71D93B-D96A-3EAF-C2CB-38E6FC0C4D9F}"/>
          </ac:spMkLst>
        </pc:spChg>
        <pc:spChg chg="mod ord">
          <ac:chgData name="Bullinger, Marvin" userId="5b54ce5a-dc89-476f-af33-5abd75d5b1e8" providerId="ADAL" clId="{265A6489-94A2-4E64-A25F-E64F69B0C2C1}" dt="2024-03-06T14:03:02.850" v="5392" actId="1076"/>
          <ac:spMkLst>
            <pc:docMk/>
            <pc:sldMk cId="4287890113" sldId="549"/>
            <ac:spMk id="4" creationId="{A3AD3FEB-B147-77C5-EDC9-009F8CB68021}"/>
          </ac:spMkLst>
        </pc:spChg>
        <pc:spChg chg="mod">
          <ac:chgData name="Bullinger, Marvin" userId="5b54ce5a-dc89-476f-af33-5abd75d5b1e8" providerId="ADAL" clId="{265A6489-94A2-4E64-A25F-E64F69B0C2C1}" dt="2024-03-05T21:21:08.408" v="3210" actId="20577"/>
          <ac:spMkLst>
            <pc:docMk/>
            <pc:sldMk cId="4287890113" sldId="549"/>
            <ac:spMk id="12" creationId="{20E95957-77AD-CD09-C8EE-24130532DD52}"/>
          </ac:spMkLst>
        </pc:spChg>
        <pc:spChg chg="mod">
          <ac:chgData name="Bullinger, Marvin" userId="5b54ce5a-dc89-476f-af33-5abd75d5b1e8" providerId="ADAL" clId="{265A6489-94A2-4E64-A25F-E64F69B0C2C1}" dt="2024-03-05T21:21:19.636" v="3227" actId="2711"/>
          <ac:spMkLst>
            <pc:docMk/>
            <pc:sldMk cId="4287890113" sldId="549"/>
            <ac:spMk id="14" creationId="{1C8B4A94-EF3A-36D5-3A6A-3236027E42A9}"/>
          </ac:spMkLst>
        </pc:spChg>
        <pc:picChg chg="del">
          <ac:chgData name="Bullinger, Marvin" userId="5b54ce5a-dc89-476f-af33-5abd75d5b1e8" providerId="ADAL" clId="{265A6489-94A2-4E64-A25F-E64F69B0C2C1}" dt="2024-03-05T21:21:27.276" v="3230" actId="478"/>
          <ac:picMkLst>
            <pc:docMk/>
            <pc:sldMk cId="4287890113" sldId="549"/>
            <ac:picMk id="7" creationId="{785253AF-5196-53E2-219A-6EDAFAC8D4EE}"/>
          </ac:picMkLst>
        </pc:picChg>
        <pc:picChg chg="add del mod">
          <ac:chgData name="Bullinger, Marvin" userId="5b54ce5a-dc89-476f-af33-5abd75d5b1e8" providerId="ADAL" clId="{265A6489-94A2-4E64-A25F-E64F69B0C2C1}" dt="2024-03-06T13:59:37.735" v="5343" actId="478"/>
          <ac:picMkLst>
            <pc:docMk/>
            <pc:sldMk cId="4287890113" sldId="549"/>
            <ac:picMk id="1026" creationId="{082471C6-9994-B032-7D9C-289B0EF9E813}"/>
          </ac:picMkLst>
        </pc:picChg>
        <pc:picChg chg="add mod">
          <ac:chgData name="Bullinger, Marvin" userId="5b54ce5a-dc89-476f-af33-5abd75d5b1e8" providerId="ADAL" clId="{265A6489-94A2-4E64-A25F-E64F69B0C2C1}" dt="2024-03-06T13:59:47.344" v="5348" actId="1076"/>
          <ac:picMkLst>
            <pc:docMk/>
            <pc:sldMk cId="4287890113" sldId="549"/>
            <ac:picMk id="1028" creationId="{E06BDB35-A5A3-9A8F-E9B9-D9760E758A23}"/>
          </ac:picMkLst>
        </pc:picChg>
      </pc:sldChg>
      <pc:sldChg chg="addSp delSp modSp mod modAnim">
        <pc:chgData name="Bullinger, Marvin" userId="5b54ce5a-dc89-476f-af33-5abd75d5b1e8" providerId="ADAL" clId="{265A6489-94A2-4E64-A25F-E64F69B0C2C1}" dt="2024-03-08T15:05:35.959" v="5504" actId="20577"/>
        <pc:sldMkLst>
          <pc:docMk/>
          <pc:sldMk cId="2083976492" sldId="562"/>
        </pc:sldMkLst>
        <pc:spChg chg="mod">
          <ac:chgData name="Bullinger, Marvin" userId="5b54ce5a-dc89-476f-af33-5abd75d5b1e8" providerId="ADAL" clId="{265A6489-94A2-4E64-A25F-E64F69B0C2C1}" dt="2024-03-05T22:01:36.338" v="3853" actId="1076"/>
          <ac:spMkLst>
            <pc:docMk/>
            <pc:sldMk cId="2083976492" sldId="562"/>
            <ac:spMk id="2" creationId="{1375951E-5070-F90A-F014-C6A305745F0F}"/>
          </ac:spMkLst>
        </pc:spChg>
        <pc:spChg chg="del">
          <ac:chgData name="Bullinger, Marvin" userId="5b54ce5a-dc89-476f-af33-5abd75d5b1e8" providerId="ADAL" clId="{265A6489-94A2-4E64-A25F-E64F69B0C2C1}" dt="2024-03-05T21:25:52.596" v="3531" actId="478"/>
          <ac:spMkLst>
            <pc:docMk/>
            <pc:sldMk cId="2083976492" sldId="562"/>
            <ac:spMk id="4" creationId="{2708E7C4-8A99-8183-9048-83D5C87EE347}"/>
          </ac:spMkLst>
        </pc:spChg>
        <pc:spChg chg="add del mod">
          <ac:chgData name="Bullinger, Marvin" userId="5b54ce5a-dc89-476f-af33-5abd75d5b1e8" providerId="ADAL" clId="{265A6489-94A2-4E64-A25F-E64F69B0C2C1}" dt="2024-03-05T21:25:56.076" v="3533" actId="478"/>
          <ac:spMkLst>
            <pc:docMk/>
            <pc:sldMk cId="2083976492" sldId="562"/>
            <ac:spMk id="7" creationId="{830B79F8-9B6F-758C-97A8-CE44139DF134}"/>
          </ac:spMkLst>
        </pc:spChg>
        <pc:spChg chg="del">
          <ac:chgData name="Bullinger, Marvin" userId="5b54ce5a-dc89-476f-af33-5abd75d5b1e8" providerId="ADAL" clId="{265A6489-94A2-4E64-A25F-E64F69B0C2C1}" dt="2024-03-05T21:25:57.986" v="3534" actId="478"/>
          <ac:spMkLst>
            <pc:docMk/>
            <pc:sldMk cId="2083976492" sldId="562"/>
            <ac:spMk id="9" creationId="{1B63DDB5-0E99-44A0-E316-C03C5F077523}"/>
          </ac:spMkLst>
        </pc:spChg>
        <pc:spChg chg="add mod">
          <ac:chgData name="Bullinger, Marvin" userId="5b54ce5a-dc89-476f-af33-5abd75d5b1e8" providerId="ADAL" clId="{265A6489-94A2-4E64-A25F-E64F69B0C2C1}" dt="2024-03-05T21:32:23.138" v="3847" actId="1076"/>
          <ac:spMkLst>
            <pc:docMk/>
            <pc:sldMk cId="2083976492" sldId="562"/>
            <ac:spMk id="12" creationId="{A6EB9284-2581-394A-0D00-6DCE52B03629}"/>
          </ac:spMkLst>
        </pc:spChg>
        <pc:spChg chg="mod">
          <ac:chgData name="Bullinger, Marvin" userId="5b54ce5a-dc89-476f-af33-5abd75d5b1e8" providerId="ADAL" clId="{265A6489-94A2-4E64-A25F-E64F69B0C2C1}" dt="2024-03-05T21:25:49.285" v="3530" actId="20577"/>
          <ac:spMkLst>
            <pc:docMk/>
            <pc:sldMk cId="2083976492" sldId="562"/>
            <ac:spMk id="13" creationId="{F6857405-FEA6-BD7C-0CAE-FFDA509031EA}"/>
          </ac:spMkLst>
        </pc:spChg>
        <pc:spChg chg="add mod">
          <ac:chgData name="Bullinger, Marvin" userId="5b54ce5a-dc89-476f-af33-5abd75d5b1e8" providerId="ADAL" clId="{265A6489-94A2-4E64-A25F-E64F69B0C2C1}" dt="2024-03-08T15:05:25.640" v="5495" actId="20577"/>
          <ac:spMkLst>
            <pc:docMk/>
            <pc:sldMk cId="2083976492" sldId="562"/>
            <ac:spMk id="14" creationId="{6B2D2896-4238-6E45-4C1E-48434F66FD0B}"/>
          </ac:spMkLst>
        </pc:spChg>
        <pc:spChg chg="add del mod">
          <ac:chgData name="Bullinger, Marvin" userId="5b54ce5a-dc89-476f-af33-5abd75d5b1e8" providerId="ADAL" clId="{265A6489-94A2-4E64-A25F-E64F69B0C2C1}" dt="2024-03-05T21:28:43.849" v="3645" actId="478"/>
          <ac:spMkLst>
            <pc:docMk/>
            <pc:sldMk cId="2083976492" sldId="562"/>
            <ac:spMk id="15" creationId="{853C9D9A-AA49-835B-E717-DDAF8A6FAA1F}"/>
          </ac:spMkLst>
        </pc:spChg>
        <pc:spChg chg="add mod">
          <ac:chgData name="Bullinger, Marvin" userId="5b54ce5a-dc89-476f-af33-5abd75d5b1e8" providerId="ADAL" clId="{265A6489-94A2-4E64-A25F-E64F69B0C2C1}" dt="2024-03-08T15:05:35.959" v="5504" actId="20577"/>
          <ac:spMkLst>
            <pc:docMk/>
            <pc:sldMk cId="2083976492" sldId="562"/>
            <ac:spMk id="16" creationId="{CA3710F3-DA7B-6C00-6934-4B6A42EA498A}"/>
          </ac:spMkLst>
        </pc:spChg>
        <pc:spChg chg="add mod">
          <ac:chgData name="Bullinger, Marvin" userId="5b54ce5a-dc89-476f-af33-5abd75d5b1e8" providerId="ADAL" clId="{265A6489-94A2-4E64-A25F-E64F69B0C2C1}" dt="2024-03-06T14:04:20.450" v="5423" actId="20577"/>
          <ac:spMkLst>
            <pc:docMk/>
            <pc:sldMk cId="2083976492" sldId="562"/>
            <ac:spMk id="17" creationId="{96F09516-6E9D-AB92-4DF6-7E35410DBB7F}"/>
          </ac:spMkLst>
        </pc:spChg>
        <pc:picChg chg="add mod">
          <ac:chgData name="Bullinger, Marvin" userId="5b54ce5a-dc89-476f-af33-5abd75d5b1e8" providerId="ADAL" clId="{265A6489-94A2-4E64-A25F-E64F69B0C2C1}" dt="2024-03-05T21:32:23.138" v="3847" actId="1076"/>
          <ac:picMkLst>
            <pc:docMk/>
            <pc:sldMk cId="2083976492" sldId="562"/>
            <ac:picMk id="10" creationId="{82EFCFD7-F4DB-3A4B-D77B-3E71B6B4921A}"/>
          </ac:picMkLst>
        </pc:picChg>
        <pc:picChg chg="del">
          <ac:chgData name="Bullinger, Marvin" userId="5b54ce5a-dc89-476f-af33-5abd75d5b1e8" providerId="ADAL" clId="{265A6489-94A2-4E64-A25F-E64F69B0C2C1}" dt="2024-03-05T21:25:54.198" v="3532" actId="478"/>
          <ac:picMkLst>
            <pc:docMk/>
            <pc:sldMk cId="2083976492" sldId="562"/>
            <ac:picMk id="11" creationId="{8F449B35-83D5-4025-7732-A5537453193C}"/>
          </ac:picMkLst>
        </pc:picChg>
      </pc:sldChg>
      <pc:sldChg chg="del">
        <pc:chgData name="Bullinger, Marvin" userId="5b54ce5a-dc89-476f-af33-5abd75d5b1e8" providerId="ADAL" clId="{265A6489-94A2-4E64-A25F-E64F69B0C2C1}" dt="2024-03-05T22:13:13.244" v="4235" actId="47"/>
        <pc:sldMkLst>
          <pc:docMk/>
          <pc:sldMk cId="1390316162" sldId="563"/>
        </pc:sldMkLst>
      </pc:sldChg>
      <pc:sldChg chg="del">
        <pc:chgData name="Bullinger, Marvin" userId="5b54ce5a-dc89-476f-af33-5abd75d5b1e8" providerId="ADAL" clId="{265A6489-94A2-4E64-A25F-E64F69B0C2C1}" dt="2024-03-05T22:13:15.864" v="4236" actId="47"/>
        <pc:sldMkLst>
          <pc:docMk/>
          <pc:sldMk cId="1340428863" sldId="564"/>
        </pc:sldMkLst>
      </pc:sldChg>
      <pc:sldChg chg="del">
        <pc:chgData name="Bullinger, Marvin" userId="5b54ce5a-dc89-476f-af33-5abd75d5b1e8" providerId="ADAL" clId="{265A6489-94A2-4E64-A25F-E64F69B0C2C1}" dt="2024-03-05T22:13:21.943" v="4239" actId="47"/>
        <pc:sldMkLst>
          <pc:docMk/>
          <pc:sldMk cId="344116882" sldId="570"/>
        </pc:sldMkLst>
      </pc:sldChg>
      <pc:sldChg chg="addSp delSp modSp mod modAnim">
        <pc:chgData name="Bullinger, Marvin" userId="5b54ce5a-dc89-476f-af33-5abd75d5b1e8" providerId="ADAL" clId="{265A6489-94A2-4E64-A25F-E64F69B0C2C1}" dt="2024-03-11T07:06:19.535" v="5684"/>
        <pc:sldMkLst>
          <pc:docMk/>
          <pc:sldMk cId="1413071935" sldId="572"/>
        </pc:sldMkLst>
        <pc:spChg chg="del">
          <ac:chgData name="Bullinger, Marvin" userId="5b54ce5a-dc89-476f-af33-5abd75d5b1e8" providerId="ADAL" clId="{265A6489-94A2-4E64-A25F-E64F69B0C2C1}" dt="2024-03-05T22:01:41.806" v="3854" actId="478"/>
          <ac:spMkLst>
            <pc:docMk/>
            <pc:sldMk cId="1413071935" sldId="572"/>
            <ac:spMk id="2" creationId="{753BC375-9B7A-6526-773B-A17BB626A946}"/>
          </ac:spMkLst>
        </pc:spChg>
        <pc:spChg chg="add mod">
          <ac:chgData name="Bullinger, Marvin" userId="5b54ce5a-dc89-476f-af33-5abd75d5b1e8" providerId="ADAL" clId="{265A6489-94A2-4E64-A25F-E64F69B0C2C1}" dt="2024-03-11T07:03:57.869" v="5614" actId="1076"/>
          <ac:spMkLst>
            <pc:docMk/>
            <pc:sldMk cId="1413071935" sldId="572"/>
            <ac:spMk id="2" creationId="{D476EFA1-AF3F-A75F-850B-6AE1AD18EC28}"/>
          </ac:spMkLst>
        </pc:spChg>
        <pc:spChg chg="add mod">
          <ac:chgData name="Bullinger, Marvin" userId="5b54ce5a-dc89-476f-af33-5abd75d5b1e8" providerId="ADAL" clId="{265A6489-94A2-4E64-A25F-E64F69B0C2C1}" dt="2024-03-11T07:03:57.869" v="5614" actId="1076"/>
          <ac:spMkLst>
            <pc:docMk/>
            <pc:sldMk cId="1413071935" sldId="572"/>
            <ac:spMk id="3" creationId="{840A7602-7CAC-186E-E39E-FA4C22932338}"/>
          </ac:spMkLst>
        </pc:spChg>
        <pc:spChg chg="del">
          <ac:chgData name="Bullinger, Marvin" userId="5b54ce5a-dc89-476f-af33-5abd75d5b1e8" providerId="ADAL" clId="{265A6489-94A2-4E64-A25F-E64F69B0C2C1}" dt="2024-03-05T21:32:35.183" v="3851" actId="478"/>
          <ac:spMkLst>
            <pc:docMk/>
            <pc:sldMk cId="1413071935" sldId="572"/>
            <ac:spMk id="3" creationId="{BC5CF743-1EA1-DC24-BF19-43FEC791BE24}"/>
          </ac:spMkLst>
        </pc:spChg>
        <pc:spChg chg="add mod">
          <ac:chgData name="Bullinger, Marvin" userId="5b54ce5a-dc89-476f-af33-5abd75d5b1e8" providerId="ADAL" clId="{265A6489-94A2-4E64-A25F-E64F69B0C2C1}" dt="2024-03-11T07:04:23.749" v="5619" actId="1076"/>
          <ac:spMkLst>
            <pc:docMk/>
            <pc:sldMk cId="1413071935" sldId="572"/>
            <ac:spMk id="4" creationId="{08820B7D-5346-03B3-54D1-AC808BE726C4}"/>
          </ac:spMkLst>
        </pc:spChg>
        <pc:spChg chg="add mod">
          <ac:chgData name="Bullinger, Marvin" userId="5b54ce5a-dc89-476f-af33-5abd75d5b1e8" providerId="ADAL" clId="{265A6489-94A2-4E64-A25F-E64F69B0C2C1}" dt="2024-03-11T07:05:17.927" v="5648" actId="1076"/>
          <ac:spMkLst>
            <pc:docMk/>
            <pc:sldMk cId="1413071935" sldId="572"/>
            <ac:spMk id="5" creationId="{3290B952-D9A4-6B92-C2E7-E5A8AD2628F4}"/>
          </ac:spMkLst>
        </pc:spChg>
        <pc:spChg chg="del">
          <ac:chgData name="Bullinger, Marvin" userId="5b54ce5a-dc89-476f-af33-5abd75d5b1e8" providerId="ADAL" clId="{265A6489-94A2-4E64-A25F-E64F69B0C2C1}" dt="2024-03-05T21:32:29.571" v="3848" actId="478"/>
          <ac:spMkLst>
            <pc:docMk/>
            <pc:sldMk cId="1413071935" sldId="572"/>
            <ac:spMk id="5" creationId="{8BE65F73-A806-9D0B-CDFE-661DF38F3D3D}"/>
          </ac:spMkLst>
        </pc:spChg>
        <pc:spChg chg="add del mod">
          <ac:chgData name="Bullinger, Marvin" userId="5b54ce5a-dc89-476f-af33-5abd75d5b1e8" providerId="ADAL" clId="{265A6489-94A2-4E64-A25F-E64F69B0C2C1}" dt="2024-03-05T21:32:31.591" v="3849" actId="478"/>
          <ac:spMkLst>
            <pc:docMk/>
            <pc:sldMk cId="1413071935" sldId="572"/>
            <ac:spMk id="8" creationId="{338EB17E-3D72-5C35-EE7C-26DC9D419A69}"/>
          </ac:spMkLst>
        </pc:spChg>
        <pc:spChg chg="add mod">
          <ac:chgData name="Bullinger, Marvin" userId="5b54ce5a-dc89-476f-af33-5abd75d5b1e8" providerId="ADAL" clId="{265A6489-94A2-4E64-A25F-E64F69B0C2C1}" dt="2024-03-11T07:05:39.528" v="5650" actId="1076"/>
          <ac:spMkLst>
            <pc:docMk/>
            <pc:sldMk cId="1413071935" sldId="572"/>
            <ac:spMk id="8" creationId="{A5BAA52E-9153-536E-2B62-B122E309A38D}"/>
          </ac:spMkLst>
        </pc:spChg>
        <pc:spChg chg="add mod">
          <ac:chgData name="Bullinger, Marvin" userId="5b54ce5a-dc89-476f-af33-5abd75d5b1e8" providerId="ADAL" clId="{265A6489-94A2-4E64-A25F-E64F69B0C2C1}" dt="2024-03-11T07:06:02.797" v="5682" actId="1076"/>
          <ac:spMkLst>
            <pc:docMk/>
            <pc:sldMk cId="1413071935" sldId="572"/>
            <ac:spMk id="9" creationId="{41FBEDB5-8114-4FDC-9551-6C651FC922CA}"/>
          </ac:spMkLst>
        </pc:spChg>
        <pc:spChg chg="add del mod">
          <ac:chgData name="Bullinger, Marvin" userId="5b54ce5a-dc89-476f-af33-5abd75d5b1e8" providerId="ADAL" clId="{265A6489-94A2-4E64-A25F-E64F69B0C2C1}" dt="2024-03-05T22:01:46.414" v="3857" actId="478"/>
          <ac:spMkLst>
            <pc:docMk/>
            <pc:sldMk cId="1413071935" sldId="572"/>
            <ac:spMk id="10" creationId="{908624DD-F4CF-1235-ABF8-7140B671D9C5}"/>
          </ac:spMkLst>
        </pc:spChg>
        <pc:spChg chg="add mod">
          <ac:chgData name="Bullinger, Marvin" userId="5b54ce5a-dc89-476f-af33-5abd75d5b1e8" providerId="ADAL" clId="{265A6489-94A2-4E64-A25F-E64F69B0C2C1}" dt="2024-03-05T22:01:44.054" v="3856"/>
          <ac:spMkLst>
            <pc:docMk/>
            <pc:sldMk cId="1413071935" sldId="572"/>
            <ac:spMk id="11" creationId="{FD8D12A8-A313-A425-7055-A6F495E4DE87}"/>
          </ac:spMkLst>
        </pc:spChg>
        <pc:spChg chg="add mod">
          <ac:chgData name="Bullinger, Marvin" userId="5b54ce5a-dc89-476f-af33-5abd75d5b1e8" providerId="ADAL" clId="{265A6489-94A2-4E64-A25F-E64F69B0C2C1}" dt="2024-03-05T22:01:42.204" v="3855"/>
          <ac:spMkLst>
            <pc:docMk/>
            <pc:sldMk cId="1413071935" sldId="572"/>
            <ac:spMk id="12" creationId="{9BC824C6-1450-3CC2-BBC2-9CEA6F33500E}"/>
          </ac:spMkLst>
        </pc:spChg>
        <pc:spChg chg="add mod">
          <ac:chgData name="Bullinger, Marvin" userId="5b54ce5a-dc89-476f-af33-5abd75d5b1e8" providerId="ADAL" clId="{265A6489-94A2-4E64-A25F-E64F69B0C2C1}" dt="2024-03-05T22:01:46.751" v="3858"/>
          <ac:spMkLst>
            <pc:docMk/>
            <pc:sldMk cId="1413071935" sldId="572"/>
            <ac:spMk id="13" creationId="{EB7EF33E-92E2-791B-1FB1-8E87ABEA82B5}"/>
          </ac:spMkLst>
        </pc:spChg>
        <pc:spChg chg="add mod">
          <ac:chgData name="Bullinger, Marvin" userId="5b54ce5a-dc89-476f-af33-5abd75d5b1e8" providerId="ADAL" clId="{265A6489-94A2-4E64-A25F-E64F69B0C2C1}" dt="2024-03-11T07:03:49.267" v="5613" actId="1076"/>
          <ac:spMkLst>
            <pc:docMk/>
            <pc:sldMk cId="1413071935" sldId="572"/>
            <ac:spMk id="14" creationId="{B17EB8EA-F782-5ADE-9962-16F265EBACBB}"/>
          </ac:spMkLst>
        </pc:spChg>
        <pc:spChg chg="add del">
          <ac:chgData name="Bullinger, Marvin" userId="5b54ce5a-dc89-476f-af33-5abd75d5b1e8" providerId="ADAL" clId="{265A6489-94A2-4E64-A25F-E64F69B0C2C1}" dt="2024-03-05T22:06:53.683" v="3860" actId="478"/>
          <ac:spMkLst>
            <pc:docMk/>
            <pc:sldMk cId="1413071935" sldId="572"/>
            <ac:spMk id="15" creationId="{82D681E2-A51C-A553-6F0C-002982E4EE09}"/>
          </ac:spMkLst>
        </pc:spChg>
        <pc:spChg chg="add del">
          <ac:chgData name="Bullinger, Marvin" userId="5b54ce5a-dc89-476f-af33-5abd75d5b1e8" providerId="ADAL" clId="{265A6489-94A2-4E64-A25F-E64F69B0C2C1}" dt="2024-03-05T22:07:03.144" v="3862" actId="22"/>
          <ac:spMkLst>
            <pc:docMk/>
            <pc:sldMk cId="1413071935" sldId="572"/>
            <ac:spMk id="18" creationId="{AFAAB062-66FE-7EB4-0C90-5DF96462C6B5}"/>
          </ac:spMkLst>
        </pc:spChg>
        <pc:spChg chg="add mod">
          <ac:chgData name="Bullinger, Marvin" userId="5b54ce5a-dc89-476f-af33-5abd75d5b1e8" providerId="ADAL" clId="{265A6489-94A2-4E64-A25F-E64F69B0C2C1}" dt="2024-03-11T07:04:15.475" v="5617" actId="1076"/>
          <ac:spMkLst>
            <pc:docMk/>
            <pc:sldMk cId="1413071935" sldId="572"/>
            <ac:spMk id="19" creationId="{1E130D26-E980-58A3-7251-CE756E2013F4}"/>
          </ac:spMkLst>
        </pc:spChg>
        <pc:spChg chg="add mod">
          <ac:chgData name="Bullinger, Marvin" userId="5b54ce5a-dc89-476f-af33-5abd75d5b1e8" providerId="ADAL" clId="{265A6489-94A2-4E64-A25F-E64F69B0C2C1}" dt="2024-03-11T07:03:57.869" v="5614" actId="1076"/>
          <ac:spMkLst>
            <pc:docMk/>
            <pc:sldMk cId="1413071935" sldId="572"/>
            <ac:spMk id="20" creationId="{7BEB012E-DC6E-C87E-5D93-DDAD72C5CC42}"/>
          </ac:spMkLst>
        </pc:spChg>
        <pc:spChg chg="add mod">
          <ac:chgData name="Bullinger, Marvin" userId="5b54ce5a-dc89-476f-af33-5abd75d5b1e8" providerId="ADAL" clId="{265A6489-94A2-4E64-A25F-E64F69B0C2C1}" dt="2024-03-11T07:03:57.869" v="5614" actId="1076"/>
          <ac:spMkLst>
            <pc:docMk/>
            <pc:sldMk cId="1413071935" sldId="572"/>
            <ac:spMk id="21" creationId="{3078040B-447E-8F53-9638-D5A3C4056B07}"/>
          </ac:spMkLst>
        </pc:spChg>
        <pc:spChg chg="del">
          <ac:chgData name="Bullinger, Marvin" userId="5b54ce5a-dc89-476f-af33-5abd75d5b1e8" providerId="ADAL" clId="{265A6489-94A2-4E64-A25F-E64F69B0C2C1}" dt="2024-03-05T22:01:41.806" v="3854" actId="478"/>
          <ac:spMkLst>
            <pc:docMk/>
            <pc:sldMk cId="1413071935" sldId="572"/>
            <ac:spMk id="22" creationId="{B47F6C20-BF60-96BD-559E-14ED42FD1AA1}"/>
          </ac:spMkLst>
        </pc:spChg>
        <pc:spChg chg="add mod">
          <ac:chgData name="Bullinger, Marvin" userId="5b54ce5a-dc89-476f-af33-5abd75d5b1e8" providerId="ADAL" clId="{265A6489-94A2-4E64-A25F-E64F69B0C2C1}" dt="2024-03-11T07:03:57.869" v="5614" actId="1076"/>
          <ac:spMkLst>
            <pc:docMk/>
            <pc:sldMk cId="1413071935" sldId="572"/>
            <ac:spMk id="23" creationId="{4A3CBEAE-6DDE-E0A1-046E-EA273BCFCFF4}"/>
          </ac:spMkLst>
        </pc:spChg>
        <pc:spChg chg="add mod">
          <ac:chgData name="Bullinger, Marvin" userId="5b54ce5a-dc89-476f-af33-5abd75d5b1e8" providerId="ADAL" clId="{265A6489-94A2-4E64-A25F-E64F69B0C2C1}" dt="2024-03-11T07:03:57.869" v="5614" actId="1076"/>
          <ac:spMkLst>
            <pc:docMk/>
            <pc:sldMk cId="1413071935" sldId="572"/>
            <ac:spMk id="24" creationId="{3A8FBFFF-6D68-F6EC-7B74-66F5C3263FEF}"/>
          </ac:spMkLst>
        </pc:spChg>
        <pc:spChg chg="add mod">
          <ac:chgData name="Bullinger, Marvin" userId="5b54ce5a-dc89-476f-af33-5abd75d5b1e8" providerId="ADAL" clId="{265A6489-94A2-4E64-A25F-E64F69B0C2C1}" dt="2024-03-11T07:03:57.869" v="5614" actId="1076"/>
          <ac:spMkLst>
            <pc:docMk/>
            <pc:sldMk cId="1413071935" sldId="572"/>
            <ac:spMk id="25" creationId="{36E03B1C-5DA4-29A7-F053-4B696046AA10}"/>
          </ac:spMkLst>
        </pc:spChg>
        <pc:spChg chg="add del mod">
          <ac:chgData name="Bullinger, Marvin" userId="5b54ce5a-dc89-476f-af33-5abd75d5b1e8" providerId="ADAL" clId="{265A6489-94A2-4E64-A25F-E64F69B0C2C1}" dt="2024-03-11T07:01:39.455" v="5571" actId="478"/>
          <ac:spMkLst>
            <pc:docMk/>
            <pc:sldMk cId="1413071935" sldId="572"/>
            <ac:spMk id="26" creationId="{8F730AEF-9381-0BFE-AC8E-5F34BCD4CDBF}"/>
          </ac:spMkLst>
        </pc:spChg>
        <pc:spChg chg="add del mod">
          <ac:chgData name="Bullinger, Marvin" userId="5b54ce5a-dc89-476f-af33-5abd75d5b1e8" providerId="ADAL" clId="{265A6489-94A2-4E64-A25F-E64F69B0C2C1}" dt="2024-03-11T07:01:47.482" v="5574" actId="478"/>
          <ac:spMkLst>
            <pc:docMk/>
            <pc:sldMk cId="1413071935" sldId="572"/>
            <ac:spMk id="27" creationId="{C879C83B-7CA8-C9FA-44CF-DEBAF06AC96E}"/>
          </ac:spMkLst>
        </pc:spChg>
        <pc:picChg chg="del">
          <ac:chgData name="Bullinger, Marvin" userId="5b54ce5a-dc89-476f-af33-5abd75d5b1e8" providerId="ADAL" clId="{265A6489-94A2-4E64-A25F-E64F69B0C2C1}" dt="2024-03-05T21:32:32.955" v="3850" actId="478"/>
          <ac:picMkLst>
            <pc:docMk/>
            <pc:sldMk cId="1413071935" sldId="572"/>
            <ac:picMk id="17" creationId="{8FD04379-F1A0-1BD8-90E2-41442D0DA3BE}"/>
          </ac:picMkLst>
        </pc:picChg>
      </pc:sldChg>
      <pc:sldChg chg="addSp delSp modSp mod">
        <pc:chgData name="Bullinger, Marvin" userId="5b54ce5a-dc89-476f-af33-5abd75d5b1e8" providerId="ADAL" clId="{265A6489-94A2-4E64-A25F-E64F69B0C2C1}" dt="2024-03-06T13:51:24.224" v="5103" actId="20577"/>
        <pc:sldMkLst>
          <pc:docMk/>
          <pc:sldMk cId="326362598" sldId="579"/>
        </pc:sldMkLst>
        <pc:spChg chg="del">
          <ac:chgData name="Bullinger, Marvin" userId="5b54ce5a-dc89-476f-af33-5abd75d5b1e8" providerId="ADAL" clId="{265A6489-94A2-4E64-A25F-E64F69B0C2C1}" dt="2024-03-05T20:07:14.407" v="193" actId="478"/>
          <ac:spMkLst>
            <pc:docMk/>
            <pc:sldMk cId="326362598" sldId="579"/>
            <ac:spMk id="640" creationId="{3D058A24-F62F-D222-53A3-1A46EA0EC3FE}"/>
          </ac:spMkLst>
        </pc:spChg>
        <pc:spChg chg="del">
          <ac:chgData name="Bullinger, Marvin" userId="5b54ce5a-dc89-476f-af33-5abd75d5b1e8" providerId="ADAL" clId="{265A6489-94A2-4E64-A25F-E64F69B0C2C1}" dt="2024-03-05T20:17:17.817" v="704" actId="478"/>
          <ac:spMkLst>
            <pc:docMk/>
            <pc:sldMk cId="326362598" sldId="579"/>
            <ac:spMk id="640" creationId="{C78E87C7-4DE1-38F4-820C-933747A54998}"/>
          </ac:spMkLst>
        </pc:spChg>
        <pc:spChg chg="del">
          <ac:chgData name="Bullinger, Marvin" userId="5b54ce5a-dc89-476f-af33-5abd75d5b1e8" providerId="ADAL" clId="{265A6489-94A2-4E64-A25F-E64F69B0C2C1}" dt="2024-03-05T20:07:14.407" v="192" actId="478"/>
          <ac:spMkLst>
            <pc:docMk/>
            <pc:sldMk cId="326362598" sldId="579"/>
            <ac:spMk id="641" creationId="{057DF4D0-E13D-47D3-7E36-490C3904888C}"/>
          </ac:spMkLst>
        </pc:spChg>
        <pc:spChg chg="del">
          <ac:chgData name="Bullinger, Marvin" userId="5b54ce5a-dc89-476f-af33-5abd75d5b1e8" providerId="ADAL" clId="{265A6489-94A2-4E64-A25F-E64F69B0C2C1}" dt="2024-03-05T20:17:17.814" v="697" actId="478"/>
          <ac:spMkLst>
            <pc:docMk/>
            <pc:sldMk cId="326362598" sldId="579"/>
            <ac:spMk id="641" creationId="{716233D9-1C81-6594-0857-7BB960DCC80D}"/>
          </ac:spMkLst>
        </pc:spChg>
        <pc:spChg chg="del">
          <ac:chgData name="Bullinger, Marvin" userId="5b54ce5a-dc89-476f-af33-5abd75d5b1e8" providerId="ADAL" clId="{265A6489-94A2-4E64-A25F-E64F69B0C2C1}" dt="2024-03-05T20:17:17.817" v="705" actId="478"/>
          <ac:spMkLst>
            <pc:docMk/>
            <pc:sldMk cId="326362598" sldId="579"/>
            <ac:spMk id="642" creationId="{BEC564C5-CED7-EB37-91BD-A9D1A17B6AD7}"/>
          </ac:spMkLst>
        </pc:spChg>
        <pc:spChg chg="del">
          <ac:chgData name="Bullinger, Marvin" userId="5b54ce5a-dc89-476f-af33-5abd75d5b1e8" providerId="ADAL" clId="{265A6489-94A2-4E64-A25F-E64F69B0C2C1}" dt="2024-03-05T20:07:14.406" v="191" actId="478"/>
          <ac:spMkLst>
            <pc:docMk/>
            <pc:sldMk cId="326362598" sldId="579"/>
            <ac:spMk id="642" creationId="{F4B693C0-A9FD-AB4B-8C75-280C1D860FDF}"/>
          </ac:spMkLst>
        </pc:spChg>
        <pc:spChg chg="del">
          <ac:chgData name="Bullinger, Marvin" userId="5b54ce5a-dc89-476f-af33-5abd75d5b1e8" providerId="ADAL" clId="{265A6489-94A2-4E64-A25F-E64F69B0C2C1}" dt="2024-03-05T20:17:17.813" v="696" actId="478"/>
          <ac:spMkLst>
            <pc:docMk/>
            <pc:sldMk cId="326362598" sldId="579"/>
            <ac:spMk id="643" creationId="{43DDA8E9-7FCB-DAA1-BF57-DEA15C0DDCBE}"/>
          </ac:spMkLst>
        </pc:spChg>
        <pc:spChg chg="del">
          <ac:chgData name="Bullinger, Marvin" userId="5b54ce5a-dc89-476f-af33-5abd75d5b1e8" providerId="ADAL" clId="{265A6489-94A2-4E64-A25F-E64F69B0C2C1}" dt="2024-03-05T20:07:14.406" v="190" actId="478"/>
          <ac:spMkLst>
            <pc:docMk/>
            <pc:sldMk cId="326362598" sldId="579"/>
            <ac:spMk id="643" creationId="{A641C5F7-D96A-6069-6F77-7A74342CDEB8}"/>
          </ac:spMkLst>
        </pc:spChg>
        <pc:spChg chg="replST">
          <ac:chgData name="Bullinger, Marvin" userId="5b54ce5a-dc89-476f-af33-5abd75d5b1e8" providerId="ADAL" clId="{265A6489-94A2-4E64-A25F-E64F69B0C2C1}" dt="2024-03-05T20:07:14.593" v="403"/>
          <ac:spMkLst>
            <pc:docMk/>
            <pc:sldMk cId="326362598" sldId="579"/>
            <ac:spMk id="644" creationId="{E6043C10-2D0D-6AFA-ECAB-2D4BBAAFDA2D}"/>
          </ac:spMkLst>
        </pc:spChg>
        <pc:spChg chg="replST">
          <ac:chgData name="Bullinger, Marvin" userId="5b54ce5a-dc89-476f-af33-5abd75d5b1e8" providerId="ADAL" clId="{265A6489-94A2-4E64-A25F-E64F69B0C2C1}" dt="2024-03-05T20:07:14.596" v="406"/>
          <ac:spMkLst>
            <pc:docMk/>
            <pc:sldMk cId="326362598" sldId="579"/>
            <ac:spMk id="645" creationId="{B108ED11-998E-83BF-A40D-59D25FF70E6B}"/>
          </ac:spMkLst>
        </pc:spChg>
        <pc:spChg chg="del ord replST">
          <ac:chgData name="Bullinger, Marvin" userId="5b54ce5a-dc89-476f-af33-5abd75d5b1e8" providerId="ADAL" clId="{265A6489-94A2-4E64-A25F-E64F69B0C2C1}" dt="2024-03-05T20:17:17.797" v="678" actId="478"/>
          <ac:spMkLst>
            <pc:docMk/>
            <pc:sldMk cId="326362598" sldId="579"/>
            <ac:spMk id="647" creationId="{A71B8042-E7E5-700F-1B3C-10DD4B6CB96D}"/>
          </ac:spMkLst>
        </pc:spChg>
        <pc:spChg chg="replST">
          <ac:chgData name="Bullinger, Marvin" userId="5b54ce5a-dc89-476f-af33-5abd75d5b1e8" providerId="ADAL" clId="{265A6489-94A2-4E64-A25F-E64F69B0C2C1}" dt="2024-03-05T20:07:14.608" v="410"/>
          <ac:spMkLst>
            <pc:docMk/>
            <pc:sldMk cId="326362598" sldId="579"/>
            <ac:spMk id="648" creationId="{A40ADFFC-CBA2-2033-BC71-9CE39F0199B5}"/>
          </ac:spMkLst>
        </pc:spChg>
        <pc:spChg chg="replST">
          <ac:chgData name="Bullinger, Marvin" userId="5b54ce5a-dc89-476f-af33-5abd75d5b1e8" providerId="ADAL" clId="{265A6489-94A2-4E64-A25F-E64F69B0C2C1}" dt="2024-03-05T20:07:14.612" v="413"/>
          <ac:spMkLst>
            <pc:docMk/>
            <pc:sldMk cId="326362598" sldId="579"/>
            <ac:spMk id="649" creationId="{ABD09382-EF07-F3B8-E4A5-7552EF800356}"/>
          </ac:spMkLst>
        </pc:spChg>
        <pc:spChg chg="replST">
          <ac:chgData name="Bullinger, Marvin" userId="5b54ce5a-dc89-476f-af33-5abd75d5b1e8" providerId="ADAL" clId="{265A6489-94A2-4E64-A25F-E64F69B0C2C1}" dt="2024-03-05T20:07:14.616" v="417"/>
          <ac:spMkLst>
            <pc:docMk/>
            <pc:sldMk cId="326362598" sldId="579"/>
            <ac:spMk id="651" creationId="{54B5E449-8BF4-A6CD-1E0B-5B97EF235160}"/>
          </ac:spMkLst>
        </pc:spChg>
        <pc:spChg chg="replST">
          <ac:chgData name="Bullinger, Marvin" userId="5b54ce5a-dc89-476f-af33-5abd75d5b1e8" providerId="ADAL" clId="{265A6489-94A2-4E64-A25F-E64F69B0C2C1}" dt="2024-03-05T20:07:14.619" v="420"/>
          <ac:spMkLst>
            <pc:docMk/>
            <pc:sldMk cId="326362598" sldId="579"/>
            <ac:spMk id="652" creationId="{E78EDC3E-05BB-559E-EA3A-438B900648D7}"/>
          </ac:spMkLst>
        </pc:spChg>
        <pc:spChg chg="replST">
          <ac:chgData name="Bullinger, Marvin" userId="5b54ce5a-dc89-476f-af33-5abd75d5b1e8" providerId="ADAL" clId="{265A6489-94A2-4E64-A25F-E64F69B0C2C1}" dt="2024-03-05T20:07:14.623" v="424"/>
          <ac:spMkLst>
            <pc:docMk/>
            <pc:sldMk cId="326362598" sldId="579"/>
            <ac:spMk id="654" creationId="{AED27BCE-AAE3-9274-E641-004930CB9DEE}"/>
          </ac:spMkLst>
        </pc:spChg>
        <pc:spChg chg="replST">
          <ac:chgData name="Bullinger, Marvin" userId="5b54ce5a-dc89-476f-af33-5abd75d5b1e8" providerId="ADAL" clId="{265A6489-94A2-4E64-A25F-E64F69B0C2C1}" dt="2024-03-05T20:07:14.627" v="427"/>
          <ac:spMkLst>
            <pc:docMk/>
            <pc:sldMk cId="326362598" sldId="579"/>
            <ac:spMk id="655" creationId="{8E22A2EB-F70D-33A8-FFE5-F813004174B6}"/>
          </ac:spMkLst>
        </pc:spChg>
        <pc:spChg chg="del">
          <ac:chgData name="Bullinger, Marvin" userId="5b54ce5a-dc89-476f-af33-5abd75d5b1e8" providerId="ADAL" clId="{265A6489-94A2-4E64-A25F-E64F69B0C2C1}" dt="2024-03-05T20:17:17.813" v="695" actId="478"/>
          <ac:spMkLst>
            <pc:docMk/>
            <pc:sldMk cId="326362598" sldId="579"/>
            <ac:spMk id="658" creationId="{13DA63CC-1829-FB49-16E2-8CC48CC9CAC4}"/>
          </ac:spMkLst>
        </pc:spChg>
        <pc:spChg chg="del">
          <ac:chgData name="Bullinger, Marvin" userId="5b54ce5a-dc89-476f-af33-5abd75d5b1e8" providerId="ADAL" clId="{265A6489-94A2-4E64-A25F-E64F69B0C2C1}" dt="2024-03-05T20:17:17.812" v="694" actId="478"/>
          <ac:spMkLst>
            <pc:docMk/>
            <pc:sldMk cId="326362598" sldId="579"/>
            <ac:spMk id="659" creationId="{DA9183BA-E442-50CA-BC43-39A57AA04B65}"/>
          </ac:spMkLst>
        </pc:spChg>
        <pc:spChg chg="del">
          <ac:chgData name="Bullinger, Marvin" userId="5b54ce5a-dc89-476f-af33-5abd75d5b1e8" providerId="ADAL" clId="{265A6489-94A2-4E64-A25F-E64F69B0C2C1}" dt="2024-03-05T20:17:17.812" v="693" actId="478"/>
          <ac:spMkLst>
            <pc:docMk/>
            <pc:sldMk cId="326362598" sldId="579"/>
            <ac:spMk id="660" creationId="{B7F964F5-7290-6661-98B6-EED4716325E3}"/>
          </ac:spMkLst>
        </pc:spChg>
        <pc:spChg chg="del">
          <ac:chgData name="Bullinger, Marvin" userId="5b54ce5a-dc89-476f-af33-5abd75d5b1e8" providerId="ADAL" clId="{265A6489-94A2-4E64-A25F-E64F69B0C2C1}" dt="2024-03-05T20:17:17.812" v="692" actId="478"/>
          <ac:spMkLst>
            <pc:docMk/>
            <pc:sldMk cId="326362598" sldId="579"/>
            <ac:spMk id="661" creationId="{94D5645A-B0DA-5730-8C78-833D2AFCD172}"/>
          </ac:spMkLst>
        </pc:spChg>
        <pc:spChg chg="del">
          <ac:chgData name="Bullinger, Marvin" userId="5b54ce5a-dc89-476f-af33-5abd75d5b1e8" providerId="ADAL" clId="{265A6489-94A2-4E64-A25F-E64F69B0C2C1}" dt="2024-03-05T20:17:17.811" v="691" actId="478"/>
          <ac:spMkLst>
            <pc:docMk/>
            <pc:sldMk cId="326362598" sldId="579"/>
            <ac:spMk id="662" creationId="{D5AEDF69-E6CD-797B-D592-B27A2061B94C}"/>
          </ac:spMkLst>
        </pc:spChg>
        <pc:spChg chg="del">
          <ac:chgData name="Bullinger, Marvin" userId="5b54ce5a-dc89-476f-af33-5abd75d5b1e8" providerId="ADAL" clId="{265A6489-94A2-4E64-A25F-E64F69B0C2C1}" dt="2024-03-05T20:17:17.811" v="690" actId="478"/>
          <ac:spMkLst>
            <pc:docMk/>
            <pc:sldMk cId="326362598" sldId="579"/>
            <ac:spMk id="663" creationId="{DB9685D6-1112-2615-2E37-CB7649B32F99}"/>
          </ac:spMkLst>
        </pc:spChg>
        <pc:spChg chg="del">
          <ac:chgData name="Bullinger, Marvin" userId="5b54ce5a-dc89-476f-af33-5abd75d5b1e8" providerId="ADAL" clId="{265A6489-94A2-4E64-A25F-E64F69B0C2C1}" dt="2024-03-05T20:17:17.811" v="689" actId="478"/>
          <ac:spMkLst>
            <pc:docMk/>
            <pc:sldMk cId="326362598" sldId="579"/>
            <ac:spMk id="664" creationId="{01042551-91B9-3E45-290D-1028BBAFBCB0}"/>
          </ac:spMkLst>
        </pc:spChg>
        <pc:spChg chg="del">
          <ac:chgData name="Bullinger, Marvin" userId="5b54ce5a-dc89-476f-af33-5abd75d5b1e8" providerId="ADAL" clId="{265A6489-94A2-4E64-A25F-E64F69B0C2C1}" dt="2024-03-05T20:17:17.810" v="688" actId="478"/>
          <ac:spMkLst>
            <pc:docMk/>
            <pc:sldMk cId="326362598" sldId="579"/>
            <ac:spMk id="665" creationId="{C76F54E7-F898-461A-B865-989033E58154}"/>
          </ac:spMkLst>
        </pc:spChg>
        <pc:spChg chg="del">
          <ac:chgData name="Bullinger, Marvin" userId="5b54ce5a-dc89-476f-af33-5abd75d5b1e8" providerId="ADAL" clId="{265A6489-94A2-4E64-A25F-E64F69B0C2C1}" dt="2024-03-05T20:17:17.810" v="687" actId="478"/>
          <ac:spMkLst>
            <pc:docMk/>
            <pc:sldMk cId="326362598" sldId="579"/>
            <ac:spMk id="666" creationId="{A17BF81B-B7B5-AA4F-9919-930439F7CF39}"/>
          </ac:spMkLst>
        </pc:spChg>
        <pc:spChg chg="del">
          <ac:chgData name="Bullinger, Marvin" userId="5b54ce5a-dc89-476f-af33-5abd75d5b1e8" providerId="ADAL" clId="{265A6489-94A2-4E64-A25F-E64F69B0C2C1}" dt="2024-03-05T20:17:17.810" v="686" actId="478"/>
          <ac:spMkLst>
            <pc:docMk/>
            <pc:sldMk cId="326362598" sldId="579"/>
            <ac:spMk id="667" creationId="{C8FF2200-AF23-7441-AB22-B0AA5812B8FD}"/>
          </ac:spMkLst>
        </pc:spChg>
        <pc:spChg chg="del">
          <ac:chgData name="Bullinger, Marvin" userId="5b54ce5a-dc89-476f-af33-5abd75d5b1e8" providerId="ADAL" clId="{265A6489-94A2-4E64-A25F-E64F69B0C2C1}" dt="2024-03-05T20:17:17.809" v="685" actId="478"/>
          <ac:spMkLst>
            <pc:docMk/>
            <pc:sldMk cId="326362598" sldId="579"/>
            <ac:spMk id="668" creationId="{9E962FB3-BEAF-B1B5-503C-DD2972976689}"/>
          </ac:spMkLst>
        </pc:spChg>
        <pc:spChg chg="del">
          <ac:chgData name="Bullinger, Marvin" userId="5b54ce5a-dc89-476f-af33-5abd75d5b1e8" providerId="ADAL" clId="{265A6489-94A2-4E64-A25F-E64F69B0C2C1}" dt="2024-03-05T20:17:17.809" v="684" actId="478"/>
          <ac:spMkLst>
            <pc:docMk/>
            <pc:sldMk cId="326362598" sldId="579"/>
            <ac:spMk id="669" creationId="{0E2CD1D8-7EAA-7C52-AF22-0249070AC4A8}"/>
          </ac:spMkLst>
        </pc:spChg>
        <pc:spChg chg="del">
          <ac:chgData name="Bullinger, Marvin" userId="5b54ce5a-dc89-476f-af33-5abd75d5b1e8" providerId="ADAL" clId="{265A6489-94A2-4E64-A25F-E64F69B0C2C1}" dt="2024-03-05T20:17:17.809" v="683" actId="478"/>
          <ac:spMkLst>
            <pc:docMk/>
            <pc:sldMk cId="326362598" sldId="579"/>
            <ac:spMk id="670" creationId="{E7258B4E-55B0-CA95-273B-6B15B07516DC}"/>
          </ac:spMkLst>
        </pc:spChg>
        <pc:spChg chg="replST">
          <ac:chgData name="Bullinger, Marvin" userId="5b54ce5a-dc89-476f-af33-5abd75d5b1e8" providerId="ADAL" clId="{265A6489-94A2-4E64-A25F-E64F69B0C2C1}" dt="2024-03-05T20:17:18.012" v="935"/>
          <ac:spMkLst>
            <pc:docMk/>
            <pc:sldMk cId="326362598" sldId="579"/>
            <ac:spMk id="671" creationId="{1235BD28-F34D-7A97-7506-D8432E9DA57A}"/>
          </ac:spMkLst>
        </pc:spChg>
        <pc:spChg chg="add mod">
          <ac:chgData name="Bullinger, Marvin" userId="5b54ce5a-dc89-476f-af33-5abd75d5b1e8" providerId="ADAL" clId="{265A6489-94A2-4E64-A25F-E64F69B0C2C1}" dt="2024-03-05T20:07:14.393" v="182" actId="478"/>
          <ac:spMkLst>
            <pc:docMk/>
            <pc:sldMk cId="326362598" sldId="579"/>
            <ac:spMk id="681" creationId="{1B9F110D-02D2-A3C2-3792-E32F81E68401}"/>
          </ac:spMkLst>
        </pc:spChg>
        <pc:spChg chg="add mod">
          <ac:chgData name="Bullinger, Marvin" userId="5b54ce5a-dc89-476f-af33-5abd75d5b1e8" providerId="ADAL" clId="{265A6489-94A2-4E64-A25F-E64F69B0C2C1}" dt="2024-03-05T20:17:17.796" v="677" actId="478"/>
          <ac:spMkLst>
            <pc:docMk/>
            <pc:sldMk cId="326362598" sldId="579"/>
            <ac:spMk id="681" creationId="{9EDA8456-81CA-E4F6-1863-B28AF3F4E1D5}"/>
          </ac:spMkLst>
        </pc:spChg>
        <pc:spChg chg="del mod ord replST">
          <ac:chgData name="Bullinger, Marvin" userId="5b54ce5a-dc89-476f-af33-5abd75d5b1e8" providerId="ADAL" clId="{265A6489-94A2-4E64-A25F-E64F69B0C2C1}" dt="2024-03-05T20:17:17.796" v="677" actId="478"/>
          <ac:spMkLst>
            <pc:docMk/>
            <pc:sldMk cId="326362598" sldId="579"/>
            <ac:spMk id="682" creationId="{128B5D55-7BB4-ED8F-1BAF-9E25DD1F7C3D}"/>
          </ac:spMkLst>
        </pc:spChg>
        <pc:spChg chg="del">
          <ac:chgData name="Bullinger, Marvin" userId="5b54ce5a-dc89-476f-af33-5abd75d5b1e8" providerId="ADAL" clId="{265A6489-94A2-4E64-A25F-E64F69B0C2C1}" dt="2024-03-05T20:07:14.393" v="182" actId="478"/>
          <ac:spMkLst>
            <pc:docMk/>
            <pc:sldMk cId="326362598" sldId="579"/>
            <ac:spMk id="683" creationId="{4946EDB7-32AA-34BC-A6E5-D017BF28F935}"/>
          </ac:spMkLst>
        </pc:spChg>
        <pc:spChg chg="del mod ord replST">
          <ac:chgData name="Bullinger, Marvin" userId="5b54ce5a-dc89-476f-af33-5abd75d5b1e8" providerId="ADAL" clId="{265A6489-94A2-4E64-A25F-E64F69B0C2C1}" dt="2024-03-05T22:19:10.050" v="4341" actId="478"/>
          <ac:spMkLst>
            <pc:docMk/>
            <pc:sldMk cId="326362598" sldId="579"/>
            <ac:spMk id="683" creationId="{F77635F7-6309-A3BE-54B3-CCBD0F534794}"/>
          </ac:spMkLst>
        </pc:spChg>
        <pc:spChg chg="del">
          <ac:chgData name="Bullinger, Marvin" userId="5b54ce5a-dc89-476f-af33-5abd75d5b1e8" providerId="ADAL" clId="{265A6489-94A2-4E64-A25F-E64F69B0C2C1}" dt="2024-03-05T20:17:17.819" v="711" actId="478"/>
          <ac:spMkLst>
            <pc:docMk/>
            <pc:sldMk cId="326362598" sldId="579"/>
            <ac:spMk id="684" creationId="{8C6DFBC6-8879-BF96-19AE-ADC6AF12CCE7}"/>
          </ac:spMkLst>
        </pc:spChg>
        <pc:spChg chg="del">
          <ac:chgData name="Bullinger, Marvin" userId="5b54ce5a-dc89-476f-af33-5abd75d5b1e8" providerId="ADAL" clId="{265A6489-94A2-4E64-A25F-E64F69B0C2C1}" dt="2024-03-05T20:07:14.416" v="218" actId="478"/>
          <ac:spMkLst>
            <pc:docMk/>
            <pc:sldMk cId="326362598" sldId="579"/>
            <ac:spMk id="684" creationId="{E94AF098-738C-3069-5606-41221BB750C8}"/>
          </ac:spMkLst>
        </pc:spChg>
        <pc:spChg chg="del">
          <ac:chgData name="Bullinger, Marvin" userId="5b54ce5a-dc89-476f-af33-5abd75d5b1e8" providerId="ADAL" clId="{265A6489-94A2-4E64-A25F-E64F69B0C2C1}" dt="2024-03-05T20:17:17.819" v="710" actId="478"/>
          <ac:spMkLst>
            <pc:docMk/>
            <pc:sldMk cId="326362598" sldId="579"/>
            <ac:spMk id="685" creationId="{6D1BB573-CB17-3459-F8FC-451B53B5F3F5}"/>
          </ac:spMkLst>
        </pc:spChg>
        <pc:spChg chg="del">
          <ac:chgData name="Bullinger, Marvin" userId="5b54ce5a-dc89-476f-af33-5abd75d5b1e8" providerId="ADAL" clId="{265A6489-94A2-4E64-A25F-E64F69B0C2C1}" dt="2024-03-05T20:07:14.416" v="217" actId="478"/>
          <ac:spMkLst>
            <pc:docMk/>
            <pc:sldMk cId="326362598" sldId="579"/>
            <ac:spMk id="685" creationId="{D4D4FCC7-67BE-8E88-6AC1-6AF0ABE8DFFC}"/>
          </ac:spMkLst>
        </pc:spChg>
        <pc:spChg chg="del">
          <ac:chgData name="Bullinger, Marvin" userId="5b54ce5a-dc89-476f-af33-5abd75d5b1e8" providerId="ADAL" clId="{265A6489-94A2-4E64-A25F-E64F69B0C2C1}" dt="2024-03-05T20:17:17.819" v="709" actId="478"/>
          <ac:spMkLst>
            <pc:docMk/>
            <pc:sldMk cId="326362598" sldId="579"/>
            <ac:spMk id="686" creationId="{3275B268-9E07-5C0C-1D60-CC8111C6DC90}"/>
          </ac:spMkLst>
        </pc:spChg>
        <pc:spChg chg="del">
          <ac:chgData name="Bullinger, Marvin" userId="5b54ce5a-dc89-476f-af33-5abd75d5b1e8" providerId="ADAL" clId="{265A6489-94A2-4E64-A25F-E64F69B0C2C1}" dt="2024-03-05T20:07:14.415" v="216" actId="478"/>
          <ac:spMkLst>
            <pc:docMk/>
            <pc:sldMk cId="326362598" sldId="579"/>
            <ac:spMk id="686" creationId="{DC5DF20F-5B9D-8935-A831-C115E3D12452}"/>
          </ac:spMkLst>
        </pc:spChg>
        <pc:spChg chg="del">
          <ac:chgData name="Bullinger, Marvin" userId="5b54ce5a-dc89-476f-af33-5abd75d5b1e8" providerId="ADAL" clId="{265A6489-94A2-4E64-A25F-E64F69B0C2C1}" dt="2024-03-05T20:17:17.818" v="708" actId="478"/>
          <ac:spMkLst>
            <pc:docMk/>
            <pc:sldMk cId="326362598" sldId="579"/>
            <ac:spMk id="687" creationId="{4B428732-C5EF-0E34-05E3-AB5B7209440A}"/>
          </ac:spMkLst>
        </pc:spChg>
        <pc:spChg chg="del">
          <ac:chgData name="Bullinger, Marvin" userId="5b54ce5a-dc89-476f-af33-5abd75d5b1e8" providerId="ADAL" clId="{265A6489-94A2-4E64-A25F-E64F69B0C2C1}" dt="2024-03-05T20:07:14.415" v="215" actId="478"/>
          <ac:spMkLst>
            <pc:docMk/>
            <pc:sldMk cId="326362598" sldId="579"/>
            <ac:spMk id="687" creationId="{CFF0C4CA-C22D-D00D-D23B-E6ECA2D99A24}"/>
          </ac:spMkLst>
        </pc:spChg>
        <pc:spChg chg="del">
          <ac:chgData name="Bullinger, Marvin" userId="5b54ce5a-dc89-476f-af33-5abd75d5b1e8" providerId="ADAL" clId="{265A6489-94A2-4E64-A25F-E64F69B0C2C1}" dt="2024-03-05T20:07:14.414" v="214" actId="478"/>
          <ac:spMkLst>
            <pc:docMk/>
            <pc:sldMk cId="326362598" sldId="579"/>
            <ac:spMk id="688" creationId="{BB541EB4-D478-80CC-6679-B66632A62CAC}"/>
          </ac:spMkLst>
        </pc:spChg>
        <pc:spChg chg="del">
          <ac:chgData name="Bullinger, Marvin" userId="5b54ce5a-dc89-476f-af33-5abd75d5b1e8" providerId="ADAL" clId="{265A6489-94A2-4E64-A25F-E64F69B0C2C1}" dt="2024-03-05T20:17:17.818" v="707" actId="478"/>
          <ac:spMkLst>
            <pc:docMk/>
            <pc:sldMk cId="326362598" sldId="579"/>
            <ac:spMk id="688" creationId="{E6C171A4-DA16-92C1-F9E0-A7FAC6AA1A03}"/>
          </ac:spMkLst>
        </pc:spChg>
        <pc:spChg chg="del">
          <ac:chgData name="Bullinger, Marvin" userId="5b54ce5a-dc89-476f-af33-5abd75d5b1e8" providerId="ADAL" clId="{265A6489-94A2-4E64-A25F-E64F69B0C2C1}" dt="2024-03-05T20:17:17.818" v="706" actId="478"/>
          <ac:spMkLst>
            <pc:docMk/>
            <pc:sldMk cId="326362598" sldId="579"/>
            <ac:spMk id="689" creationId="{6BB466D1-40C9-ED13-779A-B1D1A4C05DDB}"/>
          </ac:spMkLst>
        </pc:spChg>
        <pc:spChg chg="del">
          <ac:chgData name="Bullinger, Marvin" userId="5b54ce5a-dc89-476f-af33-5abd75d5b1e8" providerId="ADAL" clId="{265A6489-94A2-4E64-A25F-E64F69B0C2C1}" dt="2024-03-05T20:07:14.414" v="213" actId="478"/>
          <ac:spMkLst>
            <pc:docMk/>
            <pc:sldMk cId="326362598" sldId="579"/>
            <ac:spMk id="689" creationId="{8518CD3B-34CA-C563-1206-44603F1B1298}"/>
          </ac:spMkLst>
        </pc:spChg>
        <pc:spChg chg="del">
          <ac:chgData name="Bullinger, Marvin" userId="5b54ce5a-dc89-476f-af33-5abd75d5b1e8" providerId="ADAL" clId="{265A6489-94A2-4E64-A25F-E64F69B0C2C1}" dt="2024-03-05T20:07:14.413" v="210" actId="478"/>
          <ac:spMkLst>
            <pc:docMk/>
            <pc:sldMk cId="326362598" sldId="579"/>
            <ac:spMk id="690" creationId="{977ECBD8-56B7-5B8A-0194-B5F8F14C4DC0}"/>
          </ac:spMkLst>
        </pc:spChg>
        <pc:spChg chg="del">
          <ac:chgData name="Bullinger, Marvin" userId="5b54ce5a-dc89-476f-af33-5abd75d5b1e8" providerId="ADAL" clId="{265A6489-94A2-4E64-A25F-E64F69B0C2C1}" dt="2024-03-05T20:17:17.816" v="703" actId="478"/>
          <ac:spMkLst>
            <pc:docMk/>
            <pc:sldMk cId="326362598" sldId="579"/>
            <ac:spMk id="690" creationId="{D388A4C5-DA1D-FAFF-0BC8-C06D895682AD}"/>
          </ac:spMkLst>
        </pc:spChg>
        <pc:spChg chg="del">
          <ac:chgData name="Bullinger, Marvin" userId="5b54ce5a-dc89-476f-af33-5abd75d5b1e8" providerId="ADAL" clId="{265A6489-94A2-4E64-A25F-E64F69B0C2C1}" dt="2024-03-05T20:17:17.816" v="702" actId="478"/>
          <ac:spMkLst>
            <pc:docMk/>
            <pc:sldMk cId="326362598" sldId="579"/>
            <ac:spMk id="691" creationId="{0B76AA8D-C594-2D6E-89E0-554182AB3DE9}"/>
          </ac:spMkLst>
        </pc:spChg>
        <pc:spChg chg="del">
          <ac:chgData name="Bullinger, Marvin" userId="5b54ce5a-dc89-476f-af33-5abd75d5b1e8" providerId="ADAL" clId="{265A6489-94A2-4E64-A25F-E64F69B0C2C1}" dt="2024-03-05T20:07:14.413" v="209" actId="478"/>
          <ac:spMkLst>
            <pc:docMk/>
            <pc:sldMk cId="326362598" sldId="579"/>
            <ac:spMk id="691" creationId="{DA0F19CE-3688-91E1-A672-5684FBB2ECB6}"/>
          </ac:spMkLst>
        </pc:spChg>
        <pc:spChg chg="del">
          <ac:chgData name="Bullinger, Marvin" userId="5b54ce5a-dc89-476f-af33-5abd75d5b1e8" providerId="ADAL" clId="{265A6489-94A2-4E64-A25F-E64F69B0C2C1}" dt="2024-03-05T20:07:14.412" v="208" actId="478"/>
          <ac:spMkLst>
            <pc:docMk/>
            <pc:sldMk cId="326362598" sldId="579"/>
            <ac:spMk id="692" creationId="{6115078A-A805-E136-0DE3-C2B78C5B28AE}"/>
          </ac:spMkLst>
        </pc:spChg>
        <pc:spChg chg="del">
          <ac:chgData name="Bullinger, Marvin" userId="5b54ce5a-dc89-476f-af33-5abd75d5b1e8" providerId="ADAL" clId="{265A6489-94A2-4E64-A25F-E64F69B0C2C1}" dt="2024-03-05T20:17:17.816" v="701" actId="478"/>
          <ac:spMkLst>
            <pc:docMk/>
            <pc:sldMk cId="326362598" sldId="579"/>
            <ac:spMk id="692" creationId="{E7BC798C-4A87-530D-64A5-7B8A5188B38D}"/>
          </ac:spMkLst>
        </pc:spChg>
        <pc:spChg chg="del">
          <ac:chgData name="Bullinger, Marvin" userId="5b54ce5a-dc89-476f-af33-5abd75d5b1e8" providerId="ADAL" clId="{265A6489-94A2-4E64-A25F-E64F69B0C2C1}" dt="2024-03-05T20:17:17.815" v="700" actId="478"/>
          <ac:spMkLst>
            <pc:docMk/>
            <pc:sldMk cId="326362598" sldId="579"/>
            <ac:spMk id="693" creationId="{393B94D7-D16C-0BC8-6E47-AC8FBEA883C0}"/>
          </ac:spMkLst>
        </pc:spChg>
        <pc:spChg chg="del">
          <ac:chgData name="Bullinger, Marvin" userId="5b54ce5a-dc89-476f-af33-5abd75d5b1e8" providerId="ADAL" clId="{265A6489-94A2-4E64-A25F-E64F69B0C2C1}" dt="2024-03-05T20:07:14.412" v="207" actId="478"/>
          <ac:spMkLst>
            <pc:docMk/>
            <pc:sldMk cId="326362598" sldId="579"/>
            <ac:spMk id="693" creationId="{46CC5B60-EEF7-B0DE-D252-19807B69CD2E}"/>
          </ac:spMkLst>
        </pc:spChg>
        <pc:spChg chg="del">
          <ac:chgData name="Bullinger, Marvin" userId="5b54ce5a-dc89-476f-af33-5abd75d5b1e8" providerId="ADAL" clId="{265A6489-94A2-4E64-A25F-E64F69B0C2C1}" dt="2024-03-05T20:17:17.815" v="699" actId="478"/>
          <ac:spMkLst>
            <pc:docMk/>
            <pc:sldMk cId="326362598" sldId="579"/>
            <ac:spMk id="694" creationId="{28334E32-DEA3-1EA8-FDE1-465AF676995B}"/>
          </ac:spMkLst>
        </pc:spChg>
        <pc:spChg chg="del">
          <ac:chgData name="Bullinger, Marvin" userId="5b54ce5a-dc89-476f-af33-5abd75d5b1e8" providerId="ADAL" clId="{265A6489-94A2-4E64-A25F-E64F69B0C2C1}" dt="2024-03-05T20:07:14.412" v="206" actId="478"/>
          <ac:spMkLst>
            <pc:docMk/>
            <pc:sldMk cId="326362598" sldId="579"/>
            <ac:spMk id="694" creationId="{9EAFA846-5586-41EA-AB20-A01F97E63711}"/>
          </ac:spMkLst>
        </pc:spChg>
        <pc:spChg chg="del">
          <ac:chgData name="Bullinger, Marvin" userId="5b54ce5a-dc89-476f-af33-5abd75d5b1e8" providerId="ADAL" clId="{265A6489-94A2-4E64-A25F-E64F69B0C2C1}" dt="2024-03-05T20:07:14.411" v="205" actId="478"/>
          <ac:spMkLst>
            <pc:docMk/>
            <pc:sldMk cId="326362598" sldId="579"/>
            <ac:spMk id="695" creationId="{175C487B-AA1D-5BEC-FD38-5B354307D509}"/>
          </ac:spMkLst>
        </pc:spChg>
        <pc:spChg chg="del">
          <ac:chgData name="Bullinger, Marvin" userId="5b54ce5a-dc89-476f-af33-5abd75d5b1e8" providerId="ADAL" clId="{265A6489-94A2-4E64-A25F-E64F69B0C2C1}" dt="2024-03-05T20:17:17.814" v="698" actId="478"/>
          <ac:spMkLst>
            <pc:docMk/>
            <pc:sldMk cId="326362598" sldId="579"/>
            <ac:spMk id="695" creationId="{E107FB1E-161C-5BC6-EABD-1919B6FD29FF}"/>
          </ac:spMkLst>
        </pc:spChg>
        <pc:spChg chg="del">
          <ac:chgData name="Bullinger, Marvin" userId="5b54ce5a-dc89-476f-af33-5abd75d5b1e8" providerId="ADAL" clId="{265A6489-94A2-4E64-A25F-E64F69B0C2C1}" dt="2024-03-05T20:17:17.822" v="719" actId="478"/>
          <ac:spMkLst>
            <pc:docMk/>
            <pc:sldMk cId="326362598" sldId="579"/>
            <ac:spMk id="696" creationId="{7F7F313B-AF48-945E-6547-27DF1CCC82C5}"/>
          </ac:spMkLst>
        </pc:spChg>
        <pc:spChg chg="del">
          <ac:chgData name="Bullinger, Marvin" userId="5b54ce5a-dc89-476f-af33-5abd75d5b1e8" providerId="ADAL" clId="{265A6489-94A2-4E64-A25F-E64F69B0C2C1}" dt="2024-03-05T20:07:14.419" v="226" actId="478"/>
          <ac:spMkLst>
            <pc:docMk/>
            <pc:sldMk cId="326362598" sldId="579"/>
            <ac:spMk id="696" creationId="{FE45B9D9-E11F-0ED2-78B0-4D332F1AF6B9}"/>
          </ac:spMkLst>
        </pc:spChg>
        <pc:spChg chg="del">
          <ac:chgData name="Bullinger, Marvin" userId="5b54ce5a-dc89-476f-af33-5abd75d5b1e8" providerId="ADAL" clId="{265A6489-94A2-4E64-A25F-E64F69B0C2C1}" dt="2024-03-05T20:07:14.418" v="225" actId="478"/>
          <ac:spMkLst>
            <pc:docMk/>
            <pc:sldMk cId="326362598" sldId="579"/>
            <ac:spMk id="697" creationId="{997783BC-2F1F-F8ED-34BE-9D0FA976E2EE}"/>
          </ac:spMkLst>
        </pc:spChg>
        <pc:spChg chg="del">
          <ac:chgData name="Bullinger, Marvin" userId="5b54ce5a-dc89-476f-af33-5abd75d5b1e8" providerId="ADAL" clId="{265A6489-94A2-4E64-A25F-E64F69B0C2C1}" dt="2024-03-05T20:17:17.822" v="718" actId="478"/>
          <ac:spMkLst>
            <pc:docMk/>
            <pc:sldMk cId="326362598" sldId="579"/>
            <ac:spMk id="697" creationId="{EF275276-A351-2ED8-AF41-56BC7AB4D90E}"/>
          </ac:spMkLst>
        </pc:spChg>
        <pc:spChg chg="del">
          <ac:chgData name="Bullinger, Marvin" userId="5b54ce5a-dc89-476f-af33-5abd75d5b1e8" providerId="ADAL" clId="{265A6489-94A2-4E64-A25F-E64F69B0C2C1}" dt="2024-03-05T20:07:14.418" v="224" actId="478"/>
          <ac:spMkLst>
            <pc:docMk/>
            <pc:sldMk cId="326362598" sldId="579"/>
            <ac:spMk id="698" creationId="{2EB36393-EEAC-244D-FEE6-AAD4F1494608}"/>
          </ac:spMkLst>
        </pc:spChg>
        <pc:spChg chg="del">
          <ac:chgData name="Bullinger, Marvin" userId="5b54ce5a-dc89-476f-af33-5abd75d5b1e8" providerId="ADAL" clId="{265A6489-94A2-4E64-A25F-E64F69B0C2C1}" dt="2024-03-05T20:17:17.821" v="717" actId="478"/>
          <ac:spMkLst>
            <pc:docMk/>
            <pc:sldMk cId="326362598" sldId="579"/>
            <ac:spMk id="698" creationId="{E04AE63F-C699-967E-DBFE-50E30071FC96}"/>
          </ac:spMkLst>
        </pc:spChg>
        <pc:spChg chg="del">
          <ac:chgData name="Bullinger, Marvin" userId="5b54ce5a-dc89-476f-af33-5abd75d5b1e8" providerId="ADAL" clId="{265A6489-94A2-4E64-A25F-E64F69B0C2C1}" dt="2024-03-05T20:17:17.821" v="716" actId="478"/>
          <ac:spMkLst>
            <pc:docMk/>
            <pc:sldMk cId="326362598" sldId="579"/>
            <ac:spMk id="699" creationId="{58FC7DDE-A329-154B-14F9-F16B25571790}"/>
          </ac:spMkLst>
        </pc:spChg>
        <pc:spChg chg="del">
          <ac:chgData name="Bullinger, Marvin" userId="5b54ce5a-dc89-476f-af33-5abd75d5b1e8" providerId="ADAL" clId="{265A6489-94A2-4E64-A25F-E64F69B0C2C1}" dt="2024-03-05T20:07:14.418" v="223" actId="478"/>
          <ac:spMkLst>
            <pc:docMk/>
            <pc:sldMk cId="326362598" sldId="579"/>
            <ac:spMk id="699" creationId="{DD1E2343-2C26-A25F-C682-FEB1CE23BAFE}"/>
          </ac:spMkLst>
        </pc:spChg>
        <pc:spChg chg="del">
          <ac:chgData name="Bullinger, Marvin" userId="5b54ce5a-dc89-476f-af33-5abd75d5b1e8" providerId="ADAL" clId="{265A6489-94A2-4E64-A25F-E64F69B0C2C1}" dt="2024-03-05T20:07:14.417" v="222" actId="478"/>
          <ac:spMkLst>
            <pc:docMk/>
            <pc:sldMk cId="326362598" sldId="579"/>
            <ac:spMk id="700" creationId="{25C30C1F-3E87-1C40-E504-06007396DC01}"/>
          </ac:spMkLst>
        </pc:spChg>
        <pc:spChg chg="del">
          <ac:chgData name="Bullinger, Marvin" userId="5b54ce5a-dc89-476f-af33-5abd75d5b1e8" providerId="ADAL" clId="{265A6489-94A2-4E64-A25F-E64F69B0C2C1}" dt="2024-03-05T20:17:17.821" v="715" actId="478"/>
          <ac:spMkLst>
            <pc:docMk/>
            <pc:sldMk cId="326362598" sldId="579"/>
            <ac:spMk id="700" creationId="{C26C3217-EA7E-F1AB-13A9-2DAF7311AA17}"/>
          </ac:spMkLst>
        </pc:spChg>
        <pc:spChg chg="del">
          <ac:chgData name="Bullinger, Marvin" userId="5b54ce5a-dc89-476f-af33-5abd75d5b1e8" providerId="ADAL" clId="{265A6489-94A2-4E64-A25F-E64F69B0C2C1}" dt="2024-03-05T20:07:14.417" v="221" actId="478"/>
          <ac:spMkLst>
            <pc:docMk/>
            <pc:sldMk cId="326362598" sldId="579"/>
            <ac:spMk id="701" creationId="{7822A8AE-5BC1-2B73-8BDA-F29D80FBFEBE}"/>
          </ac:spMkLst>
        </pc:spChg>
        <pc:spChg chg="del">
          <ac:chgData name="Bullinger, Marvin" userId="5b54ce5a-dc89-476f-af33-5abd75d5b1e8" providerId="ADAL" clId="{265A6489-94A2-4E64-A25F-E64F69B0C2C1}" dt="2024-03-05T20:17:17.820" v="714" actId="478"/>
          <ac:spMkLst>
            <pc:docMk/>
            <pc:sldMk cId="326362598" sldId="579"/>
            <ac:spMk id="701" creationId="{B79950B9-EE4F-8F96-297E-161CEB1779B6}"/>
          </ac:spMkLst>
        </pc:spChg>
        <pc:spChg chg="del">
          <ac:chgData name="Bullinger, Marvin" userId="5b54ce5a-dc89-476f-af33-5abd75d5b1e8" providerId="ADAL" clId="{265A6489-94A2-4E64-A25F-E64F69B0C2C1}" dt="2024-03-05T20:17:17.820" v="713" actId="478"/>
          <ac:spMkLst>
            <pc:docMk/>
            <pc:sldMk cId="326362598" sldId="579"/>
            <ac:spMk id="702" creationId="{26FE802D-A3D2-9333-56B1-4E8651649261}"/>
          </ac:spMkLst>
        </pc:spChg>
        <pc:spChg chg="del">
          <ac:chgData name="Bullinger, Marvin" userId="5b54ce5a-dc89-476f-af33-5abd75d5b1e8" providerId="ADAL" clId="{265A6489-94A2-4E64-A25F-E64F69B0C2C1}" dt="2024-03-05T20:07:14.417" v="220" actId="478"/>
          <ac:spMkLst>
            <pc:docMk/>
            <pc:sldMk cId="326362598" sldId="579"/>
            <ac:spMk id="702" creationId="{B2720D7C-92B2-53AB-8771-1B3DEF267791}"/>
          </ac:spMkLst>
        </pc:spChg>
        <pc:spChg chg="del">
          <ac:chgData name="Bullinger, Marvin" userId="5b54ce5a-dc89-476f-af33-5abd75d5b1e8" providerId="ADAL" clId="{265A6489-94A2-4E64-A25F-E64F69B0C2C1}" dt="2024-03-05T20:17:17.820" v="712" actId="478"/>
          <ac:spMkLst>
            <pc:docMk/>
            <pc:sldMk cId="326362598" sldId="579"/>
            <ac:spMk id="703" creationId="{328AE734-E1D6-8465-CF88-D89FE5926929}"/>
          </ac:spMkLst>
        </pc:spChg>
        <pc:spChg chg="del">
          <ac:chgData name="Bullinger, Marvin" userId="5b54ce5a-dc89-476f-af33-5abd75d5b1e8" providerId="ADAL" clId="{265A6489-94A2-4E64-A25F-E64F69B0C2C1}" dt="2024-03-05T20:07:14.416" v="219" actId="478"/>
          <ac:spMkLst>
            <pc:docMk/>
            <pc:sldMk cId="326362598" sldId="579"/>
            <ac:spMk id="703" creationId="{8D83A71A-3197-793D-79C1-7149553EBF8E}"/>
          </ac:spMkLst>
        </pc:spChg>
        <pc:spChg chg="replST">
          <ac:chgData name="Bullinger, Marvin" userId="5b54ce5a-dc89-476f-af33-5abd75d5b1e8" providerId="ADAL" clId="{265A6489-94A2-4E64-A25F-E64F69B0C2C1}" dt="2024-03-05T20:17:18.015" v="938"/>
          <ac:spMkLst>
            <pc:docMk/>
            <pc:sldMk cId="326362598" sldId="579"/>
            <ac:spMk id="704" creationId="{0BE6E283-8DFA-7ADF-139C-EB72D27F3947}"/>
          </ac:spMkLst>
        </pc:spChg>
        <pc:spChg chg="del">
          <ac:chgData name="Bullinger, Marvin" userId="5b54ce5a-dc89-476f-af33-5abd75d5b1e8" providerId="ADAL" clId="{265A6489-94A2-4E64-A25F-E64F69B0C2C1}" dt="2024-03-05T20:07:14.413" v="211" actId="478"/>
          <ac:spMkLst>
            <pc:docMk/>
            <pc:sldMk cId="326362598" sldId="579"/>
            <ac:spMk id="704" creationId="{F1357DF1-24EB-68B8-F1B1-8B720614AF97}"/>
          </ac:spMkLst>
        </pc:spChg>
        <pc:spChg chg="del ord replST">
          <ac:chgData name="Bullinger, Marvin" userId="5b54ce5a-dc89-476f-af33-5abd75d5b1e8" providerId="ADAL" clId="{265A6489-94A2-4E64-A25F-E64F69B0C2C1}" dt="2024-03-05T22:19:10.051" v="4342" actId="478"/>
          <ac:spMkLst>
            <pc:docMk/>
            <pc:sldMk cId="326362598" sldId="579"/>
            <ac:spMk id="705" creationId="{170952E3-F322-E09D-9E5A-689898BAD669}"/>
          </ac:spMkLst>
        </pc:spChg>
        <pc:spChg chg="del">
          <ac:chgData name="Bullinger, Marvin" userId="5b54ce5a-dc89-476f-af33-5abd75d5b1e8" providerId="ADAL" clId="{265A6489-94A2-4E64-A25F-E64F69B0C2C1}" dt="2024-03-05T20:07:14.411" v="204" actId="478"/>
          <ac:spMkLst>
            <pc:docMk/>
            <pc:sldMk cId="326362598" sldId="579"/>
            <ac:spMk id="705" creationId="{2A37A60A-8A98-2187-C114-D13A4C18E2F5}"/>
          </ac:spMkLst>
        </pc:spChg>
        <pc:spChg chg="replST">
          <ac:chgData name="Bullinger, Marvin" userId="5b54ce5a-dc89-476f-af33-5abd75d5b1e8" providerId="ADAL" clId="{265A6489-94A2-4E64-A25F-E64F69B0C2C1}" dt="2024-03-05T20:17:18.020" v="942"/>
          <ac:spMkLst>
            <pc:docMk/>
            <pc:sldMk cId="326362598" sldId="579"/>
            <ac:spMk id="706" creationId="{1CD957E4-F86A-0F47-27F2-D670A9735901}"/>
          </ac:spMkLst>
        </pc:spChg>
        <pc:spChg chg="del">
          <ac:chgData name="Bullinger, Marvin" userId="5b54ce5a-dc89-476f-af33-5abd75d5b1e8" providerId="ADAL" clId="{265A6489-94A2-4E64-A25F-E64F69B0C2C1}" dt="2024-03-05T20:07:14.414" v="212" actId="478"/>
          <ac:spMkLst>
            <pc:docMk/>
            <pc:sldMk cId="326362598" sldId="579"/>
            <ac:spMk id="706" creationId="{29DE72B1-2631-2F81-4E1C-F0BD49148346}"/>
          </ac:spMkLst>
        </pc:spChg>
        <pc:spChg chg="del">
          <ac:chgData name="Bullinger, Marvin" userId="5b54ce5a-dc89-476f-af33-5abd75d5b1e8" providerId="ADAL" clId="{265A6489-94A2-4E64-A25F-E64F69B0C2C1}" dt="2024-03-05T20:07:14.410" v="203" actId="478"/>
          <ac:spMkLst>
            <pc:docMk/>
            <pc:sldMk cId="326362598" sldId="579"/>
            <ac:spMk id="707" creationId="{31206472-FED1-FA22-492A-B4F8D449AD4A}"/>
          </ac:spMkLst>
        </pc:spChg>
        <pc:spChg chg="replST">
          <ac:chgData name="Bullinger, Marvin" userId="5b54ce5a-dc89-476f-af33-5abd75d5b1e8" providerId="ADAL" clId="{265A6489-94A2-4E64-A25F-E64F69B0C2C1}" dt="2024-03-05T20:17:18.023" v="945"/>
          <ac:spMkLst>
            <pc:docMk/>
            <pc:sldMk cId="326362598" sldId="579"/>
            <ac:spMk id="707" creationId="{931E5043-0EA5-3A4D-4F12-408C03C880E4}"/>
          </ac:spMkLst>
        </pc:spChg>
        <pc:spChg chg="del">
          <ac:chgData name="Bullinger, Marvin" userId="5b54ce5a-dc89-476f-af33-5abd75d5b1e8" providerId="ADAL" clId="{265A6489-94A2-4E64-A25F-E64F69B0C2C1}" dt="2024-03-05T20:07:14.410" v="202" actId="478"/>
          <ac:spMkLst>
            <pc:docMk/>
            <pc:sldMk cId="326362598" sldId="579"/>
            <ac:spMk id="708" creationId="{CF2C2897-CC4F-FA6F-FC6B-7497B13A94DD}"/>
          </ac:spMkLst>
        </pc:spChg>
        <pc:spChg chg="replST">
          <ac:chgData name="Bullinger, Marvin" userId="5b54ce5a-dc89-476f-af33-5abd75d5b1e8" providerId="ADAL" clId="{265A6489-94A2-4E64-A25F-E64F69B0C2C1}" dt="2024-03-05T20:17:18.027" v="949"/>
          <ac:spMkLst>
            <pc:docMk/>
            <pc:sldMk cId="326362598" sldId="579"/>
            <ac:spMk id="709" creationId="{200A8196-BB78-3CE5-786E-9484EACEA974}"/>
          </ac:spMkLst>
        </pc:spChg>
        <pc:spChg chg="del">
          <ac:chgData name="Bullinger, Marvin" userId="5b54ce5a-dc89-476f-af33-5abd75d5b1e8" providerId="ADAL" clId="{265A6489-94A2-4E64-A25F-E64F69B0C2C1}" dt="2024-03-05T20:07:14.410" v="201" actId="478"/>
          <ac:spMkLst>
            <pc:docMk/>
            <pc:sldMk cId="326362598" sldId="579"/>
            <ac:spMk id="709" creationId="{744AAED7-9940-5CA5-FD7C-70B09822E691}"/>
          </ac:spMkLst>
        </pc:spChg>
        <pc:spChg chg="replST">
          <ac:chgData name="Bullinger, Marvin" userId="5b54ce5a-dc89-476f-af33-5abd75d5b1e8" providerId="ADAL" clId="{265A6489-94A2-4E64-A25F-E64F69B0C2C1}" dt="2024-03-05T20:17:18.031" v="952"/>
          <ac:spMkLst>
            <pc:docMk/>
            <pc:sldMk cId="326362598" sldId="579"/>
            <ac:spMk id="710" creationId="{EECF21B5-C27E-8353-C67A-67957AA3F18E}"/>
          </ac:spMkLst>
        </pc:spChg>
        <pc:spChg chg="del">
          <ac:chgData name="Bullinger, Marvin" userId="5b54ce5a-dc89-476f-af33-5abd75d5b1e8" providerId="ADAL" clId="{265A6489-94A2-4E64-A25F-E64F69B0C2C1}" dt="2024-03-05T20:07:14.409" v="200" actId="478"/>
          <ac:spMkLst>
            <pc:docMk/>
            <pc:sldMk cId="326362598" sldId="579"/>
            <ac:spMk id="710" creationId="{FD1453D4-1775-6217-0497-4B3F7B03E205}"/>
          </ac:spMkLst>
        </pc:spChg>
        <pc:spChg chg="del">
          <ac:chgData name="Bullinger, Marvin" userId="5b54ce5a-dc89-476f-af33-5abd75d5b1e8" providerId="ADAL" clId="{265A6489-94A2-4E64-A25F-E64F69B0C2C1}" dt="2024-03-05T20:07:14.409" v="199" actId="478"/>
          <ac:spMkLst>
            <pc:docMk/>
            <pc:sldMk cId="326362598" sldId="579"/>
            <ac:spMk id="711" creationId="{3117EF6E-9162-A149-9480-38E56B50BB14}"/>
          </ac:spMkLst>
        </pc:spChg>
        <pc:spChg chg="replST">
          <ac:chgData name="Bullinger, Marvin" userId="5b54ce5a-dc89-476f-af33-5abd75d5b1e8" providerId="ADAL" clId="{265A6489-94A2-4E64-A25F-E64F69B0C2C1}" dt="2024-03-05T20:17:18.050" v="956"/>
          <ac:spMkLst>
            <pc:docMk/>
            <pc:sldMk cId="326362598" sldId="579"/>
            <ac:spMk id="712" creationId="{66B4AFBE-C452-EFBD-BF12-D3E16DB01223}"/>
          </ac:spMkLst>
        </pc:spChg>
        <pc:spChg chg="replST">
          <ac:chgData name="Bullinger, Marvin" userId="5b54ce5a-dc89-476f-af33-5abd75d5b1e8" providerId="ADAL" clId="{265A6489-94A2-4E64-A25F-E64F69B0C2C1}" dt="2024-03-05T20:17:18.054" v="959"/>
          <ac:spMkLst>
            <pc:docMk/>
            <pc:sldMk cId="326362598" sldId="579"/>
            <ac:spMk id="713" creationId="{CED22859-0DB7-2B99-6A1F-A3FE4BAEA552}"/>
          </ac:spMkLst>
        </pc:spChg>
        <pc:spChg chg="del">
          <ac:chgData name="Bullinger, Marvin" userId="5b54ce5a-dc89-476f-af33-5abd75d5b1e8" providerId="ADAL" clId="{265A6489-94A2-4E64-A25F-E64F69B0C2C1}" dt="2024-03-05T20:07:14.393" v="183" actId="478"/>
          <ac:spMkLst>
            <pc:docMk/>
            <pc:sldMk cId="326362598" sldId="579"/>
            <ac:spMk id="714" creationId="{3A299DAB-8A67-5547-68F2-CF4D85CE8161}"/>
          </ac:spMkLst>
        </pc:spChg>
        <pc:spChg chg="replST">
          <ac:chgData name="Bullinger, Marvin" userId="5b54ce5a-dc89-476f-af33-5abd75d5b1e8" providerId="ADAL" clId="{265A6489-94A2-4E64-A25F-E64F69B0C2C1}" dt="2024-03-05T20:17:18.058" v="963"/>
          <ac:spMkLst>
            <pc:docMk/>
            <pc:sldMk cId="326362598" sldId="579"/>
            <ac:spMk id="715" creationId="{2EFC5144-B8EE-9B6F-A93D-4D4CFBECF391}"/>
          </ac:spMkLst>
        </pc:spChg>
        <pc:spChg chg="replST">
          <ac:chgData name="Bullinger, Marvin" userId="5b54ce5a-dc89-476f-af33-5abd75d5b1e8" providerId="ADAL" clId="{265A6489-94A2-4E64-A25F-E64F69B0C2C1}" dt="2024-03-05T20:17:18.062" v="966"/>
          <ac:spMkLst>
            <pc:docMk/>
            <pc:sldMk cId="326362598" sldId="579"/>
            <ac:spMk id="716" creationId="{50CD9C28-AF72-2C94-4683-4B6D582F60E8}"/>
          </ac:spMkLst>
        </pc:spChg>
        <pc:spChg chg="del">
          <ac:chgData name="Bullinger, Marvin" userId="5b54ce5a-dc89-476f-af33-5abd75d5b1e8" providerId="ADAL" clId="{265A6489-94A2-4E64-A25F-E64F69B0C2C1}" dt="2024-03-05T20:07:14.409" v="198" actId="478"/>
          <ac:spMkLst>
            <pc:docMk/>
            <pc:sldMk cId="326362598" sldId="579"/>
            <ac:spMk id="731" creationId="{AB6055FB-530A-5F51-AA09-AE7FE6977595}"/>
          </ac:spMkLst>
        </pc:spChg>
        <pc:spChg chg="del">
          <ac:chgData name="Bullinger, Marvin" userId="5b54ce5a-dc89-476f-af33-5abd75d5b1e8" providerId="ADAL" clId="{265A6489-94A2-4E64-A25F-E64F69B0C2C1}" dt="2024-03-05T20:07:14.408" v="197" actId="478"/>
          <ac:spMkLst>
            <pc:docMk/>
            <pc:sldMk cId="326362598" sldId="579"/>
            <ac:spMk id="732" creationId="{DE844886-AFEC-0242-91D8-1D233224CD80}"/>
          </ac:spMkLst>
        </pc:spChg>
        <pc:spChg chg="del">
          <ac:chgData name="Bullinger, Marvin" userId="5b54ce5a-dc89-476f-af33-5abd75d5b1e8" providerId="ADAL" clId="{265A6489-94A2-4E64-A25F-E64F69B0C2C1}" dt="2024-03-05T20:07:14.408" v="196" actId="478"/>
          <ac:spMkLst>
            <pc:docMk/>
            <pc:sldMk cId="326362598" sldId="579"/>
            <ac:spMk id="733" creationId="{D4617BA7-F9F7-A41B-3EA0-2F196C83D45A}"/>
          </ac:spMkLst>
        </pc:spChg>
        <pc:spChg chg="del">
          <ac:chgData name="Bullinger, Marvin" userId="5b54ce5a-dc89-476f-af33-5abd75d5b1e8" providerId="ADAL" clId="{265A6489-94A2-4E64-A25F-E64F69B0C2C1}" dt="2024-03-05T20:07:14.408" v="195" actId="478"/>
          <ac:spMkLst>
            <pc:docMk/>
            <pc:sldMk cId="326362598" sldId="579"/>
            <ac:spMk id="734" creationId="{E2D0C397-9ED9-0F89-5CD1-E4AC420E1908}"/>
          </ac:spMkLst>
        </pc:spChg>
        <pc:spChg chg="del">
          <ac:chgData name="Bullinger, Marvin" userId="5b54ce5a-dc89-476f-af33-5abd75d5b1e8" providerId="ADAL" clId="{265A6489-94A2-4E64-A25F-E64F69B0C2C1}" dt="2024-03-05T20:07:14.407" v="194" actId="478"/>
          <ac:spMkLst>
            <pc:docMk/>
            <pc:sldMk cId="326362598" sldId="579"/>
            <ac:spMk id="735" creationId="{BAA29A8C-1782-BD1B-728E-F1F699C60C5A}"/>
          </ac:spMkLst>
        </pc:spChg>
        <pc:spChg chg="add mod">
          <ac:chgData name="Bullinger, Marvin" userId="5b54ce5a-dc89-476f-af33-5abd75d5b1e8" providerId="ADAL" clId="{265A6489-94A2-4E64-A25F-E64F69B0C2C1}" dt="2024-03-05T22:19:10.050" v="4341" actId="478"/>
          <ac:spMkLst>
            <pc:docMk/>
            <pc:sldMk cId="326362598" sldId="579"/>
            <ac:spMk id="757" creationId="{23175A7B-CE0A-6322-B081-C024A4B83BE3}"/>
          </ac:spMkLst>
        </pc:spChg>
        <pc:spChg chg="mod ord replST">
          <ac:chgData name="Bullinger, Marvin" userId="5b54ce5a-dc89-476f-af33-5abd75d5b1e8" providerId="ADAL" clId="{265A6489-94A2-4E64-A25F-E64F69B0C2C1}" dt="2024-03-05T22:19:10.567" v="4696"/>
          <ac:spMkLst>
            <pc:docMk/>
            <pc:sldMk cId="326362598" sldId="579"/>
            <ac:spMk id="758" creationId="{715B2694-4514-BDB2-B82F-22B4EC1508D3}"/>
          </ac:spMkLst>
        </pc:spChg>
        <pc:spChg chg="del">
          <ac:chgData name="Bullinger, Marvin" userId="5b54ce5a-dc89-476f-af33-5abd75d5b1e8" providerId="ADAL" clId="{265A6489-94A2-4E64-A25F-E64F69B0C2C1}" dt="2024-03-05T22:19:10.090" v="4376" actId="478"/>
          <ac:spMkLst>
            <pc:docMk/>
            <pc:sldMk cId="326362598" sldId="579"/>
            <ac:spMk id="759" creationId="{BFCC8D16-6E2C-C09F-16F3-912F4C0F53E9}"/>
          </ac:spMkLst>
        </pc:spChg>
        <pc:spChg chg="del">
          <ac:chgData name="Bullinger, Marvin" userId="5b54ce5a-dc89-476f-af33-5abd75d5b1e8" providerId="ADAL" clId="{265A6489-94A2-4E64-A25F-E64F69B0C2C1}" dt="2024-03-05T22:19:10.089" v="4375" actId="478"/>
          <ac:spMkLst>
            <pc:docMk/>
            <pc:sldMk cId="326362598" sldId="579"/>
            <ac:spMk id="760" creationId="{80CFD498-E1A1-64BC-EBAC-FC1B1F98041B}"/>
          </ac:spMkLst>
        </pc:spChg>
        <pc:spChg chg="del">
          <ac:chgData name="Bullinger, Marvin" userId="5b54ce5a-dc89-476f-af33-5abd75d5b1e8" providerId="ADAL" clId="{265A6489-94A2-4E64-A25F-E64F69B0C2C1}" dt="2024-03-05T22:19:10.089" v="4374" actId="478"/>
          <ac:spMkLst>
            <pc:docMk/>
            <pc:sldMk cId="326362598" sldId="579"/>
            <ac:spMk id="761" creationId="{27C3AC56-829A-DE78-401D-A446E2FBAF17}"/>
          </ac:spMkLst>
        </pc:spChg>
        <pc:spChg chg="del">
          <ac:chgData name="Bullinger, Marvin" userId="5b54ce5a-dc89-476f-af33-5abd75d5b1e8" providerId="ADAL" clId="{265A6489-94A2-4E64-A25F-E64F69B0C2C1}" dt="2024-03-05T22:19:10.088" v="4373" actId="478"/>
          <ac:spMkLst>
            <pc:docMk/>
            <pc:sldMk cId="326362598" sldId="579"/>
            <ac:spMk id="762" creationId="{F2BAD527-8E0C-6271-4312-E0DC9A40B9F6}"/>
          </ac:spMkLst>
        </pc:spChg>
        <pc:spChg chg="del">
          <ac:chgData name="Bullinger, Marvin" userId="5b54ce5a-dc89-476f-af33-5abd75d5b1e8" providerId="ADAL" clId="{265A6489-94A2-4E64-A25F-E64F69B0C2C1}" dt="2024-03-05T22:19:10.087" v="4372" actId="478"/>
          <ac:spMkLst>
            <pc:docMk/>
            <pc:sldMk cId="326362598" sldId="579"/>
            <ac:spMk id="763" creationId="{DCC3AE5C-6094-61D6-77BC-E810F508C587}"/>
          </ac:spMkLst>
        </pc:spChg>
        <pc:spChg chg="del">
          <ac:chgData name="Bullinger, Marvin" userId="5b54ce5a-dc89-476f-af33-5abd75d5b1e8" providerId="ADAL" clId="{265A6489-94A2-4E64-A25F-E64F69B0C2C1}" dt="2024-03-05T22:19:10.087" v="4371" actId="478"/>
          <ac:spMkLst>
            <pc:docMk/>
            <pc:sldMk cId="326362598" sldId="579"/>
            <ac:spMk id="764" creationId="{033CFF3A-86BA-F12D-9E79-CDA436862586}"/>
          </ac:spMkLst>
        </pc:spChg>
        <pc:spChg chg="del">
          <ac:chgData name="Bullinger, Marvin" userId="5b54ce5a-dc89-476f-af33-5abd75d5b1e8" providerId="ADAL" clId="{265A6489-94A2-4E64-A25F-E64F69B0C2C1}" dt="2024-03-05T22:19:10.085" v="4368" actId="478"/>
          <ac:spMkLst>
            <pc:docMk/>
            <pc:sldMk cId="326362598" sldId="579"/>
            <ac:spMk id="765" creationId="{0777BFE3-32D9-EB2F-6749-1A4D39C02561}"/>
          </ac:spMkLst>
        </pc:spChg>
        <pc:spChg chg="del">
          <ac:chgData name="Bullinger, Marvin" userId="5b54ce5a-dc89-476f-af33-5abd75d5b1e8" providerId="ADAL" clId="{265A6489-94A2-4E64-A25F-E64F69B0C2C1}" dt="2024-03-05T22:19:10.085" v="4367" actId="478"/>
          <ac:spMkLst>
            <pc:docMk/>
            <pc:sldMk cId="326362598" sldId="579"/>
            <ac:spMk id="766" creationId="{3F163603-2681-44B8-9606-8134E4871961}"/>
          </ac:spMkLst>
        </pc:spChg>
        <pc:spChg chg="del">
          <ac:chgData name="Bullinger, Marvin" userId="5b54ce5a-dc89-476f-af33-5abd75d5b1e8" providerId="ADAL" clId="{265A6489-94A2-4E64-A25F-E64F69B0C2C1}" dt="2024-03-05T22:19:10.084" v="4366" actId="478"/>
          <ac:spMkLst>
            <pc:docMk/>
            <pc:sldMk cId="326362598" sldId="579"/>
            <ac:spMk id="767" creationId="{CD9DC824-E810-2A01-1FEE-A57D5ECCB8CF}"/>
          </ac:spMkLst>
        </pc:spChg>
        <pc:spChg chg="del">
          <ac:chgData name="Bullinger, Marvin" userId="5b54ce5a-dc89-476f-af33-5abd75d5b1e8" providerId="ADAL" clId="{265A6489-94A2-4E64-A25F-E64F69B0C2C1}" dt="2024-03-05T22:19:10.083" v="4365" actId="478"/>
          <ac:spMkLst>
            <pc:docMk/>
            <pc:sldMk cId="326362598" sldId="579"/>
            <ac:spMk id="768" creationId="{FA8C4B7B-C1F2-F9C4-4834-6A091B039633}"/>
          </ac:spMkLst>
        </pc:spChg>
        <pc:spChg chg="del">
          <ac:chgData name="Bullinger, Marvin" userId="5b54ce5a-dc89-476f-af33-5abd75d5b1e8" providerId="ADAL" clId="{265A6489-94A2-4E64-A25F-E64F69B0C2C1}" dt="2024-03-05T22:19:10.083" v="4364" actId="478"/>
          <ac:spMkLst>
            <pc:docMk/>
            <pc:sldMk cId="326362598" sldId="579"/>
            <ac:spMk id="769" creationId="{EB0FE98C-F815-DE8C-0B57-4F8CA5F271AA}"/>
          </ac:spMkLst>
        </pc:spChg>
        <pc:spChg chg="del">
          <ac:chgData name="Bullinger, Marvin" userId="5b54ce5a-dc89-476f-af33-5abd75d5b1e8" providerId="ADAL" clId="{265A6489-94A2-4E64-A25F-E64F69B0C2C1}" dt="2024-03-05T22:19:10.082" v="4363" actId="478"/>
          <ac:spMkLst>
            <pc:docMk/>
            <pc:sldMk cId="326362598" sldId="579"/>
            <ac:spMk id="770" creationId="{B19637D1-3667-1CCB-6681-0811C3BD869B}"/>
          </ac:spMkLst>
        </pc:spChg>
        <pc:spChg chg="del">
          <ac:chgData name="Bullinger, Marvin" userId="5b54ce5a-dc89-476f-af33-5abd75d5b1e8" providerId="ADAL" clId="{265A6489-94A2-4E64-A25F-E64F69B0C2C1}" dt="2024-03-05T22:19:10.095" v="4384" actId="478"/>
          <ac:spMkLst>
            <pc:docMk/>
            <pc:sldMk cId="326362598" sldId="579"/>
            <ac:spMk id="771" creationId="{3DB66A7C-C791-0418-77E7-F7B4E2CA65E1}"/>
          </ac:spMkLst>
        </pc:spChg>
        <pc:spChg chg="del">
          <ac:chgData name="Bullinger, Marvin" userId="5b54ce5a-dc89-476f-af33-5abd75d5b1e8" providerId="ADAL" clId="{265A6489-94A2-4E64-A25F-E64F69B0C2C1}" dt="2024-03-05T22:19:10.094" v="4383" actId="478"/>
          <ac:spMkLst>
            <pc:docMk/>
            <pc:sldMk cId="326362598" sldId="579"/>
            <ac:spMk id="772" creationId="{93BAD495-36F0-8790-BD9D-6BE5D1E50135}"/>
          </ac:spMkLst>
        </pc:spChg>
        <pc:spChg chg="del">
          <ac:chgData name="Bullinger, Marvin" userId="5b54ce5a-dc89-476f-af33-5abd75d5b1e8" providerId="ADAL" clId="{265A6489-94A2-4E64-A25F-E64F69B0C2C1}" dt="2024-03-05T22:19:10.094" v="4382" actId="478"/>
          <ac:spMkLst>
            <pc:docMk/>
            <pc:sldMk cId="326362598" sldId="579"/>
            <ac:spMk id="773" creationId="{C687C78A-390E-B27D-D4FE-A31BF1362B49}"/>
          </ac:spMkLst>
        </pc:spChg>
        <pc:spChg chg="del">
          <ac:chgData name="Bullinger, Marvin" userId="5b54ce5a-dc89-476f-af33-5abd75d5b1e8" providerId="ADAL" clId="{265A6489-94A2-4E64-A25F-E64F69B0C2C1}" dt="2024-03-05T22:19:10.093" v="4381" actId="478"/>
          <ac:spMkLst>
            <pc:docMk/>
            <pc:sldMk cId="326362598" sldId="579"/>
            <ac:spMk id="774" creationId="{96A509CB-959F-97E8-3396-E0C35BA6ECDE}"/>
          </ac:spMkLst>
        </pc:spChg>
        <pc:spChg chg="del">
          <ac:chgData name="Bullinger, Marvin" userId="5b54ce5a-dc89-476f-af33-5abd75d5b1e8" providerId="ADAL" clId="{265A6489-94A2-4E64-A25F-E64F69B0C2C1}" dt="2024-03-05T22:19:10.092" v="4380" actId="478"/>
          <ac:spMkLst>
            <pc:docMk/>
            <pc:sldMk cId="326362598" sldId="579"/>
            <ac:spMk id="775" creationId="{F34DAC57-0C12-96DD-08C2-CEA48A7A9A3E}"/>
          </ac:spMkLst>
        </pc:spChg>
        <pc:spChg chg="del">
          <ac:chgData name="Bullinger, Marvin" userId="5b54ce5a-dc89-476f-af33-5abd75d5b1e8" providerId="ADAL" clId="{265A6489-94A2-4E64-A25F-E64F69B0C2C1}" dt="2024-03-05T22:19:10.092" v="4379" actId="478"/>
          <ac:spMkLst>
            <pc:docMk/>
            <pc:sldMk cId="326362598" sldId="579"/>
            <ac:spMk id="776" creationId="{98152B60-5E20-F598-39C7-BEDDA71FFB87}"/>
          </ac:spMkLst>
        </pc:spChg>
        <pc:spChg chg="del">
          <ac:chgData name="Bullinger, Marvin" userId="5b54ce5a-dc89-476f-af33-5abd75d5b1e8" providerId="ADAL" clId="{265A6489-94A2-4E64-A25F-E64F69B0C2C1}" dt="2024-03-05T22:19:10.091" v="4378" actId="478"/>
          <ac:spMkLst>
            <pc:docMk/>
            <pc:sldMk cId="326362598" sldId="579"/>
            <ac:spMk id="777" creationId="{8DBCBD08-5D29-BA28-AD0F-6E80A7D74A83}"/>
          </ac:spMkLst>
        </pc:spChg>
        <pc:spChg chg="del">
          <ac:chgData name="Bullinger, Marvin" userId="5b54ce5a-dc89-476f-af33-5abd75d5b1e8" providerId="ADAL" clId="{265A6489-94A2-4E64-A25F-E64F69B0C2C1}" dt="2024-03-05T22:19:10.091" v="4377" actId="478"/>
          <ac:spMkLst>
            <pc:docMk/>
            <pc:sldMk cId="326362598" sldId="579"/>
            <ac:spMk id="778" creationId="{B368D535-4072-90F8-E4CF-0E8EEB56A435}"/>
          </ac:spMkLst>
        </pc:spChg>
        <pc:spChg chg="del">
          <ac:chgData name="Bullinger, Marvin" userId="5b54ce5a-dc89-476f-af33-5abd75d5b1e8" providerId="ADAL" clId="{265A6489-94A2-4E64-A25F-E64F69B0C2C1}" dt="2024-03-05T22:19:10.086" v="4369" actId="478"/>
          <ac:spMkLst>
            <pc:docMk/>
            <pc:sldMk cId="326362598" sldId="579"/>
            <ac:spMk id="779" creationId="{3E20AFC4-7318-DBAB-D888-46FA2D6CF77D}"/>
          </ac:spMkLst>
        </pc:spChg>
        <pc:spChg chg="del">
          <ac:chgData name="Bullinger, Marvin" userId="5b54ce5a-dc89-476f-af33-5abd75d5b1e8" providerId="ADAL" clId="{265A6489-94A2-4E64-A25F-E64F69B0C2C1}" dt="2024-03-05T22:19:10.082" v="4362" actId="478"/>
          <ac:spMkLst>
            <pc:docMk/>
            <pc:sldMk cId="326362598" sldId="579"/>
            <ac:spMk id="780" creationId="{A625DE01-CE05-BA86-282C-90285CD607BC}"/>
          </ac:spMkLst>
        </pc:spChg>
        <pc:spChg chg="del">
          <ac:chgData name="Bullinger, Marvin" userId="5b54ce5a-dc89-476f-af33-5abd75d5b1e8" providerId="ADAL" clId="{265A6489-94A2-4E64-A25F-E64F69B0C2C1}" dt="2024-03-05T22:19:10.086" v="4370" actId="478"/>
          <ac:spMkLst>
            <pc:docMk/>
            <pc:sldMk cId="326362598" sldId="579"/>
            <ac:spMk id="781" creationId="{71B08404-7A48-0979-137A-CD35F1BC3DE9}"/>
          </ac:spMkLst>
        </pc:spChg>
        <pc:spChg chg="del">
          <ac:chgData name="Bullinger, Marvin" userId="5b54ce5a-dc89-476f-af33-5abd75d5b1e8" providerId="ADAL" clId="{265A6489-94A2-4E64-A25F-E64F69B0C2C1}" dt="2024-03-05T22:19:10.081" v="4361" actId="478"/>
          <ac:spMkLst>
            <pc:docMk/>
            <pc:sldMk cId="326362598" sldId="579"/>
            <ac:spMk id="782" creationId="{E2DF338F-11ED-2421-BB31-62BA7F361745}"/>
          </ac:spMkLst>
        </pc:spChg>
        <pc:spChg chg="del">
          <ac:chgData name="Bullinger, Marvin" userId="5b54ce5a-dc89-476f-af33-5abd75d5b1e8" providerId="ADAL" clId="{265A6489-94A2-4E64-A25F-E64F69B0C2C1}" dt="2024-03-05T22:19:10.081" v="4360" actId="478"/>
          <ac:spMkLst>
            <pc:docMk/>
            <pc:sldMk cId="326362598" sldId="579"/>
            <ac:spMk id="783" creationId="{8E920854-9A0D-9118-E8AD-411A15E6ED2C}"/>
          </ac:spMkLst>
        </pc:spChg>
        <pc:spChg chg="del">
          <ac:chgData name="Bullinger, Marvin" userId="5b54ce5a-dc89-476f-af33-5abd75d5b1e8" providerId="ADAL" clId="{265A6489-94A2-4E64-A25F-E64F69B0C2C1}" dt="2024-03-05T22:19:10.080" v="4359" actId="478"/>
          <ac:spMkLst>
            <pc:docMk/>
            <pc:sldMk cId="326362598" sldId="579"/>
            <ac:spMk id="784" creationId="{738FCA80-88DE-DFFA-7078-BD43468C1208}"/>
          </ac:spMkLst>
        </pc:spChg>
        <pc:spChg chg="del">
          <ac:chgData name="Bullinger, Marvin" userId="5b54ce5a-dc89-476f-af33-5abd75d5b1e8" providerId="ADAL" clId="{265A6489-94A2-4E64-A25F-E64F69B0C2C1}" dt="2024-03-05T22:19:10.080" v="4358" actId="478"/>
          <ac:spMkLst>
            <pc:docMk/>
            <pc:sldMk cId="326362598" sldId="579"/>
            <ac:spMk id="785" creationId="{B1D61032-3F13-5037-E2D3-6696015D811A}"/>
          </ac:spMkLst>
        </pc:spChg>
        <pc:spChg chg="del">
          <ac:chgData name="Bullinger, Marvin" userId="5b54ce5a-dc89-476f-af33-5abd75d5b1e8" providerId="ADAL" clId="{265A6489-94A2-4E64-A25F-E64F69B0C2C1}" dt="2024-03-05T22:19:10.079" v="4357" actId="478"/>
          <ac:spMkLst>
            <pc:docMk/>
            <pc:sldMk cId="326362598" sldId="579"/>
            <ac:spMk id="786" creationId="{8BDA4B97-5107-C227-5E9C-6DA13BD63781}"/>
          </ac:spMkLst>
        </pc:spChg>
        <pc:spChg chg="del">
          <ac:chgData name="Bullinger, Marvin" userId="5b54ce5a-dc89-476f-af33-5abd75d5b1e8" providerId="ADAL" clId="{265A6489-94A2-4E64-A25F-E64F69B0C2C1}" dt="2024-03-05T22:19:10.078" v="4356" actId="478"/>
          <ac:spMkLst>
            <pc:docMk/>
            <pc:sldMk cId="326362598" sldId="579"/>
            <ac:spMk id="787" creationId="{7AC14A50-F567-D3B3-8573-48B0EB960866}"/>
          </ac:spMkLst>
        </pc:spChg>
        <pc:spChg chg="del">
          <ac:chgData name="Bullinger, Marvin" userId="5b54ce5a-dc89-476f-af33-5abd75d5b1e8" providerId="ADAL" clId="{265A6489-94A2-4E64-A25F-E64F69B0C2C1}" dt="2024-03-05T22:19:10.078" v="4355" actId="478"/>
          <ac:spMkLst>
            <pc:docMk/>
            <pc:sldMk cId="326362598" sldId="579"/>
            <ac:spMk id="788" creationId="{EFE2EE6E-DE09-772F-2B1A-C7C192640F88}"/>
          </ac:spMkLst>
        </pc:spChg>
        <pc:spChg chg="del">
          <ac:chgData name="Bullinger, Marvin" userId="5b54ce5a-dc89-476f-af33-5abd75d5b1e8" providerId="ADAL" clId="{265A6489-94A2-4E64-A25F-E64F69B0C2C1}" dt="2024-03-05T22:19:10.077" v="4354" actId="478"/>
          <ac:spMkLst>
            <pc:docMk/>
            <pc:sldMk cId="326362598" sldId="579"/>
            <ac:spMk id="789" creationId="{C50A397D-2375-7B02-42EA-0F84DD6769A1}"/>
          </ac:spMkLst>
        </pc:spChg>
        <pc:spChg chg="del">
          <ac:chgData name="Bullinger, Marvin" userId="5b54ce5a-dc89-476f-af33-5abd75d5b1e8" providerId="ADAL" clId="{265A6489-94A2-4E64-A25F-E64F69B0C2C1}" dt="2024-03-05T22:19:10.077" v="4353" actId="478"/>
          <ac:spMkLst>
            <pc:docMk/>
            <pc:sldMk cId="326362598" sldId="579"/>
            <ac:spMk id="790" creationId="{8CDF7123-3FE4-B5D5-8543-85D6FDE87937}"/>
          </ac:spMkLst>
        </pc:spChg>
        <pc:spChg chg="del">
          <ac:chgData name="Bullinger, Marvin" userId="5b54ce5a-dc89-476f-af33-5abd75d5b1e8" providerId="ADAL" clId="{265A6489-94A2-4E64-A25F-E64F69B0C2C1}" dt="2024-03-05T22:19:10.076" v="4352" actId="478"/>
          <ac:spMkLst>
            <pc:docMk/>
            <pc:sldMk cId="326362598" sldId="579"/>
            <ac:spMk id="791" creationId="{5D3E05FA-B0F7-37AE-518E-B2B8003C20F3}"/>
          </ac:spMkLst>
        </pc:spChg>
        <pc:spChg chg="del">
          <ac:chgData name="Bullinger, Marvin" userId="5b54ce5a-dc89-476f-af33-5abd75d5b1e8" providerId="ADAL" clId="{265A6489-94A2-4E64-A25F-E64F69B0C2C1}" dt="2024-03-05T22:19:10.075" v="4351" actId="478"/>
          <ac:spMkLst>
            <pc:docMk/>
            <pc:sldMk cId="326362598" sldId="579"/>
            <ac:spMk id="792" creationId="{10B357C6-2F7A-8809-3FAC-274A19BB113F}"/>
          </ac:spMkLst>
        </pc:spChg>
        <pc:spChg chg="del">
          <ac:chgData name="Bullinger, Marvin" userId="5b54ce5a-dc89-476f-af33-5abd75d5b1e8" providerId="ADAL" clId="{265A6489-94A2-4E64-A25F-E64F69B0C2C1}" dt="2024-03-05T22:19:10.075" v="4350" actId="478"/>
          <ac:spMkLst>
            <pc:docMk/>
            <pc:sldMk cId="326362598" sldId="579"/>
            <ac:spMk id="793" creationId="{B980C392-F289-BB93-5843-FCFA00565342}"/>
          </ac:spMkLst>
        </pc:spChg>
        <pc:spChg chg="del">
          <ac:chgData name="Bullinger, Marvin" userId="5b54ce5a-dc89-476f-af33-5abd75d5b1e8" providerId="ADAL" clId="{265A6489-94A2-4E64-A25F-E64F69B0C2C1}" dt="2024-03-05T22:19:10.074" v="4349" actId="478"/>
          <ac:spMkLst>
            <pc:docMk/>
            <pc:sldMk cId="326362598" sldId="579"/>
            <ac:spMk id="794" creationId="{0A78E00A-DBAF-90DC-F1BC-DE34C6487247}"/>
          </ac:spMkLst>
        </pc:spChg>
        <pc:spChg chg="del">
          <ac:chgData name="Bullinger, Marvin" userId="5b54ce5a-dc89-476f-af33-5abd75d5b1e8" providerId="ADAL" clId="{265A6489-94A2-4E64-A25F-E64F69B0C2C1}" dt="2024-03-05T22:19:10.073" v="4348" actId="478"/>
          <ac:spMkLst>
            <pc:docMk/>
            <pc:sldMk cId="326362598" sldId="579"/>
            <ac:spMk id="795" creationId="{8D12D098-99A6-5AD0-0D7C-E2473C45040C}"/>
          </ac:spMkLst>
        </pc:spChg>
        <pc:spChg chg="mod replST">
          <ac:chgData name="Bullinger, Marvin" userId="5b54ce5a-dc89-476f-af33-5abd75d5b1e8" providerId="ADAL" clId="{265A6489-94A2-4E64-A25F-E64F69B0C2C1}" dt="2024-03-05T22:32:11.097" v="5038" actId="20577"/>
          <ac:spMkLst>
            <pc:docMk/>
            <pc:sldMk cId="326362598" sldId="579"/>
            <ac:spMk id="796" creationId="{7323FB79-5B68-21F5-1270-9DE396304B4C}"/>
          </ac:spMkLst>
        </pc:spChg>
        <pc:spChg chg="replST">
          <ac:chgData name="Bullinger, Marvin" userId="5b54ce5a-dc89-476f-af33-5abd75d5b1e8" providerId="ADAL" clId="{265A6489-94A2-4E64-A25F-E64F69B0C2C1}" dt="2024-03-05T22:19:10.495" v="4658"/>
          <ac:spMkLst>
            <pc:docMk/>
            <pc:sldMk cId="326362598" sldId="579"/>
            <ac:spMk id="797" creationId="{E604ACAD-D3B3-6CCC-CEC5-7B72222AD302}"/>
          </ac:spMkLst>
        </pc:spChg>
        <pc:spChg chg="mod ord replST">
          <ac:chgData name="Bullinger, Marvin" userId="5b54ce5a-dc89-476f-af33-5abd75d5b1e8" providerId="ADAL" clId="{265A6489-94A2-4E64-A25F-E64F69B0C2C1}" dt="2024-03-05T22:31:49.607" v="5031" actId="207"/>
          <ac:spMkLst>
            <pc:docMk/>
            <pc:sldMk cId="326362598" sldId="579"/>
            <ac:spMk id="798" creationId="{58112DCA-A498-1750-2424-673A1484C860}"/>
          </ac:spMkLst>
        </pc:spChg>
        <pc:spChg chg="mod replST">
          <ac:chgData name="Bullinger, Marvin" userId="5b54ce5a-dc89-476f-af33-5abd75d5b1e8" providerId="ADAL" clId="{265A6489-94A2-4E64-A25F-E64F69B0C2C1}" dt="2024-03-05T22:32:07.407" v="5037" actId="20577"/>
          <ac:spMkLst>
            <pc:docMk/>
            <pc:sldMk cId="326362598" sldId="579"/>
            <ac:spMk id="799" creationId="{9E740F68-5614-CC75-EEDD-0E90738E2EBA}"/>
          </ac:spMkLst>
        </pc:spChg>
        <pc:spChg chg="replST">
          <ac:chgData name="Bullinger, Marvin" userId="5b54ce5a-dc89-476f-af33-5abd75d5b1e8" providerId="ADAL" clId="{265A6489-94A2-4E64-A25F-E64F69B0C2C1}" dt="2024-03-05T22:19:10.507" v="4665"/>
          <ac:spMkLst>
            <pc:docMk/>
            <pc:sldMk cId="326362598" sldId="579"/>
            <ac:spMk id="800" creationId="{B6EB36C0-6964-7477-F98D-99C985C5106E}"/>
          </ac:spMkLst>
        </pc:spChg>
        <pc:spChg chg="mod replST">
          <ac:chgData name="Bullinger, Marvin" userId="5b54ce5a-dc89-476f-af33-5abd75d5b1e8" providerId="ADAL" clId="{265A6489-94A2-4E64-A25F-E64F69B0C2C1}" dt="2024-03-05T22:32:13.131" v="5039" actId="20577"/>
          <ac:spMkLst>
            <pc:docMk/>
            <pc:sldMk cId="326362598" sldId="579"/>
            <ac:spMk id="802" creationId="{C9FE9860-2E13-840F-BEA6-145A018F3C51}"/>
          </ac:spMkLst>
        </pc:spChg>
        <pc:spChg chg="mod replST">
          <ac:chgData name="Bullinger, Marvin" userId="5b54ce5a-dc89-476f-af33-5abd75d5b1e8" providerId="ADAL" clId="{265A6489-94A2-4E64-A25F-E64F69B0C2C1}" dt="2024-03-06T13:51:24.224" v="5103" actId="20577"/>
          <ac:spMkLst>
            <pc:docMk/>
            <pc:sldMk cId="326362598" sldId="579"/>
            <ac:spMk id="803" creationId="{2E7EAD97-8FF1-64BD-1B9C-AEA7E814D7AD}"/>
          </ac:spMkLst>
        </pc:spChg>
        <pc:spChg chg="mod replST">
          <ac:chgData name="Bullinger, Marvin" userId="5b54ce5a-dc89-476f-af33-5abd75d5b1e8" providerId="ADAL" clId="{265A6489-94A2-4E64-A25F-E64F69B0C2C1}" dt="2024-03-05T22:32:14.804" v="5040" actId="20577"/>
          <ac:spMkLst>
            <pc:docMk/>
            <pc:sldMk cId="326362598" sldId="579"/>
            <ac:spMk id="805" creationId="{4FA305EC-ED64-432F-2454-23898EDBDB7F}"/>
          </ac:spMkLst>
        </pc:spChg>
        <pc:spChg chg="replST">
          <ac:chgData name="Bullinger, Marvin" userId="5b54ce5a-dc89-476f-af33-5abd75d5b1e8" providerId="ADAL" clId="{265A6489-94A2-4E64-A25F-E64F69B0C2C1}" dt="2024-03-05T22:19:10.532" v="4679"/>
          <ac:spMkLst>
            <pc:docMk/>
            <pc:sldMk cId="326362598" sldId="579"/>
            <ac:spMk id="806" creationId="{2692E77C-3B8B-0D41-3EBC-45A5D21BDC08}"/>
          </ac:spMkLst>
        </pc:spChg>
        <pc:spChg chg="mod replST">
          <ac:chgData name="Bullinger, Marvin" userId="5b54ce5a-dc89-476f-af33-5abd75d5b1e8" providerId="ADAL" clId="{265A6489-94A2-4E64-A25F-E64F69B0C2C1}" dt="2024-03-05T22:32:16.759" v="5041" actId="20577"/>
          <ac:spMkLst>
            <pc:docMk/>
            <pc:sldMk cId="326362598" sldId="579"/>
            <ac:spMk id="808" creationId="{8E5271BA-ABFB-4DFF-8363-45EE469B6545}"/>
          </ac:spMkLst>
        </pc:spChg>
        <pc:spChg chg="replST">
          <ac:chgData name="Bullinger, Marvin" userId="5b54ce5a-dc89-476f-af33-5abd75d5b1e8" providerId="ADAL" clId="{265A6489-94A2-4E64-A25F-E64F69B0C2C1}" dt="2024-03-05T22:19:10.545" v="4686"/>
          <ac:spMkLst>
            <pc:docMk/>
            <pc:sldMk cId="326362598" sldId="579"/>
            <ac:spMk id="809" creationId="{00F53F56-8322-49CA-ED89-9D4AF33D5EAF}"/>
          </ac:spMkLst>
        </pc:spChg>
        <pc:spChg chg="mod replST">
          <ac:chgData name="Bullinger, Marvin" userId="5b54ce5a-dc89-476f-af33-5abd75d5b1e8" providerId="ADAL" clId="{265A6489-94A2-4E64-A25F-E64F69B0C2C1}" dt="2024-03-05T22:32:19.095" v="5042" actId="20577"/>
          <ac:spMkLst>
            <pc:docMk/>
            <pc:sldMk cId="326362598" sldId="579"/>
            <ac:spMk id="811" creationId="{80312F10-DBFF-7E22-4858-4B90FAA468FC}"/>
          </ac:spMkLst>
        </pc:spChg>
        <pc:spChg chg="replST">
          <ac:chgData name="Bullinger, Marvin" userId="5b54ce5a-dc89-476f-af33-5abd75d5b1e8" providerId="ADAL" clId="{265A6489-94A2-4E64-A25F-E64F69B0C2C1}" dt="2024-03-05T22:19:10.558" v="4693"/>
          <ac:spMkLst>
            <pc:docMk/>
            <pc:sldMk cId="326362598" sldId="579"/>
            <ac:spMk id="812" creationId="{FE1DAD3F-BDBC-2E16-B2C6-BC4059067FC0}"/>
          </ac:spMkLst>
        </pc:spChg>
        <pc:cxnChg chg="del ord replST">
          <ac:chgData name="Bullinger, Marvin" userId="5b54ce5a-dc89-476f-af33-5abd75d5b1e8" providerId="ADAL" clId="{265A6489-94A2-4E64-A25F-E64F69B0C2C1}" dt="2024-03-05T20:17:17.798" v="679" actId="478"/>
          <ac:cxnSpMkLst>
            <pc:docMk/>
            <pc:sldMk cId="326362598" sldId="579"/>
            <ac:cxnSpMk id="650" creationId="{08B4743F-E6AE-C813-AE57-F2D02DCF5F3A}"/>
          </ac:cxnSpMkLst>
        </pc:cxnChg>
        <pc:cxnChg chg="del ord replST">
          <ac:chgData name="Bullinger, Marvin" userId="5b54ce5a-dc89-476f-af33-5abd75d5b1e8" providerId="ADAL" clId="{265A6489-94A2-4E64-A25F-E64F69B0C2C1}" dt="2024-03-05T20:17:17.799" v="680" actId="478"/>
          <ac:cxnSpMkLst>
            <pc:docMk/>
            <pc:sldMk cId="326362598" sldId="579"/>
            <ac:cxnSpMk id="653" creationId="{1F9BA3CC-BBD5-5DDA-A0F1-1E91BD352AAE}"/>
          </ac:cxnSpMkLst>
        </pc:cxnChg>
        <pc:cxnChg chg="del ord replST">
          <ac:chgData name="Bullinger, Marvin" userId="5b54ce5a-dc89-476f-af33-5abd75d5b1e8" providerId="ADAL" clId="{265A6489-94A2-4E64-A25F-E64F69B0C2C1}" dt="2024-03-05T20:17:17.800" v="681" actId="478"/>
          <ac:cxnSpMkLst>
            <pc:docMk/>
            <pc:sldMk cId="326362598" sldId="579"/>
            <ac:cxnSpMk id="656" creationId="{679D9153-C6B6-445F-D34E-4A1FD633FFA5}"/>
          </ac:cxnSpMkLst>
        </pc:cxnChg>
        <pc:cxnChg chg="del ord replST">
          <ac:chgData name="Bullinger, Marvin" userId="5b54ce5a-dc89-476f-af33-5abd75d5b1e8" providerId="ADAL" clId="{265A6489-94A2-4E64-A25F-E64F69B0C2C1}" dt="2024-03-05T20:17:17.800" v="682" actId="478"/>
          <ac:cxnSpMkLst>
            <pc:docMk/>
            <pc:sldMk cId="326362598" sldId="579"/>
            <ac:cxnSpMk id="657" creationId="{8ADBDB37-2B70-DE47-5047-5D20022D011E}"/>
          </ac:cxnSpMkLst>
        </pc:cxnChg>
        <pc:cxnChg chg="del ord replST">
          <ac:chgData name="Bullinger, Marvin" userId="5b54ce5a-dc89-476f-af33-5abd75d5b1e8" providerId="ADAL" clId="{265A6489-94A2-4E64-A25F-E64F69B0C2C1}" dt="2024-03-05T22:19:10.053" v="4343" actId="478"/>
          <ac:cxnSpMkLst>
            <pc:docMk/>
            <pc:sldMk cId="326362598" sldId="579"/>
            <ac:cxnSpMk id="708" creationId="{0E575AA0-A784-1DFB-555B-CA8676E611B3}"/>
          </ac:cxnSpMkLst>
        </pc:cxnChg>
        <pc:cxnChg chg="del ord replST">
          <ac:chgData name="Bullinger, Marvin" userId="5b54ce5a-dc89-476f-af33-5abd75d5b1e8" providerId="ADAL" clId="{265A6489-94A2-4E64-A25F-E64F69B0C2C1}" dt="2024-03-05T22:19:10.054" v="4344" actId="478"/>
          <ac:cxnSpMkLst>
            <pc:docMk/>
            <pc:sldMk cId="326362598" sldId="579"/>
            <ac:cxnSpMk id="711" creationId="{8B5C8589-D144-9CE9-31A9-8CD8F3327E9E}"/>
          </ac:cxnSpMkLst>
        </pc:cxnChg>
        <pc:cxnChg chg="del ord replST">
          <ac:chgData name="Bullinger, Marvin" userId="5b54ce5a-dc89-476f-af33-5abd75d5b1e8" providerId="ADAL" clId="{265A6489-94A2-4E64-A25F-E64F69B0C2C1}" dt="2024-03-05T22:19:10.055" v="4345" actId="478"/>
          <ac:cxnSpMkLst>
            <pc:docMk/>
            <pc:sldMk cId="326362598" sldId="579"/>
            <ac:cxnSpMk id="714" creationId="{C15DB9DA-1D2A-79E0-EC54-89448EE83ACF}"/>
          </ac:cxnSpMkLst>
        </pc:cxnChg>
        <pc:cxnChg chg="del ord replST">
          <ac:chgData name="Bullinger, Marvin" userId="5b54ce5a-dc89-476f-af33-5abd75d5b1e8" providerId="ADAL" clId="{265A6489-94A2-4E64-A25F-E64F69B0C2C1}" dt="2024-03-05T22:19:10.056" v="4346" actId="478"/>
          <ac:cxnSpMkLst>
            <pc:docMk/>
            <pc:sldMk cId="326362598" sldId="579"/>
            <ac:cxnSpMk id="717" creationId="{39860554-BD85-4049-3E43-C68537F025F1}"/>
          </ac:cxnSpMkLst>
        </pc:cxnChg>
        <pc:cxnChg chg="del">
          <ac:chgData name="Bullinger, Marvin" userId="5b54ce5a-dc89-476f-af33-5abd75d5b1e8" providerId="ADAL" clId="{265A6489-94A2-4E64-A25F-E64F69B0C2C1}" dt="2024-03-05T20:07:14.394" v="184" actId="478"/>
          <ac:cxnSpMkLst>
            <pc:docMk/>
            <pc:sldMk cId="326362598" sldId="579"/>
            <ac:cxnSpMk id="717" creationId="{727E1397-3CA6-6146-B4F8-42BBADF01146}"/>
          </ac:cxnSpMkLst>
        </pc:cxnChg>
        <pc:cxnChg chg="del ord replST">
          <ac:chgData name="Bullinger, Marvin" userId="5b54ce5a-dc89-476f-af33-5abd75d5b1e8" providerId="ADAL" clId="{265A6489-94A2-4E64-A25F-E64F69B0C2C1}" dt="2024-03-05T22:19:10.056" v="4347" actId="478"/>
          <ac:cxnSpMkLst>
            <pc:docMk/>
            <pc:sldMk cId="326362598" sldId="579"/>
            <ac:cxnSpMk id="718" creationId="{B0D06555-8577-C313-E04D-9D805AB67723}"/>
          </ac:cxnSpMkLst>
        </pc:cxnChg>
        <pc:cxnChg chg="del">
          <ac:chgData name="Bullinger, Marvin" userId="5b54ce5a-dc89-476f-af33-5abd75d5b1e8" providerId="ADAL" clId="{265A6489-94A2-4E64-A25F-E64F69B0C2C1}" dt="2024-03-05T20:07:14.395" v="185" actId="478"/>
          <ac:cxnSpMkLst>
            <pc:docMk/>
            <pc:sldMk cId="326362598" sldId="579"/>
            <ac:cxnSpMk id="720" creationId="{09A49FCD-45F7-57A8-4641-D6918F786796}"/>
          </ac:cxnSpMkLst>
        </pc:cxnChg>
        <pc:cxnChg chg="del">
          <ac:chgData name="Bullinger, Marvin" userId="5b54ce5a-dc89-476f-af33-5abd75d5b1e8" providerId="ADAL" clId="{265A6489-94A2-4E64-A25F-E64F69B0C2C1}" dt="2024-03-05T20:07:14.396" v="186" actId="478"/>
          <ac:cxnSpMkLst>
            <pc:docMk/>
            <pc:sldMk cId="326362598" sldId="579"/>
            <ac:cxnSpMk id="723" creationId="{6D50C6D6-21C8-FE63-F992-EF70CC3490A7}"/>
          </ac:cxnSpMkLst>
        </pc:cxnChg>
        <pc:cxnChg chg="del">
          <ac:chgData name="Bullinger, Marvin" userId="5b54ce5a-dc89-476f-af33-5abd75d5b1e8" providerId="ADAL" clId="{265A6489-94A2-4E64-A25F-E64F69B0C2C1}" dt="2024-03-05T20:07:14.396" v="187" actId="478"/>
          <ac:cxnSpMkLst>
            <pc:docMk/>
            <pc:sldMk cId="326362598" sldId="579"/>
            <ac:cxnSpMk id="726" creationId="{E781B99D-1407-F7D6-17AD-FC94692125A0}"/>
          </ac:cxnSpMkLst>
        </pc:cxnChg>
        <pc:cxnChg chg="del">
          <ac:chgData name="Bullinger, Marvin" userId="5b54ce5a-dc89-476f-af33-5abd75d5b1e8" providerId="ADAL" clId="{265A6489-94A2-4E64-A25F-E64F69B0C2C1}" dt="2024-03-05T20:07:14.397" v="188" actId="478"/>
          <ac:cxnSpMkLst>
            <pc:docMk/>
            <pc:sldMk cId="326362598" sldId="579"/>
            <ac:cxnSpMk id="729" creationId="{3863692E-27D1-7ADB-6016-E661C791C8A9}"/>
          </ac:cxnSpMkLst>
        </pc:cxnChg>
        <pc:cxnChg chg="del">
          <ac:chgData name="Bullinger, Marvin" userId="5b54ce5a-dc89-476f-af33-5abd75d5b1e8" providerId="ADAL" clId="{265A6489-94A2-4E64-A25F-E64F69B0C2C1}" dt="2024-03-05T20:07:14.397" v="189" actId="478"/>
          <ac:cxnSpMkLst>
            <pc:docMk/>
            <pc:sldMk cId="326362598" sldId="579"/>
            <ac:cxnSpMk id="730" creationId="{1E59F5CC-506E-B003-6BA7-7586FC46C7B2}"/>
          </ac:cxnSpMkLst>
        </pc:cxnChg>
        <pc:cxnChg chg="ord replST">
          <ac:chgData name="Bullinger, Marvin" userId="5b54ce5a-dc89-476f-af33-5abd75d5b1e8" providerId="ADAL" clId="{265A6489-94A2-4E64-A25F-E64F69B0C2C1}" dt="2024-03-05T22:19:10.571" v="4698"/>
          <ac:cxnSpMkLst>
            <pc:docMk/>
            <pc:sldMk cId="326362598" sldId="579"/>
            <ac:cxnSpMk id="801" creationId="{3F0754A7-D0DA-BA3F-F3C5-D2A9F2A8B842}"/>
          </ac:cxnSpMkLst>
        </pc:cxnChg>
        <pc:cxnChg chg="ord replST">
          <ac:chgData name="Bullinger, Marvin" userId="5b54ce5a-dc89-476f-af33-5abd75d5b1e8" providerId="ADAL" clId="{265A6489-94A2-4E64-A25F-E64F69B0C2C1}" dt="2024-03-05T22:19:10.572" v="4699"/>
          <ac:cxnSpMkLst>
            <pc:docMk/>
            <pc:sldMk cId="326362598" sldId="579"/>
            <ac:cxnSpMk id="804" creationId="{8D3C93D0-88F3-E34F-728E-56E1E7EF8A33}"/>
          </ac:cxnSpMkLst>
        </pc:cxnChg>
        <pc:cxnChg chg="ord replST">
          <ac:chgData name="Bullinger, Marvin" userId="5b54ce5a-dc89-476f-af33-5abd75d5b1e8" providerId="ADAL" clId="{265A6489-94A2-4E64-A25F-E64F69B0C2C1}" dt="2024-03-05T22:19:10.573" v="4700"/>
          <ac:cxnSpMkLst>
            <pc:docMk/>
            <pc:sldMk cId="326362598" sldId="579"/>
            <ac:cxnSpMk id="807" creationId="{C7712B90-F744-C420-58FA-74537F6E6622}"/>
          </ac:cxnSpMkLst>
        </pc:cxnChg>
        <pc:cxnChg chg="ord replST">
          <ac:chgData name="Bullinger, Marvin" userId="5b54ce5a-dc89-476f-af33-5abd75d5b1e8" providerId="ADAL" clId="{265A6489-94A2-4E64-A25F-E64F69B0C2C1}" dt="2024-03-05T22:19:10.575" v="4701"/>
          <ac:cxnSpMkLst>
            <pc:docMk/>
            <pc:sldMk cId="326362598" sldId="579"/>
            <ac:cxnSpMk id="810" creationId="{5E76B424-1B8A-CFE4-BE2A-20651B7848D2}"/>
          </ac:cxnSpMkLst>
        </pc:cxnChg>
        <pc:cxnChg chg="ord replST">
          <ac:chgData name="Bullinger, Marvin" userId="5b54ce5a-dc89-476f-af33-5abd75d5b1e8" providerId="ADAL" clId="{265A6489-94A2-4E64-A25F-E64F69B0C2C1}" dt="2024-03-05T22:19:10.576" v="4702"/>
          <ac:cxnSpMkLst>
            <pc:docMk/>
            <pc:sldMk cId="326362598" sldId="579"/>
            <ac:cxnSpMk id="813" creationId="{5D900068-B411-6D9B-08DF-ADD8796EF63F}"/>
          </ac:cxnSpMkLst>
        </pc:cxnChg>
        <pc:cxnChg chg="ord replST">
          <ac:chgData name="Bullinger, Marvin" userId="5b54ce5a-dc89-476f-af33-5abd75d5b1e8" providerId="ADAL" clId="{265A6489-94A2-4E64-A25F-E64F69B0C2C1}" dt="2024-03-05T22:19:10.577" v="4703"/>
          <ac:cxnSpMkLst>
            <pc:docMk/>
            <pc:sldMk cId="326362598" sldId="579"/>
            <ac:cxnSpMk id="814" creationId="{22B41EFF-6F91-BA15-7288-6701AD8CD33F}"/>
          </ac:cxnSpMkLst>
        </pc:cxnChg>
      </pc:sldChg>
      <pc:sldChg chg="addSp delSp modSp mod">
        <pc:chgData name="Bullinger, Marvin" userId="5b54ce5a-dc89-476f-af33-5abd75d5b1e8" providerId="ADAL" clId="{265A6489-94A2-4E64-A25F-E64F69B0C2C1}" dt="2024-03-06T13:55:32.438" v="5169" actId="20577"/>
        <pc:sldMkLst>
          <pc:docMk/>
          <pc:sldMk cId="459806595" sldId="580"/>
        </pc:sldMkLst>
        <pc:spChg chg="del">
          <ac:chgData name="Bullinger, Marvin" userId="5b54ce5a-dc89-476f-af33-5abd75d5b1e8" providerId="ADAL" clId="{265A6489-94A2-4E64-A25F-E64F69B0C2C1}" dt="2024-03-05T20:07:14.443" v="238" actId="478"/>
          <ac:spMkLst>
            <pc:docMk/>
            <pc:sldMk cId="459806595" sldId="580"/>
            <ac:spMk id="640" creationId="{1F55284C-73A9-E0CD-816C-51AB872D5D4A}"/>
          </ac:spMkLst>
        </pc:spChg>
        <pc:spChg chg="del">
          <ac:chgData name="Bullinger, Marvin" userId="5b54ce5a-dc89-476f-af33-5abd75d5b1e8" providerId="ADAL" clId="{265A6489-94A2-4E64-A25F-E64F69B0C2C1}" dt="2024-03-05T20:17:17.869" v="785" actId="478"/>
          <ac:spMkLst>
            <pc:docMk/>
            <pc:sldMk cId="459806595" sldId="580"/>
            <ac:spMk id="640" creationId="{44A59FDD-F29B-E09B-E41C-468DDE566604}"/>
          </ac:spMkLst>
        </pc:spChg>
        <pc:spChg chg="del">
          <ac:chgData name="Bullinger, Marvin" userId="5b54ce5a-dc89-476f-af33-5abd75d5b1e8" providerId="ADAL" clId="{265A6489-94A2-4E64-A25F-E64F69B0C2C1}" dt="2024-03-05T20:17:17.866" v="778" actId="478"/>
          <ac:spMkLst>
            <pc:docMk/>
            <pc:sldMk cId="459806595" sldId="580"/>
            <ac:spMk id="641" creationId="{3C6B680F-B99B-41BE-ECA6-5E69D1DEE75C}"/>
          </ac:spMkLst>
        </pc:spChg>
        <pc:spChg chg="del">
          <ac:chgData name="Bullinger, Marvin" userId="5b54ce5a-dc89-476f-af33-5abd75d5b1e8" providerId="ADAL" clId="{265A6489-94A2-4E64-A25F-E64F69B0C2C1}" dt="2024-03-05T20:07:14.443" v="237" actId="478"/>
          <ac:spMkLst>
            <pc:docMk/>
            <pc:sldMk cId="459806595" sldId="580"/>
            <ac:spMk id="641" creationId="{65DBBC23-487D-324A-37B8-068BAC8AD2BC}"/>
          </ac:spMkLst>
        </pc:spChg>
        <pc:spChg chg="del">
          <ac:chgData name="Bullinger, Marvin" userId="5b54ce5a-dc89-476f-af33-5abd75d5b1e8" providerId="ADAL" clId="{265A6489-94A2-4E64-A25F-E64F69B0C2C1}" dt="2024-03-05T20:17:17.869" v="786" actId="478"/>
          <ac:spMkLst>
            <pc:docMk/>
            <pc:sldMk cId="459806595" sldId="580"/>
            <ac:spMk id="642" creationId="{A3650586-A9CE-D290-68B3-D9ED3063D25E}"/>
          </ac:spMkLst>
        </pc:spChg>
        <pc:spChg chg="del">
          <ac:chgData name="Bullinger, Marvin" userId="5b54ce5a-dc89-476f-af33-5abd75d5b1e8" providerId="ADAL" clId="{265A6489-94A2-4E64-A25F-E64F69B0C2C1}" dt="2024-03-05T20:07:14.443" v="236" actId="478"/>
          <ac:spMkLst>
            <pc:docMk/>
            <pc:sldMk cId="459806595" sldId="580"/>
            <ac:spMk id="642" creationId="{D8B4BCA8-5C87-A05C-8654-2FDC206E026F}"/>
          </ac:spMkLst>
        </pc:spChg>
        <pc:spChg chg="del">
          <ac:chgData name="Bullinger, Marvin" userId="5b54ce5a-dc89-476f-af33-5abd75d5b1e8" providerId="ADAL" clId="{265A6489-94A2-4E64-A25F-E64F69B0C2C1}" dt="2024-03-05T20:07:14.442" v="235" actId="478"/>
          <ac:spMkLst>
            <pc:docMk/>
            <pc:sldMk cId="459806595" sldId="580"/>
            <ac:spMk id="643" creationId="{69244DD6-3A64-5F61-1E35-B07E649FB318}"/>
          </ac:spMkLst>
        </pc:spChg>
        <pc:spChg chg="del">
          <ac:chgData name="Bullinger, Marvin" userId="5b54ce5a-dc89-476f-af33-5abd75d5b1e8" providerId="ADAL" clId="{265A6489-94A2-4E64-A25F-E64F69B0C2C1}" dt="2024-03-05T20:17:17.866" v="777" actId="478"/>
          <ac:spMkLst>
            <pc:docMk/>
            <pc:sldMk cId="459806595" sldId="580"/>
            <ac:spMk id="643" creationId="{F07D5CE0-63F8-A692-FB47-263CB0EE1485}"/>
          </ac:spMkLst>
        </pc:spChg>
        <pc:spChg chg="replST">
          <ac:chgData name="Bullinger, Marvin" userId="5b54ce5a-dc89-476f-af33-5abd75d5b1e8" providerId="ADAL" clId="{265A6489-94A2-4E64-A25F-E64F69B0C2C1}" dt="2024-03-05T20:07:14.670" v="440"/>
          <ac:spMkLst>
            <pc:docMk/>
            <pc:sldMk cId="459806595" sldId="580"/>
            <ac:spMk id="644" creationId="{315EE601-580E-108A-5B00-BF4A1802E52E}"/>
          </ac:spMkLst>
        </pc:spChg>
        <pc:spChg chg="replST">
          <ac:chgData name="Bullinger, Marvin" userId="5b54ce5a-dc89-476f-af33-5abd75d5b1e8" providerId="ADAL" clId="{265A6489-94A2-4E64-A25F-E64F69B0C2C1}" dt="2024-03-05T20:07:14.673" v="443"/>
          <ac:spMkLst>
            <pc:docMk/>
            <pc:sldMk cId="459806595" sldId="580"/>
            <ac:spMk id="645" creationId="{BB4C6222-1F57-54FC-8556-FF43AE8D438D}"/>
          </ac:spMkLst>
        </pc:spChg>
        <pc:spChg chg="replST">
          <ac:chgData name="Bullinger, Marvin" userId="5b54ce5a-dc89-476f-af33-5abd75d5b1e8" providerId="ADAL" clId="{265A6489-94A2-4E64-A25F-E64F69B0C2C1}" dt="2024-03-05T20:07:14.678" v="447"/>
          <ac:spMkLst>
            <pc:docMk/>
            <pc:sldMk cId="459806595" sldId="580"/>
            <ac:spMk id="648" creationId="{40150372-BC31-9F55-C67A-CBE973493F2E}"/>
          </ac:spMkLst>
        </pc:spChg>
        <pc:spChg chg="replST">
          <ac:chgData name="Bullinger, Marvin" userId="5b54ce5a-dc89-476f-af33-5abd75d5b1e8" providerId="ADAL" clId="{265A6489-94A2-4E64-A25F-E64F69B0C2C1}" dt="2024-03-05T20:07:14.682" v="450"/>
          <ac:spMkLst>
            <pc:docMk/>
            <pc:sldMk cId="459806595" sldId="580"/>
            <ac:spMk id="649" creationId="{6530A1DD-0A9D-2587-0353-8D7CC7FBBD9C}"/>
          </ac:spMkLst>
        </pc:spChg>
        <pc:spChg chg="del ord replST">
          <ac:chgData name="Bullinger, Marvin" userId="5b54ce5a-dc89-476f-af33-5abd75d5b1e8" providerId="ADAL" clId="{265A6489-94A2-4E64-A25F-E64F69B0C2C1}" dt="2024-03-05T20:17:17.851" v="760" actId="478"/>
          <ac:spMkLst>
            <pc:docMk/>
            <pc:sldMk cId="459806595" sldId="580"/>
            <ac:spMk id="650" creationId="{2358CB1C-435E-14DC-6125-5A4DD8EE6BB5}"/>
          </ac:spMkLst>
        </pc:spChg>
        <pc:spChg chg="replST">
          <ac:chgData name="Bullinger, Marvin" userId="5b54ce5a-dc89-476f-af33-5abd75d5b1e8" providerId="ADAL" clId="{265A6489-94A2-4E64-A25F-E64F69B0C2C1}" dt="2024-03-05T20:07:14.687" v="454"/>
          <ac:spMkLst>
            <pc:docMk/>
            <pc:sldMk cId="459806595" sldId="580"/>
            <ac:spMk id="651" creationId="{6400ECDD-9A67-6D1F-7697-25E320C0FC87}"/>
          </ac:spMkLst>
        </pc:spChg>
        <pc:spChg chg="replST">
          <ac:chgData name="Bullinger, Marvin" userId="5b54ce5a-dc89-476f-af33-5abd75d5b1e8" providerId="ADAL" clId="{265A6489-94A2-4E64-A25F-E64F69B0C2C1}" dt="2024-03-05T20:07:14.690" v="457"/>
          <ac:spMkLst>
            <pc:docMk/>
            <pc:sldMk cId="459806595" sldId="580"/>
            <ac:spMk id="652" creationId="{27C66F40-55CD-44B9-92DB-BC5DC3C3130C}"/>
          </ac:spMkLst>
        </pc:spChg>
        <pc:spChg chg="replST">
          <ac:chgData name="Bullinger, Marvin" userId="5b54ce5a-dc89-476f-af33-5abd75d5b1e8" providerId="ADAL" clId="{265A6489-94A2-4E64-A25F-E64F69B0C2C1}" dt="2024-03-05T20:07:14.694" v="461"/>
          <ac:spMkLst>
            <pc:docMk/>
            <pc:sldMk cId="459806595" sldId="580"/>
            <ac:spMk id="654" creationId="{88B3725A-71BA-B97D-63B1-3ED480052CEA}"/>
          </ac:spMkLst>
        </pc:spChg>
        <pc:spChg chg="replST">
          <ac:chgData name="Bullinger, Marvin" userId="5b54ce5a-dc89-476f-af33-5abd75d5b1e8" providerId="ADAL" clId="{265A6489-94A2-4E64-A25F-E64F69B0C2C1}" dt="2024-03-05T20:07:14.698" v="464"/>
          <ac:spMkLst>
            <pc:docMk/>
            <pc:sldMk cId="459806595" sldId="580"/>
            <ac:spMk id="655" creationId="{2BC7D835-6C1C-A9DF-1DF0-BA9DC02D2CCE}"/>
          </ac:spMkLst>
        </pc:spChg>
        <pc:spChg chg="del">
          <ac:chgData name="Bullinger, Marvin" userId="5b54ce5a-dc89-476f-af33-5abd75d5b1e8" providerId="ADAL" clId="{265A6489-94A2-4E64-A25F-E64F69B0C2C1}" dt="2024-03-05T20:17:17.866" v="776" actId="478"/>
          <ac:spMkLst>
            <pc:docMk/>
            <pc:sldMk cId="459806595" sldId="580"/>
            <ac:spMk id="658" creationId="{CD1AC0EC-0AF3-DCF6-D27E-04C38108D63A}"/>
          </ac:spMkLst>
        </pc:spChg>
        <pc:spChg chg="del">
          <ac:chgData name="Bullinger, Marvin" userId="5b54ce5a-dc89-476f-af33-5abd75d5b1e8" providerId="ADAL" clId="{265A6489-94A2-4E64-A25F-E64F69B0C2C1}" dt="2024-03-05T20:17:17.865" v="775" actId="478"/>
          <ac:spMkLst>
            <pc:docMk/>
            <pc:sldMk cId="459806595" sldId="580"/>
            <ac:spMk id="659" creationId="{BEC4B25D-BD85-F950-CAC8-60E462644AF1}"/>
          </ac:spMkLst>
        </pc:spChg>
        <pc:spChg chg="del">
          <ac:chgData name="Bullinger, Marvin" userId="5b54ce5a-dc89-476f-af33-5abd75d5b1e8" providerId="ADAL" clId="{265A6489-94A2-4E64-A25F-E64F69B0C2C1}" dt="2024-03-05T20:17:17.865" v="774" actId="478"/>
          <ac:spMkLst>
            <pc:docMk/>
            <pc:sldMk cId="459806595" sldId="580"/>
            <ac:spMk id="660" creationId="{FC3E6779-9832-84CA-4724-0A345E8D2B5F}"/>
          </ac:spMkLst>
        </pc:spChg>
        <pc:spChg chg="del">
          <ac:chgData name="Bullinger, Marvin" userId="5b54ce5a-dc89-476f-af33-5abd75d5b1e8" providerId="ADAL" clId="{265A6489-94A2-4E64-A25F-E64F69B0C2C1}" dt="2024-03-05T20:17:17.865" v="773" actId="478"/>
          <ac:spMkLst>
            <pc:docMk/>
            <pc:sldMk cId="459806595" sldId="580"/>
            <ac:spMk id="661" creationId="{F8A687FA-934F-C3A2-AA54-0024E546D306}"/>
          </ac:spMkLst>
        </pc:spChg>
        <pc:spChg chg="del">
          <ac:chgData name="Bullinger, Marvin" userId="5b54ce5a-dc89-476f-af33-5abd75d5b1e8" providerId="ADAL" clId="{265A6489-94A2-4E64-A25F-E64F69B0C2C1}" dt="2024-03-05T20:17:17.864" v="772" actId="478"/>
          <ac:spMkLst>
            <pc:docMk/>
            <pc:sldMk cId="459806595" sldId="580"/>
            <ac:spMk id="662" creationId="{5DA4D807-DAD0-EC50-4ACF-AC0CB3110A34}"/>
          </ac:spMkLst>
        </pc:spChg>
        <pc:spChg chg="del">
          <ac:chgData name="Bullinger, Marvin" userId="5b54ce5a-dc89-476f-af33-5abd75d5b1e8" providerId="ADAL" clId="{265A6489-94A2-4E64-A25F-E64F69B0C2C1}" dt="2024-03-05T20:17:17.864" v="771" actId="478"/>
          <ac:spMkLst>
            <pc:docMk/>
            <pc:sldMk cId="459806595" sldId="580"/>
            <ac:spMk id="663" creationId="{AF25C0EC-42BD-7ED9-7B24-D4EDD3660C51}"/>
          </ac:spMkLst>
        </pc:spChg>
        <pc:spChg chg="del">
          <ac:chgData name="Bullinger, Marvin" userId="5b54ce5a-dc89-476f-af33-5abd75d5b1e8" providerId="ADAL" clId="{265A6489-94A2-4E64-A25F-E64F69B0C2C1}" dt="2024-03-05T20:17:17.864" v="770" actId="478"/>
          <ac:spMkLst>
            <pc:docMk/>
            <pc:sldMk cId="459806595" sldId="580"/>
            <ac:spMk id="664" creationId="{F09FF008-2734-D4E4-4A79-ACF55AA66CA6}"/>
          </ac:spMkLst>
        </pc:spChg>
        <pc:spChg chg="del">
          <ac:chgData name="Bullinger, Marvin" userId="5b54ce5a-dc89-476f-af33-5abd75d5b1e8" providerId="ADAL" clId="{265A6489-94A2-4E64-A25F-E64F69B0C2C1}" dt="2024-03-05T20:17:17.863" v="769" actId="478"/>
          <ac:spMkLst>
            <pc:docMk/>
            <pc:sldMk cId="459806595" sldId="580"/>
            <ac:spMk id="665" creationId="{5446A348-A9EA-3048-69F0-81FEAC491D94}"/>
          </ac:spMkLst>
        </pc:spChg>
        <pc:spChg chg="del">
          <ac:chgData name="Bullinger, Marvin" userId="5b54ce5a-dc89-476f-af33-5abd75d5b1e8" providerId="ADAL" clId="{265A6489-94A2-4E64-A25F-E64F69B0C2C1}" dt="2024-03-05T20:17:17.863" v="768" actId="478"/>
          <ac:spMkLst>
            <pc:docMk/>
            <pc:sldMk cId="459806595" sldId="580"/>
            <ac:spMk id="666" creationId="{62D299D5-4C3E-E7CA-B292-71AC8543C574}"/>
          </ac:spMkLst>
        </pc:spChg>
        <pc:spChg chg="del">
          <ac:chgData name="Bullinger, Marvin" userId="5b54ce5a-dc89-476f-af33-5abd75d5b1e8" providerId="ADAL" clId="{265A6489-94A2-4E64-A25F-E64F69B0C2C1}" dt="2024-03-05T20:17:17.863" v="767" actId="478"/>
          <ac:spMkLst>
            <pc:docMk/>
            <pc:sldMk cId="459806595" sldId="580"/>
            <ac:spMk id="667" creationId="{29E606BA-C871-AC22-5C35-840356CF4ED6}"/>
          </ac:spMkLst>
        </pc:spChg>
        <pc:spChg chg="del">
          <ac:chgData name="Bullinger, Marvin" userId="5b54ce5a-dc89-476f-af33-5abd75d5b1e8" providerId="ADAL" clId="{265A6489-94A2-4E64-A25F-E64F69B0C2C1}" dt="2024-03-05T20:17:17.862" v="766" actId="478"/>
          <ac:spMkLst>
            <pc:docMk/>
            <pc:sldMk cId="459806595" sldId="580"/>
            <ac:spMk id="668" creationId="{6573936C-8175-D4B2-D30D-08B974D891F6}"/>
          </ac:spMkLst>
        </pc:spChg>
        <pc:spChg chg="del">
          <ac:chgData name="Bullinger, Marvin" userId="5b54ce5a-dc89-476f-af33-5abd75d5b1e8" providerId="ADAL" clId="{265A6489-94A2-4E64-A25F-E64F69B0C2C1}" dt="2024-03-05T20:17:17.862" v="765" actId="478"/>
          <ac:spMkLst>
            <pc:docMk/>
            <pc:sldMk cId="459806595" sldId="580"/>
            <ac:spMk id="669" creationId="{65E73255-D9D1-3388-9F3B-3294B901DBB9}"/>
          </ac:spMkLst>
        </pc:spChg>
        <pc:spChg chg="del">
          <ac:chgData name="Bullinger, Marvin" userId="5b54ce5a-dc89-476f-af33-5abd75d5b1e8" providerId="ADAL" clId="{265A6489-94A2-4E64-A25F-E64F69B0C2C1}" dt="2024-03-05T20:17:17.862" v="764" actId="478"/>
          <ac:spMkLst>
            <pc:docMk/>
            <pc:sldMk cId="459806595" sldId="580"/>
            <ac:spMk id="670" creationId="{61194051-A95A-6F92-784F-715B48CC7234}"/>
          </ac:spMkLst>
        </pc:spChg>
        <pc:spChg chg="replST">
          <ac:chgData name="Bullinger, Marvin" userId="5b54ce5a-dc89-476f-af33-5abd75d5b1e8" providerId="ADAL" clId="{265A6489-94A2-4E64-A25F-E64F69B0C2C1}" dt="2024-03-05T20:17:18.166" v="1025"/>
          <ac:spMkLst>
            <pc:docMk/>
            <pc:sldMk cId="459806595" sldId="580"/>
            <ac:spMk id="671" creationId="{FE338463-CA92-12B9-C408-195A249955E0}"/>
          </ac:spMkLst>
        </pc:spChg>
        <pc:spChg chg="add mod">
          <ac:chgData name="Bullinger, Marvin" userId="5b54ce5a-dc89-476f-af33-5abd75d5b1e8" providerId="ADAL" clId="{265A6489-94A2-4E64-A25F-E64F69B0C2C1}" dt="2024-03-05T20:17:17.850" v="758" actId="478"/>
          <ac:spMkLst>
            <pc:docMk/>
            <pc:sldMk cId="459806595" sldId="580"/>
            <ac:spMk id="681" creationId="{7A749301-99B2-87E3-6A2A-7AFF23311DD0}"/>
          </ac:spMkLst>
        </pc:spChg>
        <pc:spChg chg="add mod">
          <ac:chgData name="Bullinger, Marvin" userId="5b54ce5a-dc89-476f-af33-5abd75d5b1e8" providerId="ADAL" clId="{265A6489-94A2-4E64-A25F-E64F69B0C2C1}" dt="2024-03-05T20:07:14.429" v="227" actId="478"/>
          <ac:spMkLst>
            <pc:docMk/>
            <pc:sldMk cId="459806595" sldId="580"/>
            <ac:spMk id="681" creationId="{9E13B93E-010E-A607-B64C-86506F3D0C8C}"/>
          </ac:spMkLst>
        </pc:spChg>
        <pc:spChg chg="del mod ord replST">
          <ac:chgData name="Bullinger, Marvin" userId="5b54ce5a-dc89-476f-af33-5abd75d5b1e8" providerId="ADAL" clId="{265A6489-94A2-4E64-A25F-E64F69B0C2C1}" dt="2024-03-05T20:17:17.850" v="758" actId="478"/>
          <ac:spMkLst>
            <pc:docMk/>
            <pc:sldMk cId="459806595" sldId="580"/>
            <ac:spMk id="682" creationId="{D5021F61-D6BF-0A1F-16FF-4C3E30F63283}"/>
          </ac:spMkLst>
        </pc:spChg>
        <pc:spChg chg="del">
          <ac:chgData name="Bullinger, Marvin" userId="5b54ce5a-dc89-476f-af33-5abd75d5b1e8" providerId="ADAL" clId="{265A6489-94A2-4E64-A25F-E64F69B0C2C1}" dt="2024-03-05T20:07:14.429" v="227" actId="478"/>
          <ac:spMkLst>
            <pc:docMk/>
            <pc:sldMk cId="459806595" sldId="580"/>
            <ac:spMk id="683" creationId="{566EFFC3-2CAC-3919-B2F9-2EB3AF1A9AFF}"/>
          </ac:spMkLst>
        </pc:spChg>
        <pc:spChg chg="del mod ord replST">
          <ac:chgData name="Bullinger, Marvin" userId="5b54ce5a-dc89-476f-af33-5abd75d5b1e8" providerId="ADAL" clId="{265A6489-94A2-4E64-A25F-E64F69B0C2C1}" dt="2024-03-05T22:19:10.201" v="4467" actId="478"/>
          <ac:spMkLst>
            <pc:docMk/>
            <pc:sldMk cId="459806595" sldId="580"/>
            <ac:spMk id="683" creationId="{A7159D7A-CB01-A7EE-0D95-11413B4F1410}"/>
          </ac:spMkLst>
        </pc:spChg>
        <pc:spChg chg="del">
          <ac:chgData name="Bullinger, Marvin" userId="5b54ce5a-dc89-476f-af33-5abd75d5b1e8" providerId="ADAL" clId="{265A6489-94A2-4E64-A25F-E64F69B0C2C1}" dt="2024-03-05T20:07:14.452" v="263" actId="478"/>
          <ac:spMkLst>
            <pc:docMk/>
            <pc:sldMk cId="459806595" sldId="580"/>
            <ac:spMk id="684" creationId="{A599CC1A-657A-1BEB-F49C-BD7A5547BCB7}"/>
          </ac:spMkLst>
        </pc:spChg>
        <pc:spChg chg="del">
          <ac:chgData name="Bullinger, Marvin" userId="5b54ce5a-dc89-476f-af33-5abd75d5b1e8" providerId="ADAL" clId="{265A6489-94A2-4E64-A25F-E64F69B0C2C1}" dt="2024-03-05T20:17:17.871" v="792" actId="478"/>
          <ac:spMkLst>
            <pc:docMk/>
            <pc:sldMk cId="459806595" sldId="580"/>
            <ac:spMk id="684" creationId="{DEE6A3F3-5568-E2FF-BFE7-96861E49DFCA}"/>
          </ac:spMkLst>
        </pc:spChg>
        <pc:spChg chg="del">
          <ac:chgData name="Bullinger, Marvin" userId="5b54ce5a-dc89-476f-af33-5abd75d5b1e8" providerId="ADAL" clId="{265A6489-94A2-4E64-A25F-E64F69B0C2C1}" dt="2024-03-05T20:17:17.871" v="791" actId="478"/>
          <ac:spMkLst>
            <pc:docMk/>
            <pc:sldMk cId="459806595" sldId="580"/>
            <ac:spMk id="685" creationId="{51E8495F-482B-AE6C-98AC-8A4BFC8633F1}"/>
          </ac:spMkLst>
        </pc:spChg>
        <pc:spChg chg="del">
          <ac:chgData name="Bullinger, Marvin" userId="5b54ce5a-dc89-476f-af33-5abd75d5b1e8" providerId="ADAL" clId="{265A6489-94A2-4E64-A25F-E64F69B0C2C1}" dt="2024-03-05T20:07:14.452" v="262" actId="478"/>
          <ac:spMkLst>
            <pc:docMk/>
            <pc:sldMk cId="459806595" sldId="580"/>
            <ac:spMk id="685" creationId="{75B21862-FB9B-F34A-18D2-B492096BD631}"/>
          </ac:spMkLst>
        </pc:spChg>
        <pc:spChg chg="del">
          <ac:chgData name="Bullinger, Marvin" userId="5b54ce5a-dc89-476f-af33-5abd75d5b1e8" providerId="ADAL" clId="{265A6489-94A2-4E64-A25F-E64F69B0C2C1}" dt="2024-03-05T20:17:17.871" v="790" actId="478"/>
          <ac:spMkLst>
            <pc:docMk/>
            <pc:sldMk cId="459806595" sldId="580"/>
            <ac:spMk id="686" creationId="{13F072CC-BE4C-9671-8EB8-277B2E4DD06F}"/>
          </ac:spMkLst>
        </pc:spChg>
        <pc:spChg chg="del">
          <ac:chgData name="Bullinger, Marvin" userId="5b54ce5a-dc89-476f-af33-5abd75d5b1e8" providerId="ADAL" clId="{265A6489-94A2-4E64-A25F-E64F69B0C2C1}" dt="2024-03-05T20:07:14.452" v="261" actId="478"/>
          <ac:spMkLst>
            <pc:docMk/>
            <pc:sldMk cId="459806595" sldId="580"/>
            <ac:spMk id="686" creationId="{3F8625FE-2327-AE37-59B2-0579B783E772}"/>
          </ac:spMkLst>
        </pc:spChg>
        <pc:spChg chg="del">
          <ac:chgData name="Bullinger, Marvin" userId="5b54ce5a-dc89-476f-af33-5abd75d5b1e8" providerId="ADAL" clId="{265A6489-94A2-4E64-A25F-E64F69B0C2C1}" dt="2024-03-05T20:17:17.870" v="789" actId="478"/>
          <ac:spMkLst>
            <pc:docMk/>
            <pc:sldMk cId="459806595" sldId="580"/>
            <ac:spMk id="687" creationId="{7AEE66C0-8CE6-0553-C0EE-5236B2470424}"/>
          </ac:spMkLst>
        </pc:spChg>
        <pc:spChg chg="del">
          <ac:chgData name="Bullinger, Marvin" userId="5b54ce5a-dc89-476f-af33-5abd75d5b1e8" providerId="ADAL" clId="{265A6489-94A2-4E64-A25F-E64F69B0C2C1}" dt="2024-03-05T20:07:14.451" v="260" actId="478"/>
          <ac:spMkLst>
            <pc:docMk/>
            <pc:sldMk cId="459806595" sldId="580"/>
            <ac:spMk id="687" creationId="{93FAEB4F-DB0B-3A0A-94B9-E18595888E48}"/>
          </ac:spMkLst>
        </pc:spChg>
        <pc:spChg chg="del">
          <ac:chgData name="Bullinger, Marvin" userId="5b54ce5a-dc89-476f-af33-5abd75d5b1e8" providerId="ADAL" clId="{265A6489-94A2-4E64-A25F-E64F69B0C2C1}" dt="2024-03-05T20:17:17.870" v="788" actId="478"/>
          <ac:spMkLst>
            <pc:docMk/>
            <pc:sldMk cId="459806595" sldId="580"/>
            <ac:spMk id="688" creationId="{54068B11-884B-EEEF-48FB-E5A5D4FCD1C4}"/>
          </ac:spMkLst>
        </pc:spChg>
        <pc:spChg chg="del">
          <ac:chgData name="Bullinger, Marvin" userId="5b54ce5a-dc89-476f-af33-5abd75d5b1e8" providerId="ADAL" clId="{265A6489-94A2-4E64-A25F-E64F69B0C2C1}" dt="2024-03-05T20:07:14.451" v="259" actId="478"/>
          <ac:spMkLst>
            <pc:docMk/>
            <pc:sldMk cId="459806595" sldId="580"/>
            <ac:spMk id="688" creationId="{8EB3FC1B-BFCA-E68F-A8E7-900D81893DD7}"/>
          </ac:spMkLst>
        </pc:spChg>
        <pc:spChg chg="del">
          <ac:chgData name="Bullinger, Marvin" userId="5b54ce5a-dc89-476f-af33-5abd75d5b1e8" providerId="ADAL" clId="{265A6489-94A2-4E64-A25F-E64F69B0C2C1}" dt="2024-03-05T20:17:17.870" v="787" actId="478"/>
          <ac:spMkLst>
            <pc:docMk/>
            <pc:sldMk cId="459806595" sldId="580"/>
            <ac:spMk id="689" creationId="{106FF745-8D8D-A529-BAB3-697897BE09D9}"/>
          </ac:spMkLst>
        </pc:spChg>
        <pc:spChg chg="del">
          <ac:chgData name="Bullinger, Marvin" userId="5b54ce5a-dc89-476f-af33-5abd75d5b1e8" providerId="ADAL" clId="{265A6489-94A2-4E64-A25F-E64F69B0C2C1}" dt="2024-03-05T20:07:14.451" v="258" actId="478"/>
          <ac:spMkLst>
            <pc:docMk/>
            <pc:sldMk cId="459806595" sldId="580"/>
            <ac:spMk id="689" creationId="{85146C96-BED9-FB87-AE35-A98AA6CF1452}"/>
          </ac:spMkLst>
        </pc:spChg>
        <pc:spChg chg="del">
          <ac:chgData name="Bullinger, Marvin" userId="5b54ce5a-dc89-476f-af33-5abd75d5b1e8" providerId="ADAL" clId="{265A6489-94A2-4E64-A25F-E64F69B0C2C1}" dt="2024-03-05T20:07:14.450" v="255" actId="478"/>
          <ac:spMkLst>
            <pc:docMk/>
            <pc:sldMk cId="459806595" sldId="580"/>
            <ac:spMk id="690" creationId="{47C577A9-87E3-7339-A789-AF368016EE7B}"/>
          </ac:spMkLst>
        </pc:spChg>
        <pc:spChg chg="del">
          <ac:chgData name="Bullinger, Marvin" userId="5b54ce5a-dc89-476f-af33-5abd75d5b1e8" providerId="ADAL" clId="{265A6489-94A2-4E64-A25F-E64F69B0C2C1}" dt="2024-03-05T20:17:17.868" v="784" actId="478"/>
          <ac:spMkLst>
            <pc:docMk/>
            <pc:sldMk cId="459806595" sldId="580"/>
            <ac:spMk id="690" creationId="{87E02D20-994F-4136-C699-6A5A749D91AB}"/>
          </ac:spMkLst>
        </pc:spChg>
        <pc:spChg chg="del">
          <ac:chgData name="Bullinger, Marvin" userId="5b54ce5a-dc89-476f-af33-5abd75d5b1e8" providerId="ADAL" clId="{265A6489-94A2-4E64-A25F-E64F69B0C2C1}" dt="2024-03-05T20:17:17.868" v="783" actId="478"/>
          <ac:spMkLst>
            <pc:docMk/>
            <pc:sldMk cId="459806595" sldId="580"/>
            <ac:spMk id="691" creationId="{330EDCAF-E932-8FE4-C41C-31FE9B81DB6E}"/>
          </ac:spMkLst>
        </pc:spChg>
        <pc:spChg chg="del">
          <ac:chgData name="Bullinger, Marvin" userId="5b54ce5a-dc89-476f-af33-5abd75d5b1e8" providerId="ADAL" clId="{265A6489-94A2-4E64-A25F-E64F69B0C2C1}" dt="2024-03-05T20:07:14.449" v="254" actId="478"/>
          <ac:spMkLst>
            <pc:docMk/>
            <pc:sldMk cId="459806595" sldId="580"/>
            <ac:spMk id="691" creationId="{CDB68776-EB96-0671-139F-E2C525D5DA35}"/>
          </ac:spMkLst>
        </pc:spChg>
        <pc:spChg chg="del">
          <ac:chgData name="Bullinger, Marvin" userId="5b54ce5a-dc89-476f-af33-5abd75d5b1e8" providerId="ADAL" clId="{265A6489-94A2-4E64-A25F-E64F69B0C2C1}" dt="2024-03-05T20:07:14.449" v="253" actId="478"/>
          <ac:spMkLst>
            <pc:docMk/>
            <pc:sldMk cId="459806595" sldId="580"/>
            <ac:spMk id="692" creationId="{05CEDEF0-FBD5-FC7C-50B8-DEEB4F89945C}"/>
          </ac:spMkLst>
        </pc:spChg>
        <pc:spChg chg="del">
          <ac:chgData name="Bullinger, Marvin" userId="5b54ce5a-dc89-476f-af33-5abd75d5b1e8" providerId="ADAL" clId="{265A6489-94A2-4E64-A25F-E64F69B0C2C1}" dt="2024-03-05T20:17:17.868" v="782" actId="478"/>
          <ac:spMkLst>
            <pc:docMk/>
            <pc:sldMk cId="459806595" sldId="580"/>
            <ac:spMk id="692" creationId="{9731C32B-9AB3-1AF9-AFD3-BFB25EED93AE}"/>
          </ac:spMkLst>
        </pc:spChg>
        <pc:spChg chg="del">
          <ac:chgData name="Bullinger, Marvin" userId="5b54ce5a-dc89-476f-af33-5abd75d5b1e8" providerId="ADAL" clId="{265A6489-94A2-4E64-A25F-E64F69B0C2C1}" dt="2024-03-05T20:07:14.448" v="252" actId="478"/>
          <ac:spMkLst>
            <pc:docMk/>
            <pc:sldMk cId="459806595" sldId="580"/>
            <ac:spMk id="693" creationId="{28BFA432-3C29-98F8-B852-321AFBAA6CB5}"/>
          </ac:spMkLst>
        </pc:spChg>
        <pc:spChg chg="del">
          <ac:chgData name="Bullinger, Marvin" userId="5b54ce5a-dc89-476f-af33-5abd75d5b1e8" providerId="ADAL" clId="{265A6489-94A2-4E64-A25F-E64F69B0C2C1}" dt="2024-03-05T20:17:17.867" v="781" actId="478"/>
          <ac:spMkLst>
            <pc:docMk/>
            <pc:sldMk cId="459806595" sldId="580"/>
            <ac:spMk id="693" creationId="{CD116AE8-0ED9-C9C6-A478-64D52BF03F76}"/>
          </ac:spMkLst>
        </pc:spChg>
        <pc:spChg chg="del">
          <ac:chgData name="Bullinger, Marvin" userId="5b54ce5a-dc89-476f-af33-5abd75d5b1e8" providerId="ADAL" clId="{265A6489-94A2-4E64-A25F-E64F69B0C2C1}" dt="2024-03-05T20:07:14.448" v="251" actId="478"/>
          <ac:spMkLst>
            <pc:docMk/>
            <pc:sldMk cId="459806595" sldId="580"/>
            <ac:spMk id="694" creationId="{282627FF-075F-E9F3-7242-448678B20B0F}"/>
          </ac:spMkLst>
        </pc:spChg>
        <pc:spChg chg="del">
          <ac:chgData name="Bullinger, Marvin" userId="5b54ce5a-dc89-476f-af33-5abd75d5b1e8" providerId="ADAL" clId="{265A6489-94A2-4E64-A25F-E64F69B0C2C1}" dt="2024-03-05T20:17:17.867" v="780" actId="478"/>
          <ac:spMkLst>
            <pc:docMk/>
            <pc:sldMk cId="459806595" sldId="580"/>
            <ac:spMk id="694" creationId="{FB6F171D-4B45-B17A-336D-E3C3571B4D69}"/>
          </ac:spMkLst>
        </pc:spChg>
        <pc:spChg chg="del">
          <ac:chgData name="Bullinger, Marvin" userId="5b54ce5a-dc89-476f-af33-5abd75d5b1e8" providerId="ADAL" clId="{265A6489-94A2-4E64-A25F-E64F69B0C2C1}" dt="2024-03-05T20:17:17.867" v="779" actId="478"/>
          <ac:spMkLst>
            <pc:docMk/>
            <pc:sldMk cId="459806595" sldId="580"/>
            <ac:spMk id="695" creationId="{B9F08ABE-29A0-933C-FA31-1741BF9DE779}"/>
          </ac:spMkLst>
        </pc:spChg>
        <pc:spChg chg="del">
          <ac:chgData name="Bullinger, Marvin" userId="5b54ce5a-dc89-476f-af33-5abd75d5b1e8" providerId="ADAL" clId="{265A6489-94A2-4E64-A25F-E64F69B0C2C1}" dt="2024-03-05T20:07:14.448" v="250" actId="478"/>
          <ac:spMkLst>
            <pc:docMk/>
            <pc:sldMk cId="459806595" sldId="580"/>
            <ac:spMk id="695" creationId="{DD0EC54A-FCE9-1E50-ACF2-629D1B2C35AE}"/>
          </ac:spMkLst>
        </pc:spChg>
        <pc:spChg chg="del">
          <ac:chgData name="Bullinger, Marvin" userId="5b54ce5a-dc89-476f-af33-5abd75d5b1e8" providerId="ADAL" clId="{265A6489-94A2-4E64-A25F-E64F69B0C2C1}" dt="2024-03-05T20:17:17.874" v="800" actId="478"/>
          <ac:spMkLst>
            <pc:docMk/>
            <pc:sldMk cId="459806595" sldId="580"/>
            <ac:spMk id="696" creationId="{8FD8E886-D675-245B-3D97-0AEEC559D30B}"/>
          </ac:spMkLst>
        </pc:spChg>
        <pc:spChg chg="del">
          <ac:chgData name="Bullinger, Marvin" userId="5b54ce5a-dc89-476f-af33-5abd75d5b1e8" providerId="ADAL" clId="{265A6489-94A2-4E64-A25F-E64F69B0C2C1}" dt="2024-03-05T20:07:14.455" v="271" actId="478"/>
          <ac:spMkLst>
            <pc:docMk/>
            <pc:sldMk cId="459806595" sldId="580"/>
            <ac:spMk id="696" creationId="{EBDE2A0B-C643-5000-AA1E-ADA19DCA330B}"/>
          </ac:spMkLst>
        </pc:spChg>
        <pc:spChg chg="del">
          <ac:chgData name="Bullinger, Marvin" userId="5b54ce5a-dc89-476f-af33-5abd75d5b1e8" providerId="ADAL" clId="{265A6489-94A2-4E64-A25F-E64F69B0C2C1}" dt="2024-03-05T20:17:17.874" v="799" actId="478"/>
          <ac:spMkLst>
            <pc:docMk/>
            <pc:sldMk cId="459806595" sldId="580"/>
            <ac:spMk id="697" creationId="{74C1AAC2-8D92-987D-A6E2-041D5CB6D6B0}"/>
          </ac:spMkLst>
        </pc:spChg>
        <pc:spChg chg="del">
          <ac:chgData name="Bullinger, Marvin" userId="5b54ce5a-dc89-476f-af33-5abd75d5b1e8" providerId="ADAL" clId="{265A6489-94A2-4E64-A25F-E64F69B0C2C1}" dt="2024-03-05T20:07:14.455" v="270" actId="478"/>
          <ac:spMkLst>
            <pc:docMk/>
            <pc:sldMk cId="459806595" sldId="580"/>
            <ac:spMk id="697" creationId="{C027A663-9FA0-AEDC-9213-9E3EBEF89ABB}"/>
          </ac:spMkLst>
        </pc:spChg>
        <pc:spChg chg="del">
          <ac:chgData name="Bullinger, Marvin" userId="5b54ce5a-dc89-476f-af33-5abd75d5b1e8" providerId="ADAL" clId="{265A6489-94A2-4E64-A25F-E64F69B0C2C1}" dt="2024-03-05T20:07:14.454" v="269" actId="478"/>
          <ac:spMkLst>
            <pc:docMk/>
            <pc:sldMk cId="459806595" sldId="580"/>
            <ac:spMk id="698" creationId="{50FFE9D4-653B-8BBD-6421-E9C7DA0270EC}"/>
          </ac:spMkLst>
        </pc:spChg>
        <pc:spChg chg="del">
          <ac:chgData name="Bullinger, Marvin" userId="5b54ce5a-dc89-476f-af33-5abd75d5b1e8" providerId="ADAL" clId="{265A6489-94A2-4E64-A25F-E64F69B0C2C1}" dt="2024-03-05T20:17:17.873" v="798" actId="478"/>
          <ac:spMkLst>
            <pc:docMk/>
            <pc:sldMk cId="459806595" sldId="580"/>
            <ac:spMk id="698" creationId="{D908F84F-1E92-B6FC-F4AF-90E40EC25D96}"/>
          </ac:spMkLst>
        </pc:spChg>
        <pc:spChg chg="del">
          <ac:chgData name="Bullinger, Marvin" userId="5b54ce5a-dc89-476f-af33-5abd75d5b1e8" providerId="ADAL" clId="{265A6489-94A2-4E64-A25F-E64F69B0C2C1}" dt="2024-03-05T20:07:14.454" v="268" actId="478"/>
          <ac:spMkLst>
            <pc:docMk/>
            <pc:sldMk cId="459806595" sldId="580"/>
            <ac:spMk id="699" creationId="{8BA2714A-FAAE-E824-B627-34DBC2923A6E}"/>
          </ac:spMkLst>
        </pc:spChg>
        <pc:spChg chg="del">
          <ac:chgData name="Bullinger, Marvin" userId="5b54ce5a-dc89-476f-af33-5abd75d5b1e8" providerId="ADAL" clId="{265A6489-94A2-4E64-A25F-E64F69B0C2C1}" dt="2024-03-05T20:17:17.873" v="797" actId="478"/>
          <ac:spMkLst>
            <pc:docMk/>
            <pc:sldMk cId="459806595" sldId="580"/>
            <ac:spMk id="699" creationId="{E286B7D7-1767-9E36-AB1C-72BD999BBC09}"/>
          </ac:spMkLst>
        </pc:spChg>
        <pc:spChg chg="del">
          <ac:chgData name="Bullinger, Marvin" userId="5b54ce5a-dc89-476f-af33-5abd75d5b1e8" providerId="ADAL" clId="{265A6489-94A2-4E64-A25F-E64F69B0C2C1}" dt="2024-03-05T20:17:17.873" v="796" actId="478"/>
          <ac:spMkLst>
            <pc:docMk/>
            <pc:sldMk cId="459806595" sldId="580"/>
            <ac:spMk id="700" creationId="{6DF2BEFD-4047-94E2-138D-171A3C84AFE8}"/>
          </ac:spMkLst>
        </pc:spChg>
        <pc:spChg chg="del">
          <ac:chgData name="Bullinger, Marvin" userId="5b54ce5a-dc89-476f-af33-5abd75d5b1e8" providerId="ADAL" clId="{265A6489-94A2-4E64-A25F-E64F69B0C2C1}" dt="2024-03-05T20:07:14.454" v="267" actId="478"/>
          <ac:spMkLst>
            <pc:docMk/>
            <pc:sldMk cId="459806595" sldId="580"/>
            <ac:spMk id="700" creationId="{76E3B9F4-A338-5B9F-E41B-CB7A385F3D24}"/>
          </ac:spMkLst>
        </pc:spChg>
        <pc:spChg chg="del">
          <ac:chgData name="Bullinger, Marvin" userId="5b54ce5a-dc89-476f-af33-5abd75d5b1e8" providerId="ADAL" clId="{265A6489-94A2-4E64-A25F-E64F69B0C2C1}" dt="2024-03-05T20:17:17.872" v="795" actId="478"/>
          <ac:spMkLst>
            <pc:docMk/>
            <pc:sldMk cId="459806595" sldId="580"/>
            <ac:spMk id="701" creationId="{28A66B4E-557E-30E7-9E9D-B076C382C186}"/>
          </ac:spMkLst>
        </pc:spChg>
        <pc:spChg chg="del">
          <ac:chgData name="Bullinger, Marvin" userId="5b54ce5a-dc89-476f-af33-5abd75d5b1e8" providerId="ADAL" clId="{265A6489-94A2-4E64-A25F-E64F69B0C2C1}" dt="2024-03-05T20:07:14.453" v="266" actId="478"/>
          <ac:spMkLst>
            <pc:docMk/>
            <pc:sldMk cId="459806595" sldId="580"/>
            <ac:spMk id="701" creationId="{D5D189EA-6993-8E49-ACF5-39D222A0AAEB}"/>
          </ac:spMkLst>
        </pc:spChg>
        <pc:spChg chg="del">
          <ac:chgData name="Bullinger, Marvin" userId="5b54ce5a-dc89-476f-af33-5abd75d5b1e8" providerId="ADAL" clId="{265A6489-94A2-4E64-A25F-E64F69B0C2C1}" dt="2024-03-05T20:07:14.453" v="265" actId="478"/>
          <ac:spMkLst>
            <pc:docMk/>
            <pc:sldMk cId="459806595" sldId="580"/>
            <ac:spMk id="702" creationId="{16A5037E-BB0B-3CF2-2680-3C83B3F6E7F3}"/>
          </ac:spMkLst>
        </pc:spChg>
        <pc:spChg chg="del">
          <ac:chgData name="Bullinger, Marvin" userId="5b54ce5a-dc89-476f-af33-5abd75d5b1e8" providerId="ADAL" clId="{265A6489-94A2-4E64-A25F-E64F69B0C2C1}" dt="2024-03-05T20:17:17.872" v="794" actId="478"/>
          <ac:spMkLst>
            <pc:docMk/>
            <pc:sldMk cId="459806595" sldId="580"/>
            <ac:spMk id="702" creationId="{E65D0065-1A74-86C9-E7AA-C4A8B3614B51}"/>
          </ac:spMkLst>
        </pc:spChg>
        <pc:spChg chg="del">
          <ac:chgData name="Bullinger, Marvin" userId="5b54ce5a-dc89-476f-af33-5abd75d5b1e8" providerId="ADAL" clId="{265A6489-94A2-4E64-A25F-E64F69B0C2C1}" dt="2024-03-05T20:07:14.453" v="264" actId="478"/>
          <ac:spMkLst>
            <pc:docMk/>
            <pc:sldMk cId="459806595" sldId="580"/>
            <ac:spMk id="703" creationId="{A21A3160-0F27-6767-BAD8-E85A81FD97FE}"/>
          </ac:spMkLst>
        </pc:spChg>
        <pc:spChg chg="del">
          <ac:chgData name="Bullinger, Marvin" userId="5b54ce5a-dc89-476f-af33-5abd75d5b1e8" providerId="ADAL" clId="{265A6489-94A2-4E64-A25F-E64F69B0C2C1}" dt="2024-03-05T20:17:17.872" v="793" actId="478"/>
          <ac:spMkLst>
            <pc:docMk/>
            <pc:sldMk cId="459806595" sldId="580"/>
            <ac:spMk id="703" creationId="{B4118095-7690-3285-4FC4-623EF9048D85}"/>
          </ac:spMkLst>
        </pc:spChg>
        <pc:spChg chg="replST">
          <ac:chgData name="Bullinger, Marvin" userId="5b54ce5a-dc89-476f-af33-5abd75d5b1e8" providerId="ADAL" clId="{265A6489-94A2-4E64-A25F-E64F69B0C2C1}" dt="2024-03-05T20:17:18.170" v="1028"/>
          <ac:spMkLst>
            <pc:docMk/>
            <pc:sldMk cId="459806595" sldId="580"/>
            <ac:spMk id="704" creationId="{013179A2-046E-B863-B4D4-07C45933C266}"/>
          </ac:spMkLst>
        </pc:spChg>
        <pc:spChg chg="del">
          <ac:chgData name="Bullinger, Marvin" userId="5b54ce5a-dc89-476f-af33-5abd75d5b1e8" providerId="ADAL" clId="{265A6489-94A2-4E64-A25F-E64F69B0C2C1}" dt="2024-03-05T20:07:14.450" v="256" actId="478"/>
          <ac:spMkLst>
            <pc:docMk/>
            <pc:sldMk cId="459806595" sldId="580"/>
            <ac:spMk id="704" creationId="{A24E2C76-B105-17B8-9D8E-89B3DC9C4A3F}"/>
          </ac:spMkLst>
        </pc:spChg>
        <pc:spChg chg="del">
          <ac:chgData name="Bullinger, Marvin" userId="5b54ce5a-dc89-476f-af33-5abd75d5b1e8" providerId="ADAL" clId="{265A6489-94A2-4E64-A25F-E64F69B0C2C1}" dt="2024-03-05T20:07:14.447" v="249" actId="478"/>
          <ac:spMkLst>
            <pc:docMk/>
            <pc:sldMk cId="459806595" sldId="580"/>
            <ac:spMk id="705" creationId="{5D58F437-1279-7C7F-303F-DDF0A12792BE}"/>
          </ac:spMkLst>
        </pc:spChg>
        <pc:spChg chg="del">
          <ac:chgData name="Bullinger, Marvin" userId="5b54ce5a-dc89-476f-af33-5abd75d5b1e8" providerId="ADAL" clId="{265A6489-94A2-4E64-A25F-E64F69B0C2C1}" dt="2024-03-05T20:07:14.450" v="257" actId="478"/>
          <ac:spMkLst>
            <pc:docMk/>
            <pc:sldMk cId="459806595" sldId="580"/>
            <ac:spMk id="706" creationId="{8BD20016-F6E0-B324-CDA6-99056AE995EE}"/>
          </ac:spMkLst>
        </pc:spChg>
        <pc:spChg chg="replST">
          <ac:chgData name="Bullinger, Marvin" userId="5b54ce5a-dc89-476f-af33-5abd75d5b1e8" providerId="ADAL" clId="{265A6489-94A2-4E64-A25F-E64F69B0C2C1}" dt="2024-03-05T20:17:18.175" v="1032"/>
          <ac:spMkLst>
            <pc:docMk/>
            <pc:sldMk cId="459806595" sldId="580"/>
            <ac:spMk id="706" creationId="{C7B32EF6-6F6F-7B8B-DE0D-FEB47B15D892}"/>
          </ac:spMkLst>
        </pc:spChg>
        <pc:spChg chg="replST">
          <ac:chgData name="Bullinger, Marvin" userId="5b54ce5a-dc89-476f-af33-5abd75d5b1e8" providerId="ADAL" clId="{265A6489-94A2-4E64-A25F-E64F69B0C2C1}" dt="2024-03-05T20:17:18.178" v="1035"/>
          <ac:spMkLst>
            <pc:docMk/>
            <pc:sldMk cId="459806595" sldId="580"/>
            <ac:spMk id="707" creationId="{1F33469F-8F78-4F71-97A8-016FAF805EA8}"/>
          </ac:spMkLst>
        </pc:spChg>
        <pc:spChg chg="del">
          <ac:chgData name="Bullinger, Marvin" userId="5b54ce5a-dc89-476f-af33-5abd75d5b1e8" providerId="ADAL" clId="{265A6489-94A2-4E64-A25F-E64F69B0C2C1}" dt="2024-03-05T20:07:14.447" v="248" actId="478"/>
          <ac:spMkLst>
            <pc:docMk/>
            <pc:sldMk cId="459806595" sldId="580"/>
            <ac:spMk id="707" creationId="{A03AA6C9-F57C-CD8E-9B3E-1995AE038A63}"/>
          </ac:spMkLst>
        </pc:spChg>
        <pc:spChg chg="del">
          <ac:chgData name="Bullinger, Marvin" userId="5b54ce5a-dc89-476f-af33-5abd75d5b1e8" providerId="ADAL" clId="{265A6489-94A2-4E64-A25F-E64F69B0C2C1}" dt="2024-03-05T20:07:14.447" v="247" actId="478"/>
          <ac:spMkLst>
            <pc:docMk/>
            <pc:sldMk cId="459806595" sldId="580"/>
            <ac:spMk id="708" creationId="{679F01BE-2CB1-ADF9-870E-19C7F66D8EC0}"/>
          </ac:spMkLst>
        </pc:spChg>
        <pc:spChg chg="del">
          <ac:chgData name="Bullinger, Marvin" userId="5b54ce5a-dc89-476f-af33-5abd75d5b1e8" providerId="ADAL" clId="{265A6489-94A2-4E64-A25F-E64F69B0C2C1}" dt="2024-03-05T20:07:14.446" v="246" actId="478"/>
          <ac:spMkLst>
            <pc:docMk/>
            <pc:sldMk cId="459806595" sldId="580"/>
            <ac:spMk id="709" creationId="{6CE11239-EA50-55A5-1D31-0AAEF2CAE4A2}"/>
          </ac:spMkLst>
        </pc:spChg>
        <pc:spChg chg="replST">
          <ac:chgData name="Bullinger, Marvin" userId="5b54ce5a-dc89-476f-af33-5abd75d5b1e8" providerId="ADAL" clId="{265A6489-94A2-4E64-A25F-E64F69B0C2C1}" dt="2024-03-05T20:17:18.182" v="1039"/>
          <ac:spMkLst>
            <pc:docMk/>
            <pc:sldMk cId="459806595" sldId="580"/>
            <ac:spMk id="709" creationId="{F5400F65-D47F-793F-8427-E64404E63259}"/>
          </ac:spMkLst>
        </pc:spChg>
        <pc:spChg chg="del">
          <ac:chgData name="Bullinger, Marvin" userId="5b54ce5a-dc89-476f-af33-5abd75d5b1e8" providerId="ADAL" clId="{265A6489-94A2-4E64-A25F-E64F69B0C2C1}" dt="2024-03-05T20:07:14.446" v="245" actId="478"/>
          <ac:spMkLst>
            <pc:docMk/>
            <pc:sldMk cId="459806595" sldId="580"/>
            <ac:spMk id="710" creationId="{AD08663C-578E-901D-F601-23980620CE9C}"/>
          </ac:spMkLst>
        </pc:spChg>
        <pc:spChg chg="replST">
          <ac:chgData name="Bullinger, Marvin" userId="5b54ce5a-dc89-476f-af33-5abd75d5b1e8" providerId="ADAL" clId="{265A6489-94A2-4E64-A25F-E64F69B0C2C1}" dt="2024-03-05T20:17:18.186" v="1042"/>
          <ac:spMkLst>
            <pc:docMk/>
            <pc:sldMk cId="459806595" sldId="580"/>
            <ac:spMk id="710" creationId="{D5A61E1A-F591-CD27-299C-7D4ADBD97A99}"/>
          </ac:spMkLst>
        </pc:spChg>
        <pc:spChg chg="del">
          <ac:chgData name="Bullinger, Marvin" userId="5b54ce5a-dc89-476f-af33-5abd75d5b1e8" providerId="ADAL" clId="{265A6489-94A2-4E64-A25F-E64F69B0C2C1}" dt="2024-03-05T20:07:14.446" v="244" actId="478"/>
          <ac:spMkLst>
            <pc:docMk/>
            <pc:sldMk cId="459806595" sldId="580"/>
            <ac:spMk id="711" creationId="{0BEFD765-77A1-F6C9-6A5B-B7AF14C67D05}"/>
          </ac:spMkLst>
        </pc:spChg>
        <pc:spChg chg="del ord replST">
          <ac:chgData name="Bullinger, Marvin" userId="5b54ce5a-dc89-476f-af33-5abd75d5b1e8" providerId="ADAL" clId="{265A6489-94A2-4E64-A25F-E64F69B0C2C1}" dt="2024-03-05T22:19:10.207" v="4470" actId="478"/>
          <ac:spMkLst>
            <pc:docMk/>
            <pc:sldMk cId="459806595" sldId="580"/>
            <ac:spMk id="711" creationId="{725DF600-C386-1A26-AEE4-018469826277}"/>
          </ac:spMkLst>
        </pc:spChg>
        <pc:spChg chg="replST">
          <ac:chgData name="Bullinger, Marvin" userId="5b54ce5a-dc89-476f-af33-5abd75d5b1e8" providerId="ADAL" clId="{265A6489-94A2-4E64-A25F-E64F69B0C2C1}" dt="2024-03-05T20:17:18.191" v="1046"/>
          <ac:spMkLst>
            <pc:docMk/>
            <pc:sldMk cId="459806595" sldId="580"/>
            <ac:spMk id="712" creationId="{599E3B9C-784E-9250-C4BE-AD116311880E}"/>
          </ac:spMkLst>
        </pc:spChg>
        <pc:spChg chg="replST">
          <ac:chgData name="Bullinger, Marvin" userId="5b54ce5a-dc89-476f-af33-5abd75d5b1e8" providerId="ADAL" clId="{265A6489-94A2-4E64-A25F-E64F69B0C2C1}" dt="2024-03-05T20:17:18.195" v="1049"/>
          <ac:spMkLst>
            <pc:docMk/>
            <pc:sldMk cId="459806595" sldId="580"/>
            <ac:spMk id="713" creationId="{D69ABFF7-5AD1-D697-E22C-2EFE3CDE6E6C}"/>
          </ac:spMkLst>
        </pc:spChg>
        <pc:spChg chg="replST">
          <ac:chgData name="Bullinger, Marvin" userId="5b54ce5a-dc89-476f-af33-5abd75d5b1e8" providerId="ADAL" clId="{265A6489-94A2-4E64-A25F-E64F69B0C2C1}" dt="2024-03-05T20:17:18.199" v="1053"/>
          <ac:spMkLst>
            <pc:docMk/>
            <pc:sldMk cId="459806595" sldId="580"/>
            <ac:spMk id="715" creationId="{911EBA08-EFCA-077B-B1EC-A5A8049251AB}"/>
          </ac:spMkLst>
        </pc:spChg>
        <pc:spChg chg="replST">
          <ac:chgData name="Bullinger, Marvin" userId="5b54ce5a-dc89-476f-af33-5abd75d5b1e8" providerId="ADAL" clId="{265A6489-94A2-4E64-A25F-E64F69B0C2C1}" dt="2024-03-05T20:17:18.203" v="1056"/>
          <ac:spMkLst>
            <pc:docMk/>
            <pc:sldMk cId="459806595" sldId="580"/>
            <ac:spMk id="716" creationId="{3DBD532C-3A2D-2135-E5B3-FE9348A904FD}"/>
          </ac:spMkLst>
        </pc:spChg>
        <pc:spChg chg="del">
          <ac:chgData name="Bullinger, Marvin" userId="5b54ce5a-dc89-476f-af33-5abd75d5b1e8" providerId="ADAL" clId="{265A6489-94A2-4E64-A25F-E64F69B0C2C1}" dt="2024-03-05T20:07:14.431" v="229" actId="478"/>
          <ac:spMkLst>
            <pc:docMk/>
            <pc:sldMk cId="459806595" sldId="580"/>
            <ac:spMk id="717" creationId="{78CE89E3-54AD-8033-F87B-B19E01D4231E}"/>
          </ac:spMkLst>
        </pc:spChg>
        <pc:spChg chg="del">
          <ac:chgData name="Bullinger, Marvin" userId="5b54ce5a-dc89-476f-af33-5abd75d5b1e8" providerId="ADAL" clId="{265A6489-94A2-4E64-A25F-E64F69B0C2C1}" dt="2024-03-05T20:07:14.445" v="243" actId="478"/>
          <ac:spMkLst>
            <pc:docMk/>
            <pc:sldMk cId="459806595" sldId="580"/>
            <ac:spMk id="731" creationId="{C3243512-204E-1006-684B-3DEF3B383F72}"/>
          </ac:spMkLst>
        </pc:spChg>
        <pc:spChg chg="del">
          <ac:chgData name="Bullinger, Marvin" userId="5b54ce5a-dc89-476f-af33-5abd75d5b1e8" providerId="ADAL" clId="{265A6489-94A2-4E64-A25F-E64F69B0C2C1}" dt="2024-03-05T20:07:14.445" v="242" actId="478"/>
          <ac:spMkLst>
            <pc:docMk/>
            <pc:sldMk cId="459806595" sldId="580"/>
            <ac:spMk id="732" creationId="{29116F50-D559-0EBA-93A6-0523500221E4}"/>
          </ac:spMkLst>
        </pc:spChg>
        <pc:spChg chg="del">
          <ac:chgData name="Bullinger, Marvin" userId="5b54ce5a-dc89-476f-af33-5abd75d5b1e8" providerId="ADAL" clId="{265A6489-94A2-4E64-A25F-E64F69B0C2C1}" dt="2024-03-05T20:07:14.444" v="241" actId="478"/>
          <ac:spMkLst>
            <pc:docMk/>
            <pc:sldMk cId="459806595" sldId="580"/>
            <ac:spMk id="733" creationId="{7B850016-F083-DB17-2804-81FBC9530EAA}"/>
          </ac:spMkLst>
        </pc:spChg>
        <pc:spChg chg="del">
          <ac:chgData name="Bullinger, Marvin" userId="5b54ce5a-dc89-476f-af33-5abd75d5b1e8" providerId="ADAL" clId="{265A6489-94A2-4E64-A25F-E64F69B0C2C1}" dt="2024-03-05T20:07:14.444" v="240" actId="478"/>
          <ac:spMkLst>
            <pc:docMk/>
            <pc:sldMk cId="459806595" sldId="580"/>
            <ac:spMk id="734" creationId="{17C12364-3484-0C0D-1BB3-C9A420307976}"/>
          </ac:spMkLst>
        </pc:spChg>
        <pc:spChg chg="del">
          <ac:chgData name="Bullinger, Marvin" userId="5b54ce5a-dc89-476f-af33-5abd75d5b1e8" providerId="ADAL" clId="{265A6489-94A2-4E64-A25F-E64F69B0C2C1}" dt="2024-03-05T20:07:14.444" v="239" actId="478"/>
          <ac:spMkLst>
            <pc:docMk/>
            <pc:sldMk cId="459806595" sldId="580"/>
            <ac:spMk id="735" creationId="{27346905-36EF-D839-DF92-A3F8CAF26428}"/>
          </ac:spMkLst>
        </pc:spChg>
        <pc:spChg chg="add mod">
          <ac:chgData name="Bullinger, Marvin" userId="5b54ce5a-dc89-476f-af33-5abd75d5b1e8" providerId="ADAL" clId="{265A6489-94A2-4E64-A25F-E64F69B0C2C1}" dt="2024-03-05T22:19:10.201" v="4467" actId="478"/>
          <ac:spMkLst>
            <pc:docMk/>
            <pc:sldMk cId="459806595" sldId="580"/>
            <ac:spMk id="757" creationId="{5BE895D4-71BA-8ABD-1E8C-529082EA374C}"/>
          </ac:spMkLst>
        </pc:spChg>
        <pc:spChg chg="mod ord replST">
          <ac:chgData name="Bullinger, Marvin" userId="5b54ce5a-dc89-476f-af33-5abd75d5b1e8" providerId="ADAL" clId="{265A6489-94A2-4E64-A25F-E64F69B0C2C1}" dt="2024-03-05T22:19:11.078" v="4855"/>
          <ac:spMkLst>
            <pc:docMk/>
            <pc:sldMk cId="459806595" sldId="580"/>
            <ac:spMk id="758" creationId="{7562AFC7-4BC4-1567-917A-FABD3A69D149}"/>
          </ac:spMkLst>
        </pc:spChg>
        <pc:spChg chg="del">
          <ac:chgData name="Bullinger, Marvin" userId="5b54ce5a-dc89-476f-af33-5abd75d5b1e8" providerId="ADAL" clId="{265A6489-94A2-4E64-A25F-E64F69B0C2C1}" dt="2024-03-05T22:19:10.250" v="4502" actId="478"/>
          <ac:spMkLst>
            <pc:docMk/>
            <pc:sldMk cId="459806595" sldId="580"/>
            <ac:spMk id="759" creationId="{A197E05E-8258-FFA7-053C-607A605C4015}"/>
          </ac:spMkLst>
        </pc:spChg>
        <pc:spChg chg="del">
          <ac:chgData name="Bullinger, Marvin" userId="5b54ce5a-dc89-476f-af33-5abd75d5b1e8" providerId="ADAL" clId="{265A6489-94A2-4E64-A25F-E64F69B0C2C1}" dt="2024-03-05T22:19:10.250" v="4501" actId="478"/>
          <ac:spMkLst>
            <pc:docMk/>
            <pc:sldMk cId="459806595" sldId="580"/>
            <ac:spMk id="760" creationId="{501D02FD-E87C-FB3F-3CCC-E7C0B34DAFAB}"/>
          </ac:spMkLst>
        </pc:spChg>
        <pc:spChg chg="del">
          <ac:chgData name="Bullinger, Marvin" userId="5b54ce5a-dc89-476f-af33-5abd75d5b1e8" providerId="ADAL" clId="{265A6489-94A2-4E64-A25F-E64F69B0C2C1}" dt="2024-03-05T22:19:10.249" v="4500" actId="478"/>
          <ac:spMkLst>
            <pc:docMk/>
            <pc:sldMk cId="459806595" sldId="580"/>
            <ac:spMk id="761" creationId="{684ED49A-CBCA-B93B-61E5-9346971EF6C6}"/>
          </ac:spMkLst>
        </pc:spChg>
        <pc:spChg chg="del">
          <ac:chgData name="Bullinger, Marvin" userId="5b54ce5a-dc89-476f-af33-5abd75d5b1e8" providerId="ADAL" clId="{265A6489-94A2-4E64-A25F-E64F69B0C2C1}" dt="2024-03-05T22:19:10.249" v="4499" actId="478"/>
          <ac:spMkLst>
            <pc:docMk/>
            <pc:sldMk cId="459806595" sldId="580"/>
            <ac:spMk id="762" creationId="{9261C008-FF83-D81E-2D7C-86B2C9245DD9}"/>
          </ac:spMkLst>
        </pc:spChg>
        <pc:spChg chg="del">
          <ac:chgData name="Bullinger, Marvin" userId="5b54ce5a-dc89-476f-af33-5abd75d5b1e8" providerId="ADAL" clId="{265A6489-94A2-4E64-A25F-E64F69B0C2C1}" dt="2024-03-05T22:19:10.248" v="4498" actId="478"/>
          <ac:spMkLst>
            <pc:docMk/>
            <pc:sldMk cId="459806595" sldId="580"/>
            <ac:spMk id="763" creationId="{E3830F08-05BC-574C-2093-54B290B28F9A}"/>
          </ac:spMkLst>
        </pc:spChg>
        <pc:spChg chg="del">
          <ac:chgData name="Bullinger, Marvin" userId="5b54ce5a-dc89-476f-af33-5abd75d5b1e8" providerId="ADAL" clId="{265A6489-94A2-4E64-A25F-E64F69B0C2C1}" dt="2024-03-05T22:19:10.247" v="4497" actId="478"/>
          <ac:spMkLst>
            <pc:docMk/>
            <pc:sldMk cId="459806595" sldId="580"/>
            <ac:spMk id="764" creationId="{369825FB-1F14-F1A1-EECD-63AAA360F3A8}"/>
          </ac:spMkLst>
        </pc:spChg>
        <pc:spChg chg="del">
          <ac:chgData name="Bullinger, Marvin" userId="5b54ce5a-dc89-476f-af33-5abd75d5b1e8" providerId="ADAL" clId="{265A6489-94A2-4E64-A25F-E64F69B0C2C1}" dt="2024-03-05T22:19:10.245" v="4494" actId="478"/>
          <ac:spMkLst>
            <pc:docMk/>
            <pc:sldMk cId="459806595" sldId="580"/>
            <ac:spMk id="765" creationId="{3E65D572-44F1-FDB2-68C8-13FD25FDBDDD}"/>
          </ac:spMkLst>
        </pc:spChg>
        <pc:spChg chg="del">
          <ac:chgData name="Bullinger, Marvin" userId="5b54ce5a-dc89-476f-af33-5abd75d5b1e8" providerId="ADAL" clId="{265A6489-94A2-4E64-A25F-E64F69B0C2C1}" dt="2024-03-05T22:19:10.245" v="4493" actId="478"/>
          <ac:spMkLst>
            <pc:docMk/>
            <pc:sldMk cId="459806595" sldId="580"/>
            <ac:spMk id="766" creationId="{947FC53D-77D3-B05C-AE59-0190CBB79365}"/>
          </ac:spMkLst>
        </pc:spChg>
        <pc:spChg chg="del">
          <ac:chgData name="Bullinger, Marvin" userId="5b54ce5a-dc89-476f-af33-5abd75d5b1e8" providerId="ADAL" clId="{265A6489-94A2-4E64-A25F-E64F69B0C2C1}" dt="2024-03-05T22:19:10.244" v="4492" actId="478"/>
          <ac:spMkLst>
            <pc:docMk/>
            <pc:sldMk cId="459806595" sldId="580"/>
            <ac:spMk id="767" creationId="{D7437703-CC2F-B57E-3235-1D8F8C410AAF}"/>
          </ac:spMkLst>
        </pc:spChg>
        <pc:spChg chg="del">
          <ac:chgData name="Bullinger, Marvin" userId="5b54ce5a-dc89-476f-af33-5abd75d5b1e8" providerId="ADAL" clId="{265A6489-94A2-4E64-A25F-E64F69B0C2C1}" dt="2024-03-05T22:19:10.244" v="4491" actId="478"/>
          <ac:spMkLst>
            <pc:docMk/>
            <pc:sldMk cId="459806595" sldId="580"/>
            <ac:spMk id="768" creationId="{8D35AB01-4183-88E4-21E0-1C0BDBAF9DEB}"/>
          </ac:spMkLst>
        </pc:spChg>
        <pc:spChg chg="del">
          <ac:chgData name="Bullinger, Marvin" userId="5b54ce5a-dc89-476f-af33-5abd75d5b1e8" providerId="ADAL" clId="{265A6489-94A2-4E64-A25F-E64F69B0C2C1}" dt="2024-03-05T22:19:10.243" v="4490" actId="478"/>
          <ac:spMkLst>
            <pc:docMk/>
            <pc:sldMk cId="459806595" sldId="580"/>
            <ac:spMk id="769" creationId="{02828B6D-7ABA-B4C1-BBDE-235A59828247}"/>
          </ac:spMkLst>
        </pc:spChg>
        <pc:spChg chg="del">
          <ac:chgData name="Bullinger, Marvin" userId="5b54ce5a-dc89-476f-af33-5abd75d5b1e8" providerId="ADAL" clId="{265A6489-94A2-4E64-A25F-E64F69B0C2C1}" dt="2024-03-05T22:19:10.242" v="4489" actId="478"/>
          <ac:spMkLst>
            <pc:docMk/>
            <pc:sldMk cId="459806595" sldId="580"/>
            <ac:spMk id="770" creationId="{8E61657D-2A9F-B04B-3498-A0E57B6980C1}"/>
          </ac:spMkLst>
        </pc:spChg>
        <pc:spChg chg="del">
          <ac:chgData name="Bullinger, Marvin" userId="5b54ce5a-dc89-476f-af33-5abd75d5b1e8" providerId="ADAL" clId="{265A6489-94A2-4E64-A25F-E64F69B0C2C1}" dt="2024-03-05T22:19:10.255" v="4510" actId="478"/>
          <ac:spMkLst>
            <pc:docMk/>
            <pc:sldMk cId="459806595" sldId="580"/>
            <ac:spMk id="771" creationId="{E9EDDBEA-9391-D533-D8D8-A712A1FB1150}"/>
          </ac:spMkLst>
        </pc:spChg>
        <pc:spChg chg="del">
          <ac:chgData name="Bullinger, Marvin" userId="5b54ce5a-dc89-476f-af33-5abd75d5b1e8" providerId="ADAL" clId="{265A6489-94A2-4E64-A25F-E64F69B0C2C1}" dt="2024-03-05T22:19:10.254" v="4509" actId="478"/>
          <ac:spMkLst>
            <pc:docMk/>
            <pc:sldMk cId="459806595" sldId="580"/>
            <ac:spMk id="772" creationId="{5ADA3A06-BD47-8198-14DA-12B4E8219213}"/>
          </ac:spMkLst>
        </pc:spChg>
        <pc:spChg chg="del">
          <ac:chgData name="Bullinger, Marvin" userId="5b54ce5a-dc89-476f-af33-5abd75d5b1e8" providerId="ADAL" clId="{265A6489-94A2-4E64-A25F-E64F69B0C2C1}" dt="2024-03-05T22:19:10.254" v="4508" actId="478"/>
          <ac:spMkLst>
            <pc:docMk/>
            <pc:sldMk cId="459806595" sldId="580"/>
            <ac:spMk id="773" creationId="{9B1A0AEE-D09E-4043-E8B7-E991FE598E58}"/>
          </ac:spMkLst>
        </pc:spChg>
        <pc:spChg chg="del">
          <ac:chgData name="Bullinger, Marvin" userId="5b54ce5a-dc89-476f-af33-5abd75d5b1e8" providerId="ADAL" clId="{265A6489-94A2-4E64-A25F-E64F69B0C2C1}" dt="2024-03-05T22:19:10.253" v="4507" actId="478"/>
          <ac:spMkLst>
            <pc:docMk/>
            <pc:sldMk cId="459806595" sldId="580"/>
            <ac:spMk id="774" creationId="{B7A2BEFE-9BE2-926A-F155-34744E6A216C}"/>
          </ac:spMkLst>
        </pc:spChg>
        <pc:spChg chg="del">
          <ac:chgData name="Bullinger, Marvin" userId="5b54ce5a-dc89-476f-af33-5abd75d5b1e8" providerId="ADAL" clId="{265A6489-94A2-4E64-A25F-E64F69B0C2C1}" dt="2024-03-05T22:19:10.253" v="4506" actId="478"/>
          <ac:spMkLst>
            <pc:docMk/>
            <pc:sldMk cId="459806595" sldId="580"/>
            <ac:spMk id="775" creationId="{FB6CD9A1-802A-66AC-164E-456B5B171541}"/>
          </ac:spMkLst>
        </pc:spChg>
        <pc:spChg chg="del">
          <ac:chgData name="Bullinger, Marvin" userId="5b54ce5a-dc89-476f-af33-5abd75d5b1e8" providerId="ADAL" clId="{265A6489-94A2-4E64-A25F-E64F69B0C2C1}" dt="2024-03-05T22:19:10.252" v="4505" actId="478"/>
          <ac:spMkLst>
            <pc:docMk/>
            <pc:sldMk cId="459806595" sldId="580"/>
            <ac:spMk id="776" creationId="{FA34E32C-717F-3468-EEF6-CCCB38A87AE9}"/>
          </ac:spMkLst>
        </pc:spChg>
        <pc:spChg chg="del">
          <ac:chgData name="Bullinger, Marvin" userId="5b54ce5a-dc89-476f-af33-5abd75d5b1e8" providerId="ADAL" clId="{265A6489-94A2-4E64-A25F-E64F69B0C2C1}" dt="2024-03-05T22:19:10.251" v="4504" actId="478"/>
          <ac:spMkLst>
            <pc:docMk/>
            <pc:sldMk cId="459806595" sldId="580"/>
            <ac:spMk id="777" creationId="{51CDF6A7-8337-7315-26D1-D179AAFEA276}"/>
          </ac:spMkLst>
        </pc:spChg>
        <pc:spChg chg="del">
          <ac:chgData name="Bullinger, Marvin" userId="5b54ce5a-dc89-476f-af33-5abd75d5b1e8" providerId="ADAL" clId="{265A6489-94A2-4E64-A25F-E64F69B0C2C1}" dt="2024-03-05T22:19:10.251" v="4503" actId="478"/>
          <ac:spMkLst>
            <pc:docMk/>
            <pc:sldMk cId="459806595" sldId="580"/>
            <ac:spMk id="778" creationId="{2C85740A-7136-E1E2-A083-5CE85706B938}"/>
          </ac:spMkLst>
        </pc:spChg>
        <pc:spChg chg="del">
          <ac:chgData name="Bullinger, Marvin" userId="5b54ce5a-dc89-476f-af33-5abd75d5b1e8" providerId="ADAL" clId="{265A6489-94A2-4E64-A25F-E64F69B0C2C1}" dt="2024-03-05T22:19:10.246" v="4495" actId="478"/>
          <ac:spMkLst>
            <pc:docMk/>
            <pc:sldMk cId="459806595" sldId="580"/>
            <ac:spMk id="779" creationId="{8E21E563-15AC-66A1-E113-B6557728662A}"/>
          </ac:spMkLst>
        </pc:spChg>
        <pc:spChg chg="del">
          <ac:chgData name="Bullinger, Marvin" userId="5b54ce5a-dc89-476f-af33-5abd75d5b1e8" providerId="ADAL" clId="{265A6489-94A2-4E64-A25F-E64F69B0C2C1}" dt="2024-03-05T22:19:10.242" v="4488" actId="478"/>
          <ac:spMkLst>
            <pc:docMk/>
            <pc:sldMk cId="459806595" sldId="580"/>
            <ac:spMk id="780" creationId="{9E114B18-2C3E-A2FD-2559-708F96B5923F}"/>
          </ac:spMkLst>
        </pc:spChg>
        <pc:spChg chg="del">
          <ac:chgData name="Bullinger, Marvin" userId="5b54ce5a-dc89-476f-af33-5abd75d5b1e8" providerId="ADAL" clId="{265A6489-94A2-4E64-A25F-E64F69B0C2C1}" dt="2024-03-05T22:19:10.247" v="4496" actId="478"/>
          <ac:spMkLst>
            <pc:docMk/>
            <pc:sldMk cId="459806595" sldId="580"/>
            <ac:spMk id="781" creationId="{ACE226ED-F14D-2D62-2FC2-2556D10E144E}"/>
          </ac:spMkLst>
        </pc:spChg>
        <pc:spChg chg="del">
          <ac:chgData name="Bullinger, Marvin" userId="5b54ce5a-dc89-476f-af33-5abd75d5b1e8" providerId="ADAL" clId="{265A6489-94A2-4E64-A25F-E64F69B0C2C1}" dt="2024-03-05T22:19:10.241" v="4487" actId="478"/>
          <ac:spMkLst>
            <pc:docMk/>
            <pc:sldMk cId="459806595" sldId="580"/>
            <ac:spMk id="782" creationId="{CCA1C9B1-613A-37E3-B404-FA9C25180499}"/>
          </ac:spMkLst>
        </pc:spChg>
        <pc:spChg chg="del">
          <ac:chgData name="Bullinger, Marvin" userId="5b54ce5a-dc89-476f-af33-5abd75d5b1e8" providerId="ADAL" clId="{265A6489-94A2-4E64-A25F-E64F69B0C2C1}" dt="2024-03-05T22:19:10.240" v="4486" actId="478"/>
          <ac:spMkLst>
            <pc:docMk/>
            <pc:sldMk cId="459806595" sldId="580"/>
            <ac:spMk id="783" creationId="{48AB65A3-CC12-AA52-FAC8-39A0E63C2ECD}"/>
          </ac:spMkLst>
        </pc:spChg>
        <pc:spChg chg="del">
          <ac:chgData name="Bullinger, Marvin" userId="5b54ce5a-dc89-476f-af33-5abd75d5b1e8" providerId="ADAL" clId="{265A6489-94A2-4E64-A25F-E64F69B0C2C1}" dt="2024-03-05T22:19:10.240" v="4485" actId="478"/>
          <ac:spMkLst>
            <pc:docMk/>
            <pc:sldMk cId="459806595" sldId="580"/>
            <ac:spMk id="784" creationId="{CA26242F-612D-6D36-AABC-0C62EA3005A4}"/>
          </ac:spMkLst>
        </pc:spChg>
        <pc:spChg chg="del">
          <ac:chgData name="Bullinger, Marvin" userId="5b54ce5a-dc89-476f-af33-5abd75d5b1e8" providerId="ADAL" clId="{265A6489-94A2-4E64-A25F-E64F69B0C2C1}" dt="2024-03-05T22:19:10.239" v="4484" actId="478"/>
          <ac:spMkLst>
            <pc:docMk/>
            <pc:sldMk cId="459806595" sldId="580"/>
            <ac:spMk id="785" creationId="{3C80FFB0-AA42-2F09-DCD9-4DFA3505C128}"/>
          </ac:spMkLst>
        </pc:spChg>
        <pc:spChg chg="del">
          <ac:chgData name="Bullinger, Marvin" userId="5b54ce5a-dc89-476f-af33-5abd75d5b1e8" providerId="ADAL" clId="{265A6489-94A2-4E64-A25F-E64F69B0C2C1}" dt="2024-03-05T22:19:10.239" v="4483" actId="478"/>
          <ac:spMkLst>
            <pc:docMk/>
            <pc:sldMk cId="459806595" sldId="580"/>
            <ac:spMk id="786" creationId="{46F34461-6F85-CA7F-9558-D3E0272ECBCF}"/>
          </ac:spMkLst>
        </pc:spChg>
        <pc:spChg chg="del">
          <ac:chgData name="Bullinger, Marvin" userId="5b54ce5a-dc89-476f-af33-5abd75d5b1e8" providerId="ADAL" clId="{265A6489-94A2-4E64-A25F-E64F69B0C2C1}" dt="2024-03-05T22:19:10.238" v="4482" actId="478"/>
          <ac:spMkLst>
            <pc:docMk/>
            <pc:sldMk cId="459806595" sldId="580"/>
            <ac:spMk id="787" creationId="{8AE0688B-109F-9632-24D7-7700CE8E93C2}"/>
          </ac:spMkLst>
        </pc:spChg>
        <pc:spChg chg="del">
          <ac:chgData name="Bullinger, Marvin" userId="5b54ce5a-dc89-476f-af33-5abd75d5b1e8" providerId="ADAL" clId="{265A6489-94A2-4E64-A25F-E64F69B0C2C1}" dt="2024-03-05T22:19:10.237" v="4481" actId="478"/>
          <ac:spMkLst>
            <pc:docMk/>
            <pc:sldMk cId="459806595" sldId="580"/>
            <ac:spMk id="788" creationId="{4E2680BC-FFA0-6446-DCD9-7CEDBE1D2982}"/>
          </ac:spMkLst>
        </pc:spChg>
        <pc:spChg chg="del">
          <ac:chgData name="Bullinger, Marvin" userId="5b54ce5a-dc89-476f-af33-5abd75d5b1e8" providerId="ADAL" clId="{265A6489-94A2-4E64-A25F-E64F69B0C2C1}" dt="2024-03-05T22:19:10.237" v="4480" actId="478"/>
          <ac:spMkLst>
            <pc:docMk/>
            <pc:sldMk cId="459806595" sldId="580"/>
            <ac:spMk id="789" creationId="{B64029ED-D3FD-4FED-755A-ACBD676298C2}"/>
          </ac:spMkLst>
        </pc:spChg>
        <pc:spChg chg="del">
          <ac:chgData name="Bullinger, Marvin" userId="5b54ce5a-dc89-476f-af33-5abd75d5b1e8" providerId="ADAL" clId="{265A6489-94A2-4E64-A25F-E64F69B0C2C1}" dt="2024-03-05T22:19:10.236" v="4479" actId="478"/>
          <ac:spMkLst>
            <pc:docMk/>
            <pc:sldMk cId="459806595" sldId="580"/>
            <ac:spMk id="790" creationId="{8793851C-B12F-27B6-663C-05030474E0D1}"/>
          </ac:spMkLst>
        </pc:spChg>
        <pc:spChg chg="del">
          <ac:chgData name="Bullinger, Marvin" userId="5b54ce5a-dc89-476f-af33-5abd75d5b1e8" providerId="ADAL" clId="{265A6489-94A2-4E64-A25F-E64F69B0C2C1}" dt="2024-03-05T22:19:10.236" v="4478" actId="478"/>
          <ac:spMkLst>
            <pc:docMk/>
            <pc:sldMk cId="459806595" sldId="580"/>
            <ac:spMk id="791" creationId="{FD7085C5-2646-3784-5741-A2534B7D7FD7}"/>
          </ac:spMkLst>
        </pc:spChg>
        <pc:spChg chg="del">
          <ac:chgData name="Bullinger, Marvin" userId="5b54ce5a-dc89-476f-af33-5abd75d5b1e8" providerId="ADAL" clId="{265A6489-94A2-4E64-A25F-E64F69B0C2C1}" dt="2024-03-05T22:19:10.235" v="4477" actId="478"/>
          <ac:spMkLst>
            <pc:docMk/>
            <pc:sldMk cId="459806595" sldId="580"/>
            <ac:spMk id="792" creationId="{7429CF28-70E8-E70B-40C0-8AD8B997E0CC}"/>
          </ac:spMkLst>
        </pc:spChg>
        <pc:spChg chg="del">
          <ac:chgData name="Bullinger, Marvin" userId="5b54ce5a-dc89-476f-af33-5abd75d5b1e8" providerId="ADAL" clId="{265A6489-94A2-4E64-A25F-E64F69B0C2C1}" dt="2024-03-05T22:19:10.234" v="4476" actId="478"/>
          <ac:spMkLst>
            <pc:docMk/>
            <pc:sldMk cId="459806595" sldId="580"/>
            <ac:spMk id="793" creationId="{421FA572-83EB-21F8-6A99-32360C8368ED}"/>
          </ac:spMkLst>
        </pc:spChg>
        <pc:spChg chg="del">
          <ac:chgData name="Bullinger, Marvin" userId="5b54ce5a-dc89-476f-af33-5abd75d5b1e8" providerId="ADAL" clId="{265A6489-94A2-4E64-A25F-E64F69B0C2C1}" dt="2024-03-05T22:19:10.234" v="4475" actId="478"/>
          <ac:spMkLst>
            <pc:docMk/>
            <pc:sldMk cId="459806595" sldId="580"/>
            <ac:spMk id="794" creationId="{74CB2682-3354-C3BC-1DE9-D84C4D73362E}"/>
          </ac:spMkLst>
        </pc:spChg>
        <pc:spChg chg="del">
          <ac:chgData name="Bullinger, Marvin" userId="5b54ce5a-dc89-476f-af33-5abd75d5b1e8" providerId="ADAL" clId="{265A6489-94A2-4E64-A25F-E64F69B0C2C1}" dt="2024-03-05T22:19:10.233" v="4474" actId="478"/>
          <ac:spMkLst>
            <pc:docMk/>
            <pc:sldMk cId="459806595" sldId="580"/>
            <ac:spMk id="795" creationId="{582E3D83-B9AB-157C-F8D2-424EDA516B7A}"/>
          </ac:spMkLst>
        </pc:spChg>
        <pc:spChg chg="mod replST">
          <ac:chgData name="Bullinger, Marvin" userId="5b54ce5a-dc89-476f-af33-5abd75d5b1e8" providerId="ADAL" clId="{265A6489-94A2-4E64-A25F-E64F69B0C2C1}" dt="2024-03-05T22:33:57.411" v="5069" actId="207"/>
          <ac:spMkLst>
            <pc:docMk/>
            <pc:sldMk cId="459806595" sldId="580"/>
            <ac:spMk id="796" creationId="{41A211FE-16C1-A4F4-3DFC-0B17AA2E6586}"/>
          </ac:spMkLst>
        </pc:spChg>
        <pc:spChg chg="replST">
          <ac:chgData name="Bullinger, Marvin" userId="5b54ce5a-dc89-476f-af33-5abd75d5b1e8" providerId="ADAL" clId="{265A6489-94A2-4E64-A25F-E64F69B0C2C1}" dt="2024-03-05T22:19:10.989" v="4817"/>
          <ac:spMkLst>
            <pc:docMk/>
            <pc:sldMk cId="459806595" sldId="580"/>
            <ac:spMk id="797" creationId="{D87BB502-BAFF-1DE4-FCD9-397E0470B215}"/>
          </ac:spMkLst>
        </pc:spChg>
        <pc:spChg chg="mod replST">
          <ac:chgData name="Bullinger, Marvin" userId="5b54ce5a-dc89-476f-af33-5abd75d5b1e8" providerId="ADAL" clId="{265A6489-94A2-4E64-A25F-E64F69B0C2C1}" dt="2024-03-05T22:33:57.411" v="5069" actId="207"/>
          <ac:spMkLst>
            <pc:docMk/>
            <pc:sldMk cId="459806595" sldId="580"/>
            <ac:spMk id="799" creationId="{B6F2F3C1-B7EC-7539-5CC8-2B5102E8EDD3}"/>
          </ac:spMkLst>
        </pc:spChg>
        <pc:spChg chg="replST">
          <ac:chgData name="Bullinger, Marvin" userId="5b54ce5a-dc89-476f-af33-5abd75d5b1e8" providerId="ADAL" clId="{265A6489-94A2-4E64-A25F-E64F69B0C2C1}" dt="2024-03-05T22:19:11.013" v="4824"/>
          <ac:spMkLst>
            <pc:docMk/>
            <pc:sldMk cId="459806595" sldId="580"/>
            <ac:spMk id="800" creationId="{26C0E439-6CEB-F104-323D-5552F68B58F9}"/>
          </ac:spMkLst>
        </pc:spChg>
        <pc:spChg chg="mod replST">
          <ac:chgData name="Bullinger, Marvin" userId="5b54ce5a-dc89-476f-af33-5abd75d5b1e8" providerId="ADAL" clId="{265A6489-94A2-4E64-A25F-E64F69B0C2C1}" dt="2024-03-05T22:33:57.411" v="5069" actId="207"/>
          <ac:spMkLst>
            <pc:docMk/>
            <pc:sldMk cId="459806595" sldId="580"/>
            <ac:spMk id="802" creationId="{E83BF497-0C67-B86C-7AB5-B237D846E2A3}"/>
          </ac:spMkLst>
        </pc:spChg>
        <pc:spChg chg="mod replST">
          <ac:chgData name="Bullinger, Marvin" userId="5b54ce5a-dc89-476f-af33-5abd75d5b1e8" providerId="ADAL" clId="{265A6489-94A2-4E64-A25F-E64F69B0C2C1}" dt="2024-03-06T13:55:32.438" v="5169" actId="20577"/>
          <ac:spMkLst>
            <pc:docMk/>
            <pc:sldMk cId="459806595" sldId="580"/>
            <ac:spMk id="803" creationId="{364A0653-85BC-6A3F-358F-FA439868B5BB}"/>
          </ac:spMkLst>
        </pc:spChg>
        <pc:spChg chg="mod replST">
          <ac:chgData name="Bullinger, Marvin" userId="5b54ce5a-dc89-476f-af33-5abd75d5b1e8" providerId="ADAL" clId="{265A6489-94A2-4E64-A25F-E64F69B0C2C1}" dt="2024-03-05T22:33:48.602" v="5066" actId="20577"/>
          <ac:spMkLst>
            <pc:docMk/>
            <pc:sldMk cId="459806595" sldId="580"/>
            <ac:spMk id="805" creationId="{739A3574-6593-F60A-45EE-7287D3D67084}"/>
          </ac:spMkLst>
        </pc:spChg>
        <pc:spChg chg="replST">
          <ac:chgData name="Bullinger, Marvin" userId="5b54ce5a-dc89-476f-af33-5abd75d5b1e8" providerId="ADAL" clId="{265A6489-94A2-4E64-A25F-E64F69B0C2C1}" dt="2024-03-05T22:19:11.041" v="4838"/>
          <ac:spMkLst>
            <pc:docMk/>
            <pc:sldMk cId="459806595" sldId="580"/>
            <ac:spMk id="806" creationId="{DE396781-029B-A50A-ABA4-EE74D9ECF072}"/>
          </ac:spMkLst>
        </pc:spChg>
        <pc:spChg chg="mod ord replST">
          <ac:chgData name="Bullinger, Marvin" userId="5b54ce5a-dc89-476f-af33-5abd75d5b1e8" providerId="ADAL" clId="{265A6489-94A2-4E64-A25F-E64F69B0C2C1}" dt="2024-03-05T22:34:04.945" v="5070" actId="207"/>
          <ac:spMkLst>
            <pc:docMk/>
            <pc:sldMk cId="459806595" sldId="580"/>
            <ac:spMk id="807" creationId="{0E4046D1-218D-AE60-62D0-00C79176422A}"/>
          </ac:spMkLst>
        </pc:spChg>
        <pc:spChg chg="mod replST">
          <ac:chgData name="Bullinger, Marvin" userId="5b54ce5a-dc89-476f-af33-5abd75d5b1e8" providerId="ADAL" clId="{265A6489-94A2-4E64-A25F-E64F69B0C2C1}" dt="2024-03-05T22:33:57.411" v="5069" actId="207"/>
          <ac:spMkLst>
            <pc:docMk/>
            <pc:sldMk cId="459806595" sldId="580"/>
            <ac:spMk id="808" creationId="{A0A11C42-DD7E-28BB-BA67-10187BC6BA15}"/>
          </ac:spMkLst>
        </pc:spChg>
        <pc:spChg chg="replST">
          <ac:chgData name="Bullinger, Marvin" userId="5b54ce5a-dc89-476f-af33-5abd75d5b1e8" providerId="ADAL" clId="{265A6489-94A2-4E64-A25F-E64F69B0C2C1}" dt="2024-03-05T22:19:11.056" v="4845"/>
          <ac:spMkLst>
            <pc:docMk/>
            <pc:sldMk cId="459806595" sldId="580"/>
            <ac:spMk id="809" creationId="{50AE3E65-D68F-909C-0A70-077EBFFE34D0}"/>
          </ac:spMkLst>
        </pc:spChg>
        <pc:spChg chg="mod replST">
          <ac:chgData name="Bullinger, Marvin" userId="5b54ce5a-dc89-476f-af33-5abd75d5b1e8" providerId="ADAL" clId="{265A6489-94A2-4E64-A25F-E64F69B0C2C1}" dt="2024-03-05T22:33:57.411" v="5069" actId="207"/>
          <ac:spMkLst>
            <pc:docMk/>
            <pc:sldMk cId="459806595" sldId="580"/>
            <ac:spMk id="811" creationId="{DB77CF12-845A-6699-8037-FD34D1D850A6}"/>
          </ac:spMkLst>
        </pc:spChg>
        <pc:spChg chg="replST">
          <ac:chgData name="Bullinger, Marvin" userId="5b54ce5a-dc89-476f-af33-5abd75d5b1e8" providerId="ADAL" clId="{265A6489-94A2-4E64-A25F-E64F69B0C2C1}" dt="2024-03-05T22:19:11.070" v="4852"/>
          <ac:spMkLst>
            <pc:docMk/>
            <pc:sldMk cId="459806595" sldId="580"/>
            <ac:spMk id="812" creationId="{15683371-67AB-F548-92B4-36B106A92FD5}"/>
          </ac:spMkLst>
        </pc:spChg>
        <pc:cxnChg chg="del ord replST">
          <ac:chgData name="Bullinger, Marvin" userId="5b54ce5a-dc89-476f-af33-5abd75d5b1e8" providerId="ADAL" clId="{265A6489-94A2-4E64-A25F-E64F69B0C2C1}" dt="2024-03-05T20:17:17.850" v="759" actId="478"/>
          <ac:cxnSpMkLst>
            <pc:docMk/>
            <pc:sldMk cId="459806595" sldId="580"/>
            <ac:cxnSpMk id="647" creationId="{BB478E24-D9A8-190A-2865-0E7EEC714F05}"/>
          </ac:cxnSpMkLst>
        </pc:cxnChg>
        <pc:cxnChg chg="del ord replST">
          <ac:chgData name="Bullinger, Marvin" userId="5b54ce5a-dc89-476f-af33-5abd75d5b1e8" providerId="ADAL" clId="{265A6489-94A2-4E64-A25F-E64F69B0C2C1}" dt="2024-03-05T20:17:17.852" v="761" actId="478"/>
          <ac:cxnSpMkLst>
            <pc:docMk/>
            <pc:sldMk cId="459806595" sldId="580"/>
            <ac:cxnSpMk id="653" creationId="{4BDB6596-E3BA-C42A-E46C-9E2AA5C34353}"/>
          </ac:cxnSpMkLst>
        </pc:cxnChg>
        <pc:cxnChg chg="del ord replST">
          <ac:chgData name="Bullinger, Marvin" userId="5b54ce5a-dc89-476f-af33-5abd75d5b1e8" providerId="ADAL" clId="{265A6489-94A2-4E64-A25F-E64F69B0C2C1}" dt="2024-03-05T20:17:17.853" v="762" actId="478"/>
          <ac:cxnSpMkLst>
            <pc:docMk/>
            <pc:sldMk cId="459806595" sldId="580"/>
            <ac:cxnSpMk id="656" creationId="{3A2CD6ED-E661-C669-CC20-4C26D0A5A78A}"/>
          </ac:cxnSpMkLst>
        </pc:cxnChg>
        <pc:cxnChg chg="del ord replST">
          <ac:chgData name="Bullinger, Marvin" userId="5b54ce5a-dc89-476f-af33-5abd75d5b1e8" providerId="ADAL" clId="{265A6489-94A2-4E64-A25F-E64F69B0C2C1}" dt="2024-03-05T20:17:17.853" v="763" actId="478"/>
          <ac:cxnSpMkLst>
            <pc:docMk/>
            <pc:sldMk cId="459806595" sldId="580"/>
            <ac:cxnSpMk id="657" creationId="{8E4E0AC9-A4A3-89B8-C195-0132F3898C40}"/>
          </ac:cxnSpMkLst>
        </pc:cxnChg>
        <pc:cxnChg chg="del ord replST">
          <ac:chgData name="Bullinger, Marvin" userId="5b54ce5a-dc89-476f-af33-5abd75d5b1e8" providerId="ADAL" clId="{265A6489-94A2-4E64-A25F-E64F69B0C2C1}" dt="2024-03-05T22:19:10.203" v="4468" actId="478"/>
          <ac:cxnSpMkLst>
            <pc:docMk/>
            <pc:sldMk cId="459806595" sldId="580"/>
            <ac:cxnSpMk id="705" creationId="{450683B8-6350-3E5C-5C7D-FE15D1C78B25}"/>
          </ac:cxnSpMkLst>
        </pc:cxnChg>
        <pc:cxnChg chg="del ord replST">
          <ac:chgData name="Bullinger, Marvin" userId="5b54ce5a-dc89-476f-af33-5abd75d5b1e8" providerId="ADAL" clId="{265A6489-94A2-4E64-A25F-E64F69B0C2C1}" dt="2024-03-05T22:19:10.205" v="4469" actId="478"/>
          <ac:cxnSpMkLst>
            <pc:docMk/>
            <pc:sldMk cId="459806595" sldId="580"/>
            <ac:cxnSpMk id="708" creationId="{DA209DBF-CE19-CFB4-A757-3A7C2E3FD9DA}"/>
          </ac:cxnSpMkLst>
        </pc:cxnChg>
        <pc:cxnChg chg="del">
          <ac:chgData name="Bullinger, Marvin" userId="5b54ce5a-dc89-476f-af33-5abd75d5b1e8" providerId="ADAL" clId="{265A6489-94A2-4E64-A25F-E64F69B0C2C1}" dt="2024-03-05T20:07:14.430" v="228" actId="478"/>
          <ac:cxnSpMkLst>
            <pc:docMk/>
            <pc:sldMk cId="459806595" sldId="580"/>
            <ac:cxnSpMk id="714" creationId="{2035BD9E-5C4A-4DF3-E3E1-1627F31310C4}"/>
          </ac:cxnSpMkLst>
        </pc:cxnChg>
        <pc:cxnChg chg="del ord replST">
          <ac:chgData name="Bullinger, Marvin" userId="5b54ce5a-dc89-476f-af33-5abd75d5b1e8" providerId="ADAL" clId="{265A6489-94A2-4E64-A25F-E64F69B0C2C1}" dt="2024-03-05T22:19:10.209" v="4471" actId="478"/>
          <ac:cxnSpMkLst>
            <pc:docMk/>
            <pc:sldMk cId="459806595" sldId="580"/>
            <ac:cxnSpMk id="714" creationId="{99BED037-2B63-A473-EA8E-A69D6D5EC29F}"/>
          </ac:cxnSpMkLst>
        </pc:cxnChg>
        <pc:cxnChg chg="del ord replST">
          <ac:chgData name="Bullinger, Marvin" userId="5b54ce5a-dc89-476f-af33-5abd75d5b1e8" providerId="ADAL" clId="{265A6489-94A2-4E64-A25F-E64F69B0C2C1}" dt="2024-03-05T22:19:10.211" v="4472" actId="478"/>
          <ac:cxnSpMkLst>
            <pc:docMk/>
            <pc:sldMk cId="459806595" sldId="580"/>
            <ac:cxnSpMk id="717" creationId="{66B7D945-0308-4FF4-6522-DA46F2582901}"/>
          </ac:cxnSpMkLst>
        </pc:cxnChg>
        <pc:cxnChg chg="del ord replST">
          <ac:chgData name="Bullinger, Marvin" userId="5b54ce5a-dc89-476f-af33-5abd75d5b1e8" providerId="ADAL" clId="{265A6489-94A2-4E64-A25F-E64F69B0C2C1}" dt="2024-03-05T22:19:10.212" v="4473" actId="478"/>
          <ac:cxnSpMkLst>
            <pc:docMk/>
            <pc:sldMk cId="459806595" sldId="580"/>
            <ac:cxnSpMk id="718" creationId="{7B91A0BD-4870-7A2C-58C4-A7C6C0E288AD}"/>
          </ac:cxnSpMkLst>
        </pc:cxnChg>
        <pc:cxnChg chg="del">
          <ac:chgData name="Bullinger, Marvin" userId="5b54ce5a-dc89-476f-af33-5abd75d5b1e8" providerId="ADAL" clId="{265A6489-94A2-4E64-A25F-E64F69B0C2C1}" dt="2024-03-05T20:07:14.431" v="230" actId="478"/>
          <ac:cxnSpMkLst>
            <pc:docMk/>
            <pc:sldMk cId="459806595" sldId="580"/>
            <ac:cxnSpMk id="720" creationId="{B9672D42-081E-38CC-6C91-AAAE314C3892}"/>
          </ac:cxnSpMkLst>
        </pc:cxnChg>
        <pc:cxnChg chg="del">
          <ac:chgData name="Bullinger, Marvin" userId="5b54ce5a-dc89-476f-af33-5abd75d5b1e8" providerId="ADAL" clId="{265A6489-94A2-4E64-A25F-E64F69B0C2C1}" dt="2024-03-05T20:07:14.432" v="231" actId="478"/>
          <ac:cxnSpMkLst>
            <pc:docMk/>
            <pc:sldMk cId="459806595" sldId="580"/>
            <ac:cxnSpMk id="723" creationId="{B574418D-6369-8329-1109-C4DFDB72F555}"/>
          </ac:cxnSpMkLst>
        </pc:cxnChg>
        <pc:cxnChg chg="del">
          <ac:chgData name="Bullinger, Marvin" userId="5b54ce5a-dc89-476f-af33-5abd75d5b1e8" providerId="ADAL" clId="{265A6489-94A2-4E64-A25F-E64F69B0C2C1}" dt="2024-03-05T20:07:14.433" v="232" actId="478"/>
          <ac:cxnSpMkLst>
            <pc:docMk/>
            <pc:sldMk cId="459806595" sldId="580"/>
            <ac:cxnSpMk id="726" creationId="{0A1AD68D-B041-9A0F-6347-FC22A9600CCF}"/>
          </ac:cxnSpMkLst>
        </pc:cxnChg>
        <pc:cxnChg chg="del">
          <ac:chgData name="Bullinger, Marvin" userId="5b54ce5a-dc89-476f-af33-5abd75d5b1e8" providerId="ADAL" clId="{265A6489-94A2-4E64-A25F-E64F69B0C2C1}" dt="2024-03-05T20:07:14.433" v="233" actId="478"/>
          <ac:cxnSpMkLst>
            <pc:docMk/>
            <pc:sldMk cId="459806595" sldId="580"/>
            <ac:cxnSpMk id="729" creationId="{17324FA3-816D-F04A-ECEE-61CCAF93E87F}"/>
          </ac:cxnSpMkLst>
        </pc:cxnChg>
        <pc:cxnChg chg="del">
          <ac:chgData name="Bullinger, Marvin" userId="5b54ce5a-dc89-476f-af33-5abd75d5b1e8" providerId="ADAL" clId="{265A6489-94A2-4E64-A25F-E64F69B0C2C1}" dt="2024-03-05T20:07:14.434" v="234" actId="478"/>
          <ac:cxnSpMkLst>
            <pc:docMk/>
            <pc:sldMk cId="459806595" sldId="580"/>
            <ac:cxnSpMk id="730" creationId="{141F647F-B10C-D877-61FC-6D73D082FBEF}"/>
          </ac:cxnSpMkLst>
        </pc:cxnChg>
        <pc:cxnChg chg="ord replST">
          <ac:chgData name="Bullinger, Marvin" userId="5b54ce5a-dc89-476f-af33-5abd75d5b1e8" providerId="ADAL" clId="{265A6489-94A2-4E64-A25F-E64F69B0C2C1}" dt="2024-03-05T22:19:11.080" v="4856"/>
          <ac:cxnSpMkLst>
            <pc:docMk/>
            <pc:sldMk cId="459806595" sldId="580"/>
            <ac:cxnSpMk id="798" creationId="{B4E958CF-EFC0-00ED-55BE-D54EE35ABE22}"/>
          </ac:cxnSpMkLst>
        </pc:cxnChg>
        <pc:cxnChg chg="ord replST">
          <ac:chgData name="Bullinger, Marvin" userId="5b54ce5a-dc89-476f-af33-5abd75d5b1e8" providerId="ADAL" clId="{265A6489-94A2-4E64-A25F-E64F69B0C2C1}" dt="2024-03-05T22:19:11.081" v="4857"/>
          <ac:cxnSpMkLst>
            <pc:docMk/>
            <pc:sldMk cId="459806595" sldId="580"/>
            <ac:cxnSpMk id="801" creationId="{8D9D68E4-FA96-1C68-0914-ECB29BF6E7D6}"/>
          </ac:cxnSpMkLst>
        </pc:cxnChg>
        <pc:cxnChg chg="ord replST">
          <ac:chgData name="Bullinger, Marvin" userId="5b54ce5a-dc89-476f-af33-5abd75d5b1e8" providerId="ADAL" clId="{265A6489-94A2-4E64-A25F-E64F69B0C2C1}" dt="2024-03-05T22:19:11.082" v="4858"/>
          <ac:cxnSpMkLst>
            <pc:docMk/>
            <pc:sldMk cId="459806595" sldId="580"/>
            <ac:cxnSpMk id="804" creationId="{A4AEBE10-3586-E2C0-0725-A5F4DDF07B00}"/>
          </ac:cxnSpMkLst>
        </pc:cxnChg>
        <pc:cxnChg chg="ord replST">
          <ac:chgData name="Bullinger, Marvin" userId="5b54ce5a-dc89-476f-af33-5abd75d5b1e8" providerId="ADAL" clId="{265A6489-94A2-4E64-A25F-E64F69B0C2C1}" dt="2024-03-05T22:19:11.085" v="4860"/>
          <ac:cxnSpMkLst>
            <pc:docMk/>
            <pc:sldMk cId="459806595" sldId="580"/>
            <ac:cxnSpMk id="810" creationId="{B46BE94C-51E2-5C2F-B16C-3C7C0CF30900}"/>
          </ac:cxnSpMkLst>
        </pc:cxnChg>
        <pc:cxnChg chg="ord replST">
          <ac:chgData name="Bullinger, Marvin" userId="5b54ce5a-dc89-476f-af33-5abd75d5b1e8" providerId="ADAL" clId="{265A6489-94A2-4E64-A25F-E64F69B0C2C1}" dt="2024-03-05T22:19:11.087" v="4861"/>
          <ac:cxnSpMkLst>
            <pc:docMk/>
            <pc:sldMk cId="459806595" sldId="580"/>
            <ac:cxnSpMk id="813" creationId="{8A5F3324-84EE-BFA2-1721-5C36FCE15DD2}"/>
          </ac:cxnSpMkLst>
        </pc:cxnChg>
        <pc:cxnChg chg="ord replST">
          <ac:chgData name="Bullinger, Marvin" userId="5b54ce5a-dc89-476f-af33-5abd75d5b1e8" providerId="ADAL" clId="{265A6489-94A2-4E64-A25F-E64F69B0C2C1}" dt="2024-03-05T22:19:11.087" v="4862"/>
          <ac:cxnSpMkLst>
            <pc:docMk/>
            <pc:sldMk cId="459806595" sldId="580"/>
            <ac:cxnSpMk id="814" creationId="{E79134E1-94E3-E99B-EBB9-E8D45E247CF7}"/>
          </ac:cxnSpMkLst>
        </pc:cxnChg>
      </pc:sldChg>
      <pc:sldChg chg="addSp delSp modSp mod">
        <pc:chgData name="Bullinger, Marvin" userId="5b54ce5a-dc89-476f-af33-5abd75d5b1e8" providerId="ADAL" clId="{265A6489-94A2-4E64-A25F-E64F69B0C2C1}" dt="2024-03-06T14:06:20.581" v="5448" actId="20577"/>
        <pc:sldMkLst>
          <pc:docMk/>
          <pc:sldMk cId="965765845" sldId="581"/>
        </pc:sldMkLst>
        <pc:spChg chg="add mod">
          <ac:chgData name="Bullinger, Marvin" userId="5b54ce5a-dc89-476f-af33-5abd75d5b1e8" providerId="ADAL" clId="{265A6489-94A2-4E64-A25F-E64F69B0C2C1}" dt="2024-03-05T20:07:14.497" v="317" actId="478"/>
          <ac:spMkLst>
            <pc:docMk/>
            <pc:sldMk cId="965765845" sldId="581"/>
            <ac:spMk id="682" creationId="{3D7508C8-C94A-2B2D-F188-3AD7B5C13481}"/>
          </ac:spMkLst>
        </pc:spChg>
        <pc:spChg chg="add mod">
          <ac:chgData name="Bullinger, Marvin" userId="5b54ce5a-dc89-476f-af33-5abd75d5b1e8" providerId="ADAL" clId="{265A6489-94A2-4E64-A25F-E64F69B0C2C1}" dt="2024-03-05T20:17:17.915" v="844" actId="478"/>
          <ac:spMkLst>
            <pc:docMk/>
            <pc:sldMk cId="965765845" sldId="581"/>
            <ac:spMk id="682" creationId="{E2B32403-CB4F-BD6E-F06C-164777CE4730}"/>
          </ac:spMkLst>
        </pc:spChg>
        <pc:spChg chg="del mod ord replST">
          <ac:chgData name="Bullinger, Marvin" userId="5b54ce5a-dc89-476f-af33-5abd75d5b1e8" providerId="ADAL" clId="{265A6489-94A2-4E64-A25F-E64F69B0C2C1}" dt="2024-03-05T20:17:17.915" v="844" actId="478"/>
          <ac:spMkLst>
            <pc:docMk/>
            <pc:sldMk cId="965765845" sldId="581"/>
            <ac:spMk id="683" creationId="{6ADE4426-6600-DAB6-9B5F-1C29ED74090F}"/>
          </ac:spMkLst>
        </pc:spChg>
        <pc:spChg chg="del">
          <ac:chgData name="Bullinger, Marvin" userId="5b54ce5a-dc89-476f-af33-5abd75d5b1e8" providerId="ADAL" clId="{265A6489-94A2-4E64-A25F-E64F69B0C2C1}" dt="2024-03-05T20:07:14.497" v="317" actId="478"/>
          <ac:spMkLst>
            <pc:docMk/>
            <pc:sldMk cId="965765845" sldId="581"/>
            <ac:spMk id="684" creationId="{4F2DD243-9133-D33A-A1D1-58505D7FCF45}"/>
          </ac:spMkLst>
        </pc:spChg>
        <pc:spChg chg="del mod ord replST">
          <ac:chgData name="Bullinger, Marvin" userId="5b54ce5a-dc89-476f-af33-5abd75d5b1e8" providerId="ADAL" clId="{265A6489-94A2-4E64-A25F-E64F69B0C2C1}" dt="2024-03-05T22:19:10.325" v="4555" actId="478"/>
          <ac:spMkLst>
            <pc:docMk/>
            <pc:sldMk cId="965765845" sldId="581"/>
            <ac:spMk id="684" creationId="{C9B2A54E-C4F9-108B-6B06-EEAA5AFC2F6A}"/>
          </ac:spMkLst>
        </pc:spChg>
        <pc:spChg chg="del">
          <ac:chgData name="Bullinger, Marvin" userId="5b54ce5a-dc89-476f-af33-5abd75d5b1e8" providerId="ADAL" clId="{265A6489-94A2-4E64-A25F-E64F69B0C2C1}" dt="2024-03-05T20:17:17.936" v="877" actId="478"/>
          <ac:spMkLst>
            <pc:docMk/>
            <pc:sldMk cId="965765845" sldId="581"/>
            <ac:spMk id="685" creationId="{080D2300-76F8-D2C0-CA2B-8722132D40DD}"/>
          </ac:spMkLst>
        </pc:spChg>
        <pc:spChg chg="del">
          <ac:chgData name="Bullinger, Marvin" userId="5b54ce5a-dc89-476f-af33-5abd75d5b1e8" providerId="ADAL" clId="{265A6489-94A2-4E64-A25F-E64F69B0C2C1}" dt="2024-03-05T20:07:14.521" v="353" actId="478"/>
          <ac:spMkLst>
            <pc:docMk/>
            <pc:sldMk cId="965765845" sldId="581"/>
            <ac:spMk id="685" creationId="{3F1D1320-5A74-CBCD-880E-797A59D9142D}"/>
          </ac:spMkLst>
        </pc:spChg>
        <pc:spChg chg="del">
          <ac:chgData name="Bullinger, Marvin" userId="5b54ce5a-dc89-476f-af33-5abd75d5b1e8" providerId="ADAL" clId="{265A6489-94A2-4E64-A25F-E64F69B0C2C1}" dt="2024-03-05T20:17:17.936" v="876" actId="478"/>
          <ac:spMkLst>
            <pc:docMk/>
            <pc:sldMk cId="965765845" sldId="581"/>
            <ac:spMk id="686" creationId="{182ACCCF-E8E7-3517-C2D2-C5D114A89BFB}"/>
          </ac:spMkLst>
        </pc:spChg>
        <pc:spChg chg="del">
          <ac:chgData name="Bullinger, Marvin" userId="5b54ce5a-dc89-476f-af33-5abd75d5b1e8" providerId="ADAL" clId="{265A6489-94A2-4E64-A25F-E64F69B0C2C1}" dt="2024-03-05T20:07:14.521" v="352" actId="478"/>
          <ac:spMkLst>
            <pc:docMk/>
            <pc:sldMk cId="965765845" sldId="581"/>
            <ac:spMk id="686" creationId="{2D3DEED9-84F3-4331-3ED3-5C2BDF27B23E}"/>
          </ac:spMkLst>
        </pc:spChg>
        <pc:spChg chg="del">
          <ac:chgData name="Bullinger, Marvin" userId="5b54ce5a-dc89-476f-af33-5abd75d5b1e8" providerId="ADAL" clId="{265A6489-94A2-4E64-A25F-E64F69B0C2C1}" dt="2024-03-05T20:17:17.935" v="875" actId="478"/>
          <ac:spMkLst>
            <pc:docMk/>
            <pc:sldMk cId="965765845" sldId="581"/>
            <ac:spMk id="687" creationId="{37150DFF-37AC-9B1F-8D89-A79F79A49D99}"/>
          </ac:spMkLst>
        </pc:spChg>
        <pc:spChg chg="del">
          <ac:chgData name="Bullinger, Marvin" userId="5b54ce5a-dc89-476f-af33-5abd75d5b1e8" providerId="ADAL" clId="{265A6489-94A2-4E64-A25F-E64F69B0C2C1}" dt="2024-03-05T20:07:14.521" v="351" actId="478"/>
          <ac:spMkLst>
            <pc:docMk/>
            <pc:sldMk cId="965765845" sldId="581"/>
            <ac:spMk id="687" creationId="{4D2214FD-725C-FE09-4520-74DC5BFD983C}"/>
          </ac:spMkLst>
        </pc:spChg>
        <pc:spChg chg="del">
          <ac:chgData name="Bullinger, Marvin" userId="5b54ce5a-dc89-476f-af33-5abd75d5b1e8" providerId="ADAL" clId="{265A6489-94A2-4E64-A25F-E64F69B0C2C1}" dt="2024-03-05T20:17:17.935" v="874" actId="478"/>
          <ac:spMkLst>
            <pc:docMk/>
            <pc:sldMk cId="965765845" sldId="581"/>
            <ac:spMk id="688" creationId="{03970D02-F7CF-B5FA-47D7-760C983D8ACC}"/>
          </ac:spMkLst>
        </pc:spChg>
        <pc:spChg chg="del">
          <ac:chgData name="Bullinger, Marvin" userId="5b54ce5a-dc89-476f-af33-5abd75d5b1e8" providerId="ADAL" clId="{265A6489-94A2-4E64-A25F-E64F69B0C2C1}" dt="2024-03-05T20:07:14.520" v="350" actId="478"/>
          <ac:spMkLst>
            <pc:docMk/>
            <pc:sldMk cId="965765845" sldId="581"/>
            <ac:spMk id="688" creationId="{3E76BC80-AA5D-E07D-57DF-94739FB474DB}"/>
          </ac:spMkLst>
        </pc:spChg>
        <pc:spChg chg="del">
          <ac:chgData name="Bullinger, Marvin" userId="5b54ce5a-dc89-476f-af33-5abd75d5b1e8" providerId="ADAL" clId="{265A6489-94A2-4E64-A25F-E64F69B0C2C1}" dt="2024-03-05T20:07:14.520" v="349" actId="478"/>
          <ac:spMkLst>
            <pc:docMk/>
            <pc:sldMk cId="965765845" sldId="581"/>
            <ac:spMk id="689" creationId="{451F409A-CE50-E575-5448-92A6D4041A6F}"/>
          </ac:spMkLst>
        </pc:spChg>
        <pc:spChg chg="del">
          <ac:chgData name="Bullinger, Marvin" userId="5b54ce5a-dc89-476f-af33-5abd75d5b1e8" providerId="ADAL" clId="{265A6489-94A2-4E64-A25F-E64F69B0C2C1}" dt="2024-03-05T20:17:17.935" v="873" actId="478"/>
          <ac:spMkLst>
            <pc:docMk/>
            <pc:sldMk cId="965765845" sldId="581"/>
            <ac:spMk id="689" creationId="{F8DA6D92-B8B8-CC72-BA37-2F0FE3652912}"/>
          </ac:spMkLst>
        </pc:spChg>
        <pc:spChg chg="del">
          <ac:chgData name="Bullinger, Marvin" userId="5b54ce5a-dc89-476f-af33-5abd75d5b1e8" providerId="ADAL" clId="{265A6489-94A2-4E64-A25F-E64F69B0C2C1}" dt="2024-03-05T20:07:14.519" v="348" actId="478"/>
          <ac:spMkLst>
            <pc:docMk/>
            <pc:sldMk cId="965765845" sldId="581"/>
            <ac:spMk id="690" creationId="{28526AAB-D54C-CB8E-2399-843CDE5B6B0B}"/>
          </ac:spMkLst>
        </pc:spChg>
        <pc:spChg chg="del">
          <ac:chgData name="Bullinger, Marvin" userId="5b54ce5a-dc89-476f-af33-5abd75d5b1e8" providerId="ADAL" clId="{265A6489-94A2-4E64-A25F-E64F69B0C2C1}" dt="2024-03-05T20:17:17.934" v="872" actId="478"/>
          <ac:spMkLst>
            <pc:docMk/>
            <pc:sldMk cId="965765845" sldId="581"/>
            <ac:spMk id="690" creationId="{7FCA6108-6269-0C3F-B1AA-FBBF0CA3D54B}"/>
          </ac:spMkLst>
        </pc:spChg>
        <pc:spChg chg="del">
          <ac:chgData name="Bullinger, Marvin" userId="5b54ce5a-dc89-476f-af33-5abd75d5b1e8" providerId="ADAL" clId="{265A6489-94A2-4E64-A25F-E64F69B0C2C1}" dt="2024-03-05T20:07:14.518" v="345" actId="478"/>
          <ac:spMkLst>
            <pc:docMk/>
            <pc:sldMk cId="965765845" sldId="581"/>
            <ac:spMk id="691" creationId="{08FBF6AE-8CC0-95DC-747F-157BC3842075}"/>
          </ac:spMkLst>
        </pc:spChg>
        <pc:spChg chg="del">
          <ac:chgData name="Bullinger, Marvin" userId="5b54ce5a-dc89-476f-af33-5abd75d5b1e8" providerId="ADAL" clId="{265A6489-94A2-4E64-A25F-E64F69B0C2C1}" dt="2024-03-05T20:17:17.933" v="869" actId="478"/>
          <ac:spMkLst>
            <pc:docMk/>
            <pc:sldMk cId="965765845" sldId="581"/>
            <ac:spMk id="691" creationId="{5D571F2B-630C-B11B-9B63-27DD8264F839}"/>
          </ac:spMkLst>
        </pc:spChg>
        <pc:spChg chg="del">
          <ac:chgData name="Bullinger, Marvin" userId="5b54ce5a-dc89-476f-af33-5abd75d5b1e8" providerId="ADAL" clId="{265A6489-94A2-4E64-A25F-E64F69B0C2C1}" dt="2024-03-05T20:07:14.518" v="344" actId="478"/>
          <ac:spMkLst>
            <pc:docMk/>
            <pc:sldMk cId="965765845" sldId="581"/>
            <ac:spMk id="692" creationId="{9B2D2D28-6CE3-D8AE-6781-ADDAD46E3FD1}"/>
          </ac:spMkLst>
        </pc:spChg>
        <pc:spChg chg="del">
          <ac:chgData name="Bullinger, Marvin" userId="5b54ce5a-dc89-476f-af33-5abd75d5b1e8" providerId="ADAL" clId="{265A6489-94A2-4E64-A25F-E64F69B0C2C1}" dt="2024-03-05T20:17:17.933" v="868" actId="478"/>
          <ac:spMkLst>
            <pc:docMk/>
            <pc:sldMk cId="965765845" sldId="581"/>
            <ac:spMk id="692" creationId="{BA8640FD-F086-3490-4EAE-17CE3B985ED2}"/>
          </ac:spMkLst>
        </pc:spChg>
        <pc:spChg chg="del">
          <ac:chgData name="Bullinger, Marvin" userId="5b54ce5a-dc89-476f-af33-5abd75d5b1e8" providerId="ADAL" clId="{265A6489-94A2-4E64-A25F-E64F69B0C2C1}" dt="2024-03-05T20:17:17.933" v="867" actId="478"/>
          <ac:spMkLst>
            <pc:docMk/>
            <pc:sldMk cId="965765845" sldId="581"/>
            <ac:spMk id="693" creationId="{4611D044-BE22-622D-A4A3-0A882ECE2F93}"/>
          </ac:spMkLst>
        </pc:spChg>
        <pc:spChg chg="del">
          <ac:chgData name="Bullinger, Marvin" userId="5b54ce5a-dc89-476f-af33-5abd75d5b1e8" providerId="ADAL" clId="{265A6489-94A2-4E64-A25F-E64F69B0C2C1}" dt="2024-03-05T20:07:14.517" v="343" actId="478"/>
          <ac:spMkLst>
            <pc:docMk/>
            <pc:sldMk cId="965765845" sldId="581"/>
            <ac:spMk id="693" creationId="{EDC34D41-3C51-5F57-43E2-8A977D53CB64}"/>
          </ac:spMkLst>
        </pc:spChg>
        <pc:spChg chg="del">
          <ac:chgData name="Bullinger, Marvin" userId="5b54ce5a-dc89-476f-af33-5abd75d5b1e8" providerId="ADAL" clId="{265A6489-94A2-4E64-A25F-E64F69B0C2C1}" dt="2024-03-05T20:17:17.932" v="866" actId="478"/>
          <ac:spMkLst>
            <pc:docMk/>
            <pc:sldMk cId="965765845" sldId="581"/>
            <ac:spMk id="694" creationId="{218385D2-07DD-FCB8-3EB3-5BAB554A3AF6}"/>
          </ac:spMkLst>
        </pc:spChg>
        <pc:spChg chg="del">
          <ac:chgData name="Bullinger, Marvin" userId="5b54ce5a-dc89-476f-af33-5abd75d5b1e8" providerId="ADAL" clId="{265A6489-94A2-4E64-A25F-E64F69B0C2C1}" dt="2024-03-05T20:07:14.517" v="342" actId="478"/>
          <ac:spMkLst>
            <pc:docMk/>
            <pc:sldMk cId="965765845" sldId="581"/>
            <ac:spMk id="694" creationId="{DFD5D0CF-C7C3-BF02-9913-5D24D63B769E}"/>
          </ac:spMkLst>
        </pc:spChg>
        <pc:spChg chg="del">
          <ac:chgData name="Bullinger, Marvin" userId="5b54ce5a-dc89-476f-af33-5abd75d5b1e8" providerId="ADAL" clId="{265A6489-94A2-4E64-A25F-E64F69B0C2C1}" dt="2024-03-05T20:07:14.517" v="341" actId="478"/>
          <ac:spMkLst>
            <pc:docMk/>
            <pc:sldMk cId="965765845" sldId="581"/>
            <ac:spMk id="695" creationId="{175A8274-37B1-7905-0B13-02F65A97C89E}"/>
          </ac:spMkLst>
        </pc:spChg>
        <pc:spChg chg="del">
          <ac:chgData name="Bullinger, Marvin" userId="5b54ce5a-dc89-476f-af33-5abd75d5b1e8" providerId="ADAL" clId="{265A6489-94A2-4E64-A25F-E64F69B0C2C1}" dt="2024-03-05T20:17:17.932" v="865" actId="478"/>
          <ac:spMkLst>
            <pc:docMk/>
            <pc:sldMk cId="965765845" sldId="581"/>
            <ac:spMk id="695" creationId="{6C1BB8AC-378E-E77B-7B7E-BCD1F91D478E}"/>
          </ac:spMkLst>
        </pc:spChg>
        <pc:spChg chg="del">
          <ac:chgData name="Bullinger, Marvin" userId="5b54ce5a-dc89-476f-af33-5abd75d5b1e8" providerId="ADAL" clId="{265A6489-94A2-4E64-A25F-E64F69B0C2C1}" dt="2024-03-05T20:17:17.931" v="864" actId="478"/>
          <ac:spMkLst>
            <pc:docMk/>
            <pc:sldMk cId="965765845" sldId="581"/>
            <ac:spMk id="696" creationId="{2312955C-B5A9-48EC-5F06-F62B69FB7C65}"/>
          </ac:spMkLst>
        </pc:spChg>
        <pc:spChg chg="del">
          <ac:chgData name="Bullinger, Marvin" userId="5b54ce5a-dc89-476f-af33-5abd75d5b1e8" providerId="ADAL" clId="{265A6489-94A2-4E64-A25F-E64F69B0C2C1}" dt="2024-03-05T20:07:14.516" v="340" actId="478"/>
          <ac:spMkLst>
            <pc:docMk/>
            <pc:sldMk cId="965765845" sldId="581"/>
            <ac:spMk id="696" creationId="{53E4ED0F-1FF7-CF40-5F58-2B9F409C9579}"/>
          </ac:spMkLst>
        </pc:spChg>
        <pc:spChg chg="del">
          <ac:chgData name="Bullinger, Marvin" userId="5b54ce5a-dc89-476f-af33-5abd75d5b1e8" providerId="ADAL" clId="{265A6489-94A2-4E64-A25F-E64F69B0C2C1}" dt="2024-03-05T20:07:14.524" v="361" actId="478"/>
          <ac:spMkLst>
            <pc:docMk/>
            <pc:sldMk cId="965765845" sldId="581"/>
            <ac:spMk id="697" creationId="{D0261375-1030-78DF-5620-839A7ABB7CBF}"/>
          </ac:spMkLst>
        </pc:spChg>
        <pc:spChg chg="del">
          <ac:chgData name="Bullinger, Marvin" userId="5b54ce5a-dc89-476f-af33-5abd75d5b1e8" providerId="ADAL" clId="{265A6489-94A2-4E64-A25F-E64F69B0C2C1}" dt="2024-03-05T20:17:17.939" v="885" actId="478"/>
          <ac:spMkLst>
            <pc:docMk/>
            <pc:sldMk cId="965765845" sldId="581"/>
            <ac:spMk id="697" creationId="{D5A25DCF-2410-22CE-15F7-BF2CACF357DF}"/>
          </ac:spMkLst>
        </pc:spChg>
        <pc:spChg chg="del">
          <ac:chgData name="Bullinger, Marvin" userId="5b54ce5a-dc89-476f-af33-5abd75d5b1e8" providerId="ADAL" clId="{265A6489-94A2-4E64-A25F-E64F69B0C2C1}" dt="2024-03-05T20:17:17.939" v="884" actId="478"/>
          <ac:spMkLst>
            <pc:docMk/>
            <pc:sldMk cId="965765845" sldId="581"/>
            <ac:spMk id="698" creationId="{93E8970F-B697-7D24-F9E3-E6BEFCCFB06C}"/>
          </ac:spMkLst>
        </pc:spChg>
        <pc:spChg chg="del">
          <ac:chgData name="Bullinger, Marvin" userId="5b54ce5a-dc89-476f-af33-5abd75d5b1e8" providerId="ADAL" clId="{265A6489-94A2-4E64-A25F-E64F69B0C2C1}" dt="2024-03-05T20:07:14.524" v="360" actId="478"/>
          <ac:spMkLst>
            <pc:docMk/>
            <pc:sldMk cId="965765845" sldId="581"/>
            <ac:spMk id="698" creationId="{E54A45BB-2DE6-E472-3990-28BFC44AFC2B}"/>
          </ac:spMkLst>
        </pc:spChg>
        <pc:spChg chg="del">
          <ac:chgData name="Bullinger, Marvin" userId="5b54ce5a-dc89-476f-af33-5abd75d5b1e8" providerId="ADAL" clId="{265A6489-94A2-4E64-A25F-E64F69B0C2C1}" dt="2024-03-05T20:07:14.524" v="359" actId="478"/>
          <ac:spMkLst>
            <pc:docMk/>
            <pc:sldMk cId="965765845" sldId="581"/>
            <ac:spMk id="699" creationId="{1BF08C11-E28D-AF02-8254-1EFDA9ED9D34}"/>
          </ac:spMkLst>
        </pc:spChg>
        <pc:spChg chg="del">
          <ac:chgData name="Bullinger, Marvin" userId="5b54ce5a-dc89-476f-af33-5abd75d5b1e8" providerId="ADAL" clId="{265A6489-94A2-4E64-A25F-E64F69B0C2C1}" dt="2024-03-05T20:17:17.938" v="883" actId="478"/>
          <ac:spMkLst>
            <pc:docMk/>
            <pc:sldMk cId="965765845" sldId="581"/>
            <ac:spMk id="699" creationId="{95CA52B4-E239-799B-D9A1-9BA39E039A6D}"/>
          </ac:spMkLst>
        </pc:spChg>
        <pc:spChg chg="del">
          <ac:chgData name="Bullinger, Marvin" userId="5b54ce5a-dc89-476f-af33-5abd75d5b1e8" providerId="ADAL" clId="{265A6489-94A2-4E64-A25F-E64F69B0C2C1}" dt="2024-03-05T20:07:14.523" v="358" actId="478"/>
          <ac:spMkLst>
            <pc:docMk/>
            <pc:sldMk cId="965765845" sldId="581"/>
            <ac:spMk id="700" creationId="{5A09ACAB-0560-B752-AA8C-464A0355541E}"/>
          </ac:spMkLst>
        </pc:spChg>
        <pc:spChg chg="del">
          <ac:chgData name="Bullinger, Marvin" userId="5b54ce5a-dc89-476f-af33-5abd75d5b1e8" providerId="ADAL" clId="{265A6489-94A2-4E64-A25F-E64F69B0C2C1}" dt="2024-03-05T20:17:17.938" v="882" actId="478"/>
          <ac:spMkLst>
            <pc:docMk/>
            <pc:sldMk cId="965765845" sldId="581"/>
            <ac:spMk id="700" creationId="{9688CABA-9D50-3C09-F146-D7FCADAFFBEB}"/>
          </ac:spMkLst>
        </pc:spChg>
        <pc:spChg chg="del">
          <ac:chgData name="Bullinger, Marvin" userId="5b54ce5a-dc89-476f-af33-5abd75d5b1e8" providerId="ADAL" clId="{265A6489-94A2-4E64-A25F-E64F69B0C2C1}" dt="2024-03-05T20:17:17.937" v="881" actId="478"/>
          <ac:spMkLst>
            <pc:docMk/>
            <pc:sldMk cId="965765845" sldId="581"/>
            <ac:spMk id="701" creationId="{31A5C0B7-38D3-F14F-BABC-F133770603D1}"/>
          </ac:spMkLst>
        </pc:spChg>
        <pc:spChg chg="del">
          <ac:chgData name="Bullinger, Marvin" userId="5b54ce5a-dc89-476f-af33-5abd75d5b1e8" providerId="ADAL" clId="{265A6489-94A2-4E64-A25F-E64F69B0C2C1}" dt="2024-03-05T20:07:14.523" v="357" actId="478"/>
          <ac:spMkLst>
            <pc:docMk/>
            <pc:sldMk cId="965765845" sldId="581"/>
            <ac:spMk id="701" creationId="{CA216D2E-5F3F-D4A9-E5F1-243199ED1041}"/>
          </ac:spMkLst>
        </pc:spChg>
        <pc:spChg chg="del">
          <ac:chgData name="Bullinger, Marvin" userId="5b54ce5a-dc89-476f-af33-5abd75d5b1e8" providerId="ADAL" clId="{265A6489-94A2-4E64-A25F-E64F69B0C2C1}" dt="2024-03-05T20:17:17.937" v="880" actId="478"/>
          <ac:spMkLst>
            <pc:docMk/>
            <pc:sldMk cId="965765845" sldId="581"/>
            <ac:spMk id="702" creationId="{5C46B990-512E-2D1B-7FF1-0389EDCD9B50}"/>
          </ac:spMkLst>
        </pc:spChg>
        <pc:spChg chg="del">
          <ac:chgData name="Bullinger, Marvin" userId="5b54ce5a-dc89-476f-af33-5abd75d5b1e8" providerId="ADAL" clId="{265A6489-94A2-4E64-A25F-E64F69B0C2C1}" dt="2024-03-05T20:07:14.522" v="356" actId="478"/>
          <ac:spMkLst>
            <pc:docMk/>
            <pc:sldMk cId="965765845" sldId="581"/>
            <ac:spMk id="702" creationId="{C153B370-CBEC-4E0A-CF5F-9C295408E319}"/>
          </ac:spMkLst>
        </pc:spChg>
        <pc:spChg chg="del">
          <ac:chgData name="Bullinger, Marvin" userId="5b54ce5a-dc89-476f-af33-5abd75d5b1e8" providerId="ADAL" clId="{265A6489-94A2-4E64-A25F-E64F69B0C2C1}" dt="2024-03-05T20:17:17.937" v="879" actId="478"/>
          <ac:spMkLst>
            <pc:docMk/>
            <pc:sldMk cId="965765845" sldId="581"/>
            <ac:spMk id="703" creationId="{BA7A83A6-08F9-F5A1-6CCB-66711AD50C51}"/>
          </ac:spMkLst>
        </pc:spChg>
        <pc:spChg chg="del">
          <ac:chgData name="Bullinger, Marvin" userId="5b54ce5a-dc89-476f-af33-5abd75d5b1e8" providerId="ADAL" clId="{265A6489-94A2-4E64-A25F-E64F69B0C2C1}" dt="2024-03-05T20:07:14.522" v="355" actId="478"/>
          <ac:spMkLst>
            <pc:docMk/>
            <pc:sldMk cId="965765845" sldId="581"/>
            <ac:spMk id="703" creationId="{EB106C22-063B-CBE4-1504-CFA9984EC2DF}"/>
          </ac:spMkLst>
        </pc:spChg>
        <pc:spChg chg="del">
          <ac:chgData name="Bullinger, Marvin" userId="5b54ce5a-dc89-476f-af33-5abd75d5b1e8" providerId="ADAL" clId="{265A6489-94A2-4E64-A25F-E64F69B0C2C1}" dt="2024-03-05T20:07:14.522" v="354" actId="478"/>
          <ac:spMkLst>
            <pc:docMk/>
            <pc:sldMk cId="965765845" sldId="581"/>
            <ac:spMk id="704" creationId="{704B763A-BBEC-0448-9AB4-9E6A357D3832}"/>
          </ac:spMkLst>
        </pc:spChg>
        <pc:spChg chg="del">
          <ac:chgData name="Bullinger, Marvin" userId="5b54ce5a-dc89-476f-af33-5abd75d5b1e8" providerId="ADAL" clId="{265A6489-94A2-4E64-A25F-E64F69B0C2C1}" dt="2024-03-05T20:07:14.519" v="346" actId="478"/>
          <ac:spMkLst>
            <pc:docMk/>
            <pc:sldMk cId="965765845" sldId="581"/>
            <ac:spMk id="705" creationId="{80EE9DFB-AD2E-A918-20B4-BDBDDE188C92}"/>
          </ac:spMkLst>
        </pc:spChg>
        <pc:spChg chg="del">
          <ac:chgData name="Bullinger, Marvin" userId="5b54ce5a-dc89-476f-af33-5abd75d5b1e8" providerId="ADAL" clId="{265A6489-94A2-4E64-A25F-E64F69B0C2C1}" dt="2024-03-05T20:07:14.516" v="339" actId="478"/>
          <ac:spMkLst>
            <pc:docMk/>
            <pc:sldMk cId="965765845" sldId="581"/>
            <ac:spMk id="706" creationId="{3050600C-F8AC-CEF9-FB8A-757E149B1755}"/>
          </ac:spMkLst>
        </pc:spChg>
        <pc:spChg chg="del">
          <ac:chgData name="Bullinger, Marvin" userId="5b54ce5a-dc89-476f-af33-5abd75d5b1e8" providerId="ADAL" clId="{265A6489-94A2-4E64-A25F-E64F69B0C2C1}" dt="2024-03-05T20:07:14.519" v="347" actId="478"/>
          <ac:spMkLst>
            <pc:docMk/>
            <pc:sldMk cId="965765845" sldId="581"/>
            <ac:spMk id="707" creationId="{961A0D56-C442-71F2-0B03-8B5ED7317DB3}"/>
          </ac:spMkLst>
        </pc:spChg>
        <pc:spChg chg="del">
          <ac:chgData name="Bullinger, Marvin" userId="5b54ce5a-dc89-476f-af33-5abd75d5b1e8" providerId="ADAL" clId="{265A6489-94A2-4E64-A25F-E64F69B0C2C1}" dt="2024-03-05T20:07:14.516" v="338" actId="478"/>
          <ac:spMkLst>
            <pc:docMk/>
            <pc:sldMk cId="965765845" sldId="581"/>
            <ac:spMk id="708" creationId="{9229B3A8-7796-55C9-E13D-33D4AE6DD9AE}"/>
          </ac:spMkLst>
        </pc:spChg>
        <pc:spChg chg="del">
          <ac:chgData name="Bullinger, Marvin" userId="5b54ce5a-dc89-476f-af33-5abd75d5b1e8" providerId="ADAL" clId="{265A6489-94A2-4E64-A25F-E64F69B0C2C1}" dt="2024-03-05T20:07:14.515" v="337" actId="478"/>
          <ac:spMkLst>
            <pc:docMk/>
            <pc:sldMk cId="965765845" sldId="581"/>
            <ac:spMk id="709" creationId="{4E3F3285-FEFD-E33A-5F07-EC068F81A164}"/>
          </ac:spMkLst>
        </pc:spChg>
        <pc:spChg chg="del">
          <ac:chgData name="Bullinger, Marvin" userId="5b54ce5a-dc89-476f-af33-5abd75d5b1e8" providerId="ADAL" clId="{265A6489-94A2-4E64-A25F-E64F69B0C2C1}" dt="2024-03-05T20:07:14.515" v="336" actId="478"/>
          <ac:spMkLst>
            <pc:docMk/>
            <pc:sldMk cId="965765845" sldId="581"/>
            <ac:spMk id="710" creationId="{EBD87F9C-207F-1A31-E15F-F8B24C50F3E3}"/>
          </ac:spMkLst>
        </pc:spChg>
        <pc:spChg chg="del">
          <ac:chgData name="Bullinger, Marvin" userId="5b54ce5a-dc89-476f-af33-5abd75d5b1e8" providerId="ADAL" clId="{265A6489-94A2-4E64-A25F-E64F69B0C2C1}" dt="2024-03-05T20:07:14.514" v="335" actId="478"/>
          <ac:spMkLst>
            <pc:docMk/>
            <pc:sldMk cId="965765845" sldId="581"/>
            <ac:spMk id="711" creationId="{83D9ADAF-FFBB-3CE3-2580-EEFE40BED332}"/>
          </ac:spMkLst>
        </pc:spChg>
        <pc:spChg chg="del">
          <ac:chgData name="Bullinger, Marvin" userId="5b54ce5a-dc89-476f-af33-5abd75d5b1e8" providerId="ADAL" clId="{265A6489-94A2-4E64-A25F-E64F69B0C2C1}" dt="2024-03-05T20:07:14.500" v="321" actId="478"/>
          <ac:spMkLst>
            <pc:docMk/>
            <pc:sldMk cId="965765845" sldId="581"/>
            <ac:spMk id="723" creationId="{6095A507-617A-561F-05A8-1A910D63C81D}"/>
          </ac:spMkLst>
        </pc:spChg>
        <pc:spChg chg="del">
          <ac:chgData name="Bullinger, Marvin" userId="5b54ce5a-dc89-476f-af33-5abd75d5b1e8" providerId="ADAL" clId="{265A6489-94A2-4E64-A25F-E64F69B0C2C1}" dt="2024-03-05T20:07:14.514" v="334" actId="478"/>
          <ac:spMkLst>
            <pc:docMk/>
            <pc:sldMk cId="965765845" sldId="581"/>
            <ac:spMk id="731" creationId="{9F8D54B6-F646-3BF2-355D-1760A085DF2C}"/>
          </ac:spMkLst>
        </pc:spChg>
        <pc:spChg chg="del">
          <ac:chgData name="Bullinger, Marvin" userId="5b54ce5a-dc89-476f-af33-5abd75d5b1e8" providerId="ADAL" clId="{265A6489-94A2-4E64-A25F-E64F69B0C2C1}" dt="2024-03-05T20:07:14.514" v="333" actId="478"/>
          <ac:spMkLst>
            <pc:docMk/>
            <pc:sldMk cId="965765845" sldId="581"/>
            <ac:spMk id="732" creationId="{9773107C-1BD1-D618-B158-0296E42DAAB7}"/>
          </ac:spMkLst>
        </pc:spChg>
        <pc:spChg chg="del">
          <ac:chgData name="Bullinger, Marvin" userId="5b54ce5a-dc89-476f-af33-5abd75d5b1e8" providerId="ADAL" clId="{265A6489-94A2-4E64-A25F-E64F69B0C2C1}" dt="2024-03-05T20:07:14.513" v="332" actId="478"/>
          <ac:spMkLst>
            <pc:docMk/>
            <pc:sldMk cId="965765845" sldId="581"/>
            <ac:spMk id="733" creationId="{24EB3F13-4C40-0E9A-958F-1F9DC431B1D7}"/>
          </ac:spMkLst>
        </pc:spChg>
        <pc:spChg chg="del">
          <ac:chgData name="Bullinger, Marvin" userId="5b54ce5a-dc89-476f-af33-5abd75d5b1e8" providerId="ADAL" clId="{265A6489-94A2-4E64-A25F-E64F69B0C2C1}" dt="2024-03-05T20:07:14.513" v="331" actId="478"/>
          <ac:spMkLst>
            <pc:docMk/>
            <pc:sldMk cId="965765845" sldId="581"/>
            <ac:spMk id="734" creationId="{2FF629DC-E073-D4EA-B33A-4DB0AFC4CD7C}"/>
          </ac:spMkLst>
        </pc:spChg>
        <pc:spChg chg="del">
          <ac:chgData name="Bullinger, Marvin" userId="5b54ce5a-dc89-476f-af33-5abd75d5b1e8" providerId="ADAL" clId="{265A6489-94A2-4E64-A25F-E64F69B0C2C1}" dt="2024-03-05T20:07:14.512" v="330" actId="478"/>
          <ac:spMkLst>
            <pc:docMk/>
            <pc:sldMk cId="965765845" sldId="581"/>
            <ac:spMk id="735" creationId="{E707E393-2FCB-FE35-EEFA-49378887EDD1}"/>
          </ac:spMkLst>
        </pc:spChg>
        <pc:spChg chg="del">
          <ac:chgData name="Bullinger, Marvin" userId="5b54ce5a-dc89-476f-af33-5abd75d5b1e8" providerId="ADAL" clId="{265A6489-94A2-4E64-A25F-E64F69B0C2C1}" dt="2024-03-05T20:17:17.936" v="878" actId="478"/>
          <ac:spMkLst>
            <pc:docMk/>
            <pc:sldMk cId="965765845" sldId="581"/>
            <ac:spMk id="736" creationId="{63EAAE76-9BD6-1E09-5F89-029578A66656}"/>
          </ac:spMkLst>
        </pc:spChg>
        <pc:spChg chg="del">
          <ac:chgData name="Bullinger, Marvin" userId="5b54ce5a-dc89-476f-af33-5abd75d5b1e8" providerId="ADAL" clId="{265A6489-94A2-4E64-A25F-E64F69B0C2C1}" dt="2024-03-05T20:07:14.512" v="329" actId="478"/>
          <ac:spMkLst>
            <pc:docMk/>
            <pc:sldMk cId="965765845" sldId="581"/>
            <ac:spMk id="736" creationId="{EE811B43-7958-D164-66CB-B0827E2FEEBD}"/>
          </ac:spMkLst>
        </pc:spChg>
        <pc:spChg chg="del">
          <ac:chgData name="Bullinger, Marvin" userId="5b54ce5a-dc89-476f-af33-5abd75d5b1e8" providerId="ADAL" clId="{265A6489-94A2-4E64-A25F-E64F69B0C2C1}" dt="2024-03-05T20:17:17.934" v="870" actId="478"/>
          <ac:spMkLst>
            <pc:docMk/>
            <pc:sldMk cId="965765845" sldId="581"/>
            <ac:spMk id="737" creationId="{6C71F916-30BA-B5C4-67E8-113A31D21A68}"/>
          </ac:spMkLst>
        </pc:spChg>
        <pc:spChg chg="del">
          <ac:chgData name="Bullinger, Marvin" userId="5b54ce5a-dc89-476f-af33-5abd75d5b1e8" providerId="ADAL" clId="{265A6489-94A2-4E64-A25F-E64F69B0C2C1}" dt="2024-03-05T20:07:14.512" v="328" actId="478"/>
          <ac:spMkLst>
            <pc:docMk/>
            <pc:sldMk cId="965765845" sldId="581"/>
            <ac:spMk id="737" creationId="{A7B41D71-B938-E922-3AF3-01039EAA9C41}"/>
          </ac:spMkLst>
        </pc:spChg>
        <pc:spChg chg="del">
          <ac:chgData name="Bullinger, Marvin" userId="5b54ce5a-dc89-476f-af33-5abd75d5b1e8" providerId="ADAL" clId="{265A6489-94A2-4E64-A25F-E64F69B0C2C1}" dt="2024-03-05T20:17:17.931" v="863" actId="478"/>
          <ac:spMkLst>
            <pc:docMk/>
            <pc:sldMk cId="965765845" sldId="581"/>
            <ac:spMk id="738" creationId="{2FF1B834-6F01-9793-6268-C0797D0C86E7}"/>
          </ac:spMkLst>
        </pc:spChg>
        <pc:spChg chg="del">
          <ac:chgData name="Bullinger, Marvin" userId="5b54ce5a-dc89-476f-af33-5abd75d5b1e8" providerId="ADAL" clId="{265A6489-94A2-4E64-A25F-E64F69B0C2C1}" dt="2024-03-05T20:07:14.511" v="327" actId="478"/>
          <ac:spMkLst>
            <pc:docMk/>
            <pc:sldMk cId="965765845" sldId="581"/>
            <ac:spMk id="738" creationId="{EEF71CDE-6E0E-9A22-44C4-4F846FABC44C}"/>
          </ac:spMkLst>
        </pc:spChg>
        <pc:spChg chg="del">
          <ac:chgData name="Bullinger, Marvin" userId="5b54ce5a-dc89-476f-af33-5abd75d5b1e8" providerId="ADAL" clId="{265A6489-94A2-4E64-A25F-E64F69B0C2C1}" dt="2024-03-05T20:17:17.934" v="871" actId="478"/>
          <ac:spMkLst>
            <pc:docMk/>
            <pc:sldMk cId="965765845" sldId="581"/>
            <ac:spMk id="739" creationId="{0B6D9E98-A898-B782-6441-176D87FDD101}"/>
          </ac:spMkLst>
        </pc:spChg>
        <pc:spChg chg="del">
          <ac:chgData name="Bullinger, Marvin" userId="5b54ce5a-dc89-476f-af33-5abd75d5b1e8" providerId="ADAL" clId="{265A6489-94A2-4E64-A25F-E64F69B0C2C1}" dt="2024-03-05T20:07:14.511" v="326" actId="478"/>
          <ac:spMkLst>
            <pc:docMk/>
            <pc:sldMk cId="965765845" sldId="581"/>
            <ac:spMk id="739" creationId="{C8E33600-6E14-8479-92CD-08CD734D4FCB}"/>
          </ac:spMkLst>
        </pc:spChg>
        <pc:spChg chg="del">
          <ac:chgData name="Bullinger, Marvin" userId="5b54ce5a-dc89-476f-af33-5abd75d5b1e8" providerId="ADAL" clId="{265A6489-94A2-4E64-A25F-E64F69B0C2C1}" dt="2024-03-05T20:17:17.931" v="862" actId="478"/>
          <ac:spMkLst>
            <pc:docMk/>
            <pc:sldMk cId="965765845" sldId="581"/>
            <ac:spMk id="740" creationId="{22CFE320-4971-2210-B23F-E8DE2C9F0997}"/>
          </ac:spMkLst>
        </pc:spChg>
        <pc:spChg chg="del">
          <ac:chgData name="Bullinger, Marvin" userId="5b54ce5a-dc89-476f-af33-5abd75d5b1e8" providerId="ADAL" clId="{265A6489-94A2-4E64-A25F-E64F69B0C2C1}" dt="2024-03-05T20:07:14.510" v="325" actId="478"/>
          <ac:spMkLst>
            <pc:docMk/>
            <pc:sldMk cId="965765845" sldId="581"/>
            <ac:spMk id="740" creationId="{9896E73B-BD05-39BD-DF00-3892544DC6A5}"/>
          </ac:spMkLst>
        </pc:spChg>
        <pc:spChg chg="replST">
          <ac:chgData name="Bullinger, Marvin" userId="5b54ce5a-dc89-476f-af33-5abd75d5b1e8" providerId="ADAL" clId="{265A6489-94A2-4E64-A25F-E64F69B0C2C1}" dt="2024-03-05T20:07:14.755" v="514"/>
          <ac:spMkLst>
            <pc:docMk/>
            <pc:sldMk cId="965765845" sldId="581"/>
            <ac:spMk id="741" creationId="{26C8EDE4-3CA9-39BE-3273-11036E5B0EFD}"/>
          </ac:spMkLst>
        </pc:spChg>
        <pc:spChg chg="replST">
          <ac:chgData name="Bullinger, Marvin" userId="5b54ce5a-dc89-476f-af33-5abd75d5b1e8" providerId="ADAL" clId="{265A6489-94A2-4E64-A25F-E64F69B0C2C1}" dt="2024-03-05T20:07:14.759" v="517"/>
          <ac:spMkLst>
            <pc:docMk/>
            <pc:sldMk cId="965765845" sldId="581"/>
            <ac:spMk id="742" creationId="{928A7499-AD29-82F8-179C-AFB8A878E67C}"/>
          </ac:spMkLst>
        </pc:spChg>
        <pc:spChg chg="replST">
          <ac:chgData name="Bullinger, Marvin" userId="5b54ce5a-dc89-476f-af33-5abd75d5b1e8" providerId="ADAL" clId="{265A6489-94A2-4E64-A25F-E64F69B0C2C1}" dt="2024-03-05T20:07:14.763" v="521"/>
          <ac:spMkLst>
            <pc:docMk/>
            <pc:sldMk cId="965765845" sldId="581"/>
            <ac:spMk id="744" creationId="{F787608F-74DE-90BF-2E69-DF793F53A21A}"/>
          </ac:spMkLst>
        </pc:spChg>
        <pc:spChg chg="replST">
          <ac:chgData name="Bullinger, Marvin" userId="5b54ce5a-dc89-476f-af33-5abd75d5b1e8" providerId="ADAL" clId="{265A6489-94A2-4E64-A25F-E64F69B0C2C1}" dt="2024-03-05T20:07:14.766" v="524"/>
          <ac:spMkLst>
            <pc:docMk/>
            <pc:sldMk cId="965765845" sldId="581"/>
            <ac:spMk id="745" creationId="{2ED710EF-4548-9718-49B5-52B55C714711}"/>
          </ac:spMkLst>
        </pc:spChg>
        <pc:spChg chg="replST">
          <ac:chgData name="Bullinger, Marvin" userId="5b54ce5a-dc89-476f-af33-5abd75d5b1e8" providerId="ADAL" clId="{265A6489-94A2-4E64-A25F-E64F69B0C2C1}" dt="2024-03-05T20:07:14.771" v="528"/>
          <ac:spMkLst>
            <pc:docMk/>
            <pc:sldMk cId="965765845" sldId="581"/>
            <ac:spMk id="747" creationId="{E3A23065-F4D7-C8EC-4B16-84722FDCD3EB}"/>
          </ac:spMkLst>
        </pc:spChg>
        <pc:spChg chg="replST">
          <ac:chgData name="Bullinger, Marvin" userId="5b54ce5a-dc89-476f-af33-5abd75d5b1e8" providerId="ADAL" clId="{265A6489-94A2-4E64-A25F-E64F69B0C2C1}" dt="2024-03-05T20:07:14.775" v="531"/>
          <ac:spMkLst>
            <pc:docMk/>
            <pc:sldMk cId="965765845" sldId="581"/>
            <ac:spMk id="748" creationId="{50EB8AD6-7D2F-C4F6-0F85-8BD2105270A1}"/>
          </ac:spMkLst>
        </pc:spChg>
        <pc:spChg chg="replST">
          <ac:chgData name="Bullinger, Marvin" userId="5b54ce5a-dc89-476f-af33-5abd75d5b1e8" providerId="ADAL" clId="{265A6489-94A2-4E64-A25F-E64F69B0C2C1}" dt="2024-03-05T20:07:14.778" v="535"/>
          <ac:spMkLst>
            <pc:docMk/>
            <pc:sldMk cId="965765845" sldId="581"/>
            <ac:spMk id="750" creationId="{1B14E8CB-9AEC-53D8-0FF1-1DF9EA9CA9E1}"/>
          </ac:spMkLst>
        </pc:spChg>
        <pc:spChg chg="replST">
          <ac:chgData name="Bullinger, Marvin" userId="5b54ce5a-dc89-476f-af33-5abd75d5b1e8" providerId="ADAL" clId="{265A6489-94A2-4E64-A25F-E64F69B0C2C1}" dt="2024-03-05T20:07:14.781" v="538"/>
          <ac:spMkLst>
            <pc:docMk/>
            <pc:sldMk cId="965765845" sldId="581"/>
            <ac:spMk id="751" creationId="{BF627B98-596F-8A9E-C786-CEE2A9DFA483}"/>
          </ac:spMkLst>
        </pc:spChg>
        <pc:spChg chg="del ord replST">
          <ac:chgData name="Bullinger, Marvin" userId="5b54ce5a-dc89-476f-af33-5abd75d5b1e8" providerId="ADAL" clId="{265A6489-94A2-4E64-A25F-E64F69B0C2C1}" dt="2024-03-05T20:17:17.918" v="848" actId="478"/>
          <ac:spMkLst>
            <pc:docMk/>
            <pc:sldMk cId="965765845" sldId="581"/>
            <ac:spMk id="752" creationId="{BF4F158A-1A1F-F808-B3E5-BBBECFA8F651}"/>
          </ac:spMkLst>
        </pc:spChg>
        <pc:spChg chg="del">
          <ac:chgData name="Bullinger, Marvin" userId="5b54ce5a-dc89-476f-af33-5abd75d5b1e8" providerId="ADAL" clId="{265A6489-94A2-4E64-A25F-E64F69B0C2C1}" dt="2024-03-05T20:17:17.930" v="861" actId="478"/>
          <ac:spMkLst>
            <pc:docMk/>
            <pc:sldMk cId="965765845" sldId="581"/>
            <ac:spMk id="753" creationId="{0E0D6C5B-56AF-ED79-E271-E614443C7247}"/>
          </ac:spMkLst>
        </pc:spChg>
        <pc:spChg chg="del">
          <ac:chgData name="Bullinger, Marvin" userId="5b54ce5a-dc89-476f-af33-5abd75d5b1e8" providerId="ADAL" clId="{265A6489-94A2-4E64-A25F-E64F69B0C2C1}" dt="2024-03-05T20:17:17.930" v="860" actId="478"/>
          <ac:spMkLst>
            <pc:docMk/>
            <pc:sldMk cId="965765845" sldId="581"/>
            <ac:spMk id="754" creationId="{CBE22519-5735-63D0-4AAD-DCF0A1EB67D7}"/>
          </ac:spMkLst>
        </pc:spChg>
        <pc:spChg chg="del">
          <ac:chgData name="Bullinger, Marvin" userId="5b54ce5a-dc89-476f-af33-5abd75d5b1e8" providerId="ADAL" clId="{265A6489-94A2-4E64-A25F-E64F69B0C2C1}" dt="2024-03-05T20:17:17.930" v="859" actId="478"/>
          <ac:spMkLst>
            <pc:docMk/>
            <pc:sldMk cId="965765845" sldId="581"/>
            <ac:spMk id="755" creationId="{10331F1F-6063-1BC5-15AC-1885FCFC0441}"/>
          </ac:spMkLst>
        </pc:spChg>
        <pc:spChg chg="del">
          <ac:chgData name="Bullinger, Marvin" userId="5b54ce5a-dc89-476f-af33-5abd75d5b1e8" providerId="ADAL" clId="{265A6489-94A2-4E64-A25F-E64F69B0C2C1}" dt="2024-03-05T20:17:17.929" v="858" actId="478"/>
          <ac:spMkLst>
            <pc:docMk/>
            <pc:sldMk cId="965765845" sldId="581"/>
            <ac:spMk id="756" creationId="{79ACDD9D-F451-C8A5-71DC-0546432341FF}"/>
          </ac:spMkLst>
        </pc:spChg>
        <pc:spChg chg="del">
          <ac:chgData name="Bullinger, Marvin" userId="5b54ce5a-dc89-476f-af33-5abd75d5b1e8" providerId="ADAL" clId="{265A6489-94A2-4E64-A25F-E64F69B0C2C1}" dt="2024-03-05T20:17:17.929" v="857" actId="478"/>
          <ac:spMkLst>
            <pc:docMk/>
            <pc:sldMk cId="965765845" sldId="581"/>
            <ac:spMk id="757" creationId="{11B9EB2B-AE45-9331-9B9B-636BECF64163}"/>
          </ac:spMkLst>
        </pc:spChg>
        <pc:spChg chg="del">
          <ac:chgData name="Bullinger, Marvin" userId="5b54ce5a-dc89-476f-af33-5abd75d5b1e8" providerId="ADAL" clId="{265A6489-94A2-4E64-A25F-E64F69B0C2C1}" dt="2024-03-05T20:17:17.928" v="856" actId="478"/>
          <ac:spMkLst>
            <pc:docMk/>
            <pc:sldMk cId="965765845" sldId="581"/>
            <ac:spMk id="758" creationId="{3DA4C14C-81E6-A5A7-AA69-4DFBE6E6FA77}"/>
          </ac:spMkLst>
        </pc:spChg>
        <pc:spChg chg="del">
          <ac:chgData name="Bullinger, Marvin" userId="5b54ce5a-dc89-476f-af33-5abd75d5b1e8" providerId="ADAL" clId="{265A6489-94A2-4E64-A25F-E64F69B0C2C1}" dt="2024-03-05T20:17:17.928" v="855" actId="478"/>
          <ac:spMkLst>
            <pc:docMk/>
            <pc:sldMk cId="965765845" sldId="581"/>
            <ac:spMk id="759" creationId="{A0E0C3F1-6223-E554-A498-3589AC1928F8}"/>
          </ac:spMkLst>
        </pc:spChg>
        <pc:spChg chg="del">
          <ac:chgData name="Bullinger, Marvin" userId="5b54ce5a-dc89-476f-af33-5abd75d5b1e8" providerId="ADAL" clId="{265A6489-94A2-4E64-A25F-E64F69B0C2C1}" dt="2024-03-05T20:17:17.928" v="854" actId="478"/>
          <ac:spMkLst>
            <pc:docMk/>
            <pc:sldMk cId="965765845" sldId="581"/>
            <ac:spMk id="760" creationId="{86498813-64E3-9D31-CF38-15D5605E4FF8}"/>
          </ac:spMkLst>
        </pc:spChg>
        <pc:spChg chg="del">
          <ac:chgData name="Bullinger, Marvin" userId="5b54ce5a-dc89-476f-af33-5abd75d5b1e8" providerId="ADAL" clId="{265A6489-94A2-4E64-A25F-E64F69B0C2C1}" dt="2024-03-05T20:17:17.927" v="853" actId="478"/>
          <ac:spMkLst>
            <pc:docMk/>
            <pc:sldMk cId="965765845" sldId="581"/>
            <ac:spMk id="761" creationId="{053760CE-D0C1-372E-2E4D-AC9A3DB63B5D}"/>
          </ac:spMkLst>
        </pc:spChg>
        <pc:spChg chg="del">
          <ac:chgData name="Bullinger, Marvin" userId="5b54ce5a-dc89-476f-af33-5abd75d5b1e8" providerId="ADAL" clId="{265A6489-94A2-4E64-A25F-E64F69B0C2C1}" dt="2024-03-05T20:17:17.927" v="852" actId="478"/>
          <ac:spMkLst>
            <pc:docMk/>
            <pc:sldMk cId="965765845" sldId="581"/>
            <ac:spMk id="762" creationId="{B41B1786-7733-068D-9CC0-160ECB174650}"/>
          </ac:spMkLst>
        </pc:spChg>
        <pc:spChg chg="del">
          <ac:chgData name="Bullinger, Marvin" userId="5b54ce5a-dc89-476f-af33-5abd75d5b1e8" providerId="ADAL" clId="{265A6489-94A2-4E64-A25F-E64F69B0C2C1}" dt="2024-03-05T20:17:17.927" v="851" actId="478"/>
          <ac:spMkLst>
            <pc:docMk/>
            <pc:sldMk cId="965765845" sldId="581"/>
            <ac:spMk id="763" creationId="{C2876B97-3B86-F83A-AD5B-0B5925562529}"/>
          </ac:spMkLst>
        </pc:spChg>
        <pc:spChg chg="del">
          <ac:chgData name="Bullinger, Marvin" userId="5b54ce5a-dc89-476f-af33-5abd75d5b1e8" providerId="ADAL" clId="{265A6489-94A2-4E64-A25F-E64F69B0C2C1}" dt="2024-03-05T20:17:17.926" v="850" actId="478"/>
          <ac:spMkLst>
            <pc:docMk/>
            <pc:sldMk cId="965765845" sldId="581"/>
            <ac:spMk id="764" creationId="{BEB6858A-3991-5C9B-6D38-CFC6B4106F99}"/>
          </ac:spMkLst>
        </pc:spChg>
        <pc:spChg chg="del">
          <ac:chgData name="Bullinger, Marvin" userId="5b54ce5a-dc89-476f-af33-5abd75d5b1e8" providerId="ADAL" clId="{265A6489-94A2-4E64-A25F-E64F69B0C2C1}" dt="2024-03-05T20:17:17.926" v="849" actId="478"/>
          <ac:spMkLst>
            <pc:docMk/>
            <pc:sldMk cId="965765845" sldId="581"/>
            <ac:spMk id="765" creationId="{808115AB-EC34-5790-F759-43595B517AFF}"/>
          </ac:spMkLst>
        </pc:spChg>
        <pc:spChg chg="replST">
          <ac:chgData name="Bullinger, Marvin" userId="5b54ce5a-dc89-476f-af33-5abd75d5b1e8" providerId="ADAL" clId="{265A6489-94A2-4E64-A25F-E64F69B0C2C1}" dt="2024-03-05T20:17:18.288" v="1115"/>
          <ac:spMkLst>
            <pc:docMk/>
            <pc:sldMk cId="965765845" sldId="581"/>
            <ac:spMk id="766" creationId="{957F0C59-FB1F-D87B-2CAA-88FDBA00719D}"/>
          </ac:spMkLst>
        </pc:spChg>
        <pc:spChg chg="replST">
          <ac:chgData name="Bullinger, Marvin" userId="5b54ce5a-dc89-476f-af33-5abd75d5b1e8" providerId="ADAL" clId="{265A6489-94A2-4E64-A25F-E64F69B0C2C1}" dt="2024-03-05T20:17:18.292" v="1118"/>
          <ac:spMkLst>
            <pc:docMk/>
            <pc:sldMk cId="965765845" sldId="581"/>
            <ac:spMk id="767" creationId="{CC3D0A04-1F23-E0CA-646D-FE1D7769DC60}"/>
          </ac:spMkLst>
        </pc:spChg>
        <pc:spChg chg="replST">
          <ac:chgData name="Bullinger, Marvin" userId="5b54ce5a-dc89-476f-af33-5abd75d5b1e8" providerId="ADAL" clId="{265A6489-94A2-4E64-A25F-E64F69B0C2C1}" dt="2024-03-05T20:17:18.296" v="1122"/>
          <ac:spMkLst>
            <pc:docMk/>
            <pc:sldMk cId="965765845" sldId="581"/>
            <ac:spMk id="769" creationId="{322DC1F0-AF65-7DDE-7DDB-20C6A7AFB166}"/>
          </ac:spMkLst>
        </pc:spChg>
        <pc:spChg chg="replST">
          <ac:chgData name="Bullinger, Marvin" userId="5b54ce5a-dc89-476f-af33-5abd75d5b1e8" providerId="ADAL" clId="{265A6489-94A2-4E64-A25F-E64F69B0C2C1}" dt="2024-03-05T20:17:18.300" v="1125"/>
          <ac:spMkLst>
            <pc:docMk/>
            <pc:sldMk cId="965765845" sldId="581"/>
            <ac:spMk id="770" creationId="{7A9866F6-48A5-5F0A-17D4-F3CC1748C787}"/>
          </ac:spMkLst>
        </pc:spChg>
        <pc:spChg chg="replST">
          <ac:chgData name="Bullinger, Marvin" userId="5b54ce5a-dc89-476f-af33-5abd75d5b1e8" providerId="ADAL" clId="{265A6489-94A2-4E64-A25F-E64F69B0C2C1}" dt="2024-03-05T20:17:18.304" v="1129"/>
          <ac:spMkLst>
            <pc:docMk/>
            <pc:sldMk cId="965765845" sldId="581"/>
            <ac:spMk id="772" creationId="{24163746-011A-F53A-2005-3B959D2D6135}"/>
          </ac:spMkLst>
        </pc:spChg>
        <pc:spChg chg="replST">
          <ac:chgData name="Bullinger, Marvin" userId="5b54ce5a-dc89-476f-af33-5abd75d5b1e8" providerId="ADAL" clId="{265A6489-94A2-4E64-A25F-E64F69B0C2C1}" dt="2024-03-05T20:17:18.308" v="1132"/>
          <ac:spMkLst>
            <pc:docMk/>
            <pc:sldMk cId="965765845" sldId="581"/>
            <ac:spMk id="773" creationId="{ABB7D5B2-B96B-7638-5C48-FACA543EE0E4}"/>
          </ac:spMkLst>
        </pc:spChg>
        <pc:spChg chg="replST">
          <ac:chgData name="Bullinger, Marvin" userId="5b54ce5a-dc89-476f-af33-5abd75d5b1e8" providerId="ADAL" clId="{265A6489-94A2-4E64-A25F-E64F69B0C2C1}" dt="2024-03-05T20:17:18.312" v="1136"/>
          <ac:spMkLst>
            <pc:docMk/>
            <pc:sldMk cId="965765845" sldId="581"/>
            <ac:spMk id="775" creationId="{27AAB6CC-0110-A781-0927-E40CA6BC09F8}"/>
          </ac:spMkLst>
        </pc:spChg>
        <pc:spChg chg="replST">
          <ac:chgData name="Bullinger, Marvin" userId="5b54ce5a-dc89-476f-af33-5abd75d5b1e8" providerId="ADAL" clId="{265A6489-94A2-4E64-A25F-E64F69B0C2C1}" dt="2024-03-05T20:17:18.316" v="1139"/>
          <ac:spMkLst>
            <pc:docMk/>
            <pc:sldMk cId="965765845" sldId="581"/>
            <ac:spMk id="776" creationId="{F25E03D0-7506-FB52-EBBA-7C57AEBA18D4}"/>
          </ac:spMkLst>
        </pc:spChg>
        <pc:spChg chg="replST">
          <ac:chgData name="Bullinger, Marvin" userId="5b54ce5a-dc89-476f-af33-5abd75d5b1e8" providerId="ADAL" clId="{265A6489-94A2-4E64-A25F-E64F69B0C2C1}" dt="2024-03-05T20:17:18.321" v="1143"/>
          <ac:spMkLst>
            <pc:docMk/>
            <pc:sldMk cId="965765845" sldId="581"/>
            <ac:spMk id="778" creationId="{38B571CC-4DC4-92CD-3FB6-CF9CFFD30234}"/>
          </ac:spMkLst>
        </pc:spChg>
        <pc:spChg chg="replST">
          <ac:chgData name="Bullinger, Marvin" userId="5b54ce5a-dc89-476f-af33-5abd75d5b1e8" providerId="ADAL" clId="{265A6489-94A2-4E64-A25F-E64F69B0C2C1}" dt="2024-03-05T20:17:18.325" v="1146"/>
          <ac:spMkLst>
            <pc:docMk/>
            <pc:sldMk cId="965765845" sldId="581"/>
            <ac:spMk id="779" creationId="{A2CC535F-CE4C-EF22-C70E-AA8066483C75}"/>
          </ac:spMkLst>
        </pc:spChg>
        <pc:spChg chg="del ord replST">
          <ac:chgData name="Bullinger, Marvin" userId="5b54ce5a-dc89-476f-af33-5abd75d5b1e8" providerId="ADAL" clId="{265A6489-94A2-4E64-A25F-E64F69B0C2C1}" dt="2024-03-05T22:19:10.332" v="4560" actId="478"/>
          <ac:spMkLst>
            <pc:docMk/>
            <pc:sldMk cId="965765845" sldId="581"/>
            <ac:spMk id="780" creationId="{25DC3697-655B-4EEA-8D3F-5169E6D2D6DD}"/>
          </ac:spMkLst>
        </pc:spChg>
        <pc:spChg chg="add mod">
          <ac:chgData name="Bullinger, Marvin" userId="5b54ce5a-dc89-476f-af33-5abd75d5b1e8" providerId="ADAL" clId="{265A6489-94A2-4E64-A25F-E64F69B0C2C1}" dt="2024-03-05T22:19:10.325" v="4555" actId="478"/>
          <ac:spMkLst>
            <pc:docMk/>
            <pc:sldMk cId="965765845" sldId="581"/>
            <ac:spMk id="819" creationId="{275B9972-345F-3F8E-4E53-81482A94B2F3}"/>
          </ac:spMkLst>
        </pc:spChg>
        <pc:spChg chg="mod ord replST">
          <ac:chgData name="Bullinger, Marvin" userId="5b54ce5a-dc89-476f-af33-5abd75d5b1e8" providerId="ADAL" clId="{265A6489-94A2-4E64-A25F-E64F69B0C2C1}" dt="2024-03-05T22:19:11.310" v="4960"/>
          <ac:spMkLst>
            <pc:docMk/>
            <pc:sldMk cId="965765845" sldId="581"/>
            <ac:spMk id="820" creationId="{38369902-8E42-7C79-C3F2-466C4779DE73}"/>
          </ac:spMkLst>
        </pc:spChg>
        <pc:spChg chg="del">
          <ac:chgData name="Bullinger, Marvin" userId="5b54ce5a-dc89-476f-af33-5abd75d5b1e8" providerId="ADAL" clId="{265A6489-94A2-4E64-A25F-E64F69B0C2C1}" dt="2024-03-05T22:19:10.369" v="4589" actId="478"/>
          <ac:spMkLst>
            <pc:docMk/>
            <pc:sldMk cId="965765845" sldId="581"/>
            <ac:spMk id="821" creationId="{5720E172-B550-0359-A03B-BE524D518BA7}"/>
          </ac:spMkLst>
        </pc:spChg>
        <pc:spChg chg="del">
          <ac:chgData name="Bullinger, Marvin" userId="5b54ce5a-dc89-476f-af33-5abd75d5b1e8" providerId="ADAL" clId="{265A6489-94A2-4E64-A25F-E64F69B0C2C1}" dt="2024-03-05T22:19:10.368" v="4588" actId="478"/>
          <ac:spMkLst>
            <pc:docMk/>
            <pc:sldMk cId="965765845" sldId="581"/>
            <ac:spMk id="822" creationId="{AF2FDF78-C800-17CC-237E-376379CD8C0E}"/>
          </ac:spMkLst>
        </pc:spChg>
        <pc:spChg chg="del">
          <ac:chgData name="Bullinger, Marvin" userId="5b54ce5a-dc89-476f-af33-5abd75d5b1e8" providerId="ADAL" clId="{265A6489-94A2-4E64-A25F-E64F69B0C2C1}" dt="2024-03-05T22:19:10.367" v="4587" actId="478"/>
          <ac:spMkLst>
            <pc:docMk/>
            <pc:sldMk cId="965765845" sldId="581"/>
            <ac:spMk id="823" creationId="{E5B5C7A5-D596-8516-737F-6BE925A5E944}"/>
          </ac:spMkLst>
        </pc:spChg>
        <pc:spChg chg="del">
          <ac:chgData name="Bullinger, Marvin" userId="5b54ce5a-dc89-476f-af33-5abd75d5b1e8" providerId="ADAL" clId="{265A6489-94A2-4E64-A25F-E64F69B0C2C1}" dt="2024-03-05T22:19:10.367" v="4586" actId="478"/>
          <ac:spMkLst>
            <pc:docMk/>
            <pc:sldMk cId="965765845" sldId="581"/>
            <ac:spMk id="824" creationId="{9ED5B4ED-161C-EBC8-8B85-500895B3CDFB}"/>
          </ac:spMkLst>
        </pc:spChg>
        <pc:spChg chg="del">
          <ac:chgData name="Bullinger, Marvin" userId="5b54ce5a-dc89-476f-af33-5abd75d5b1e8" providerId="ADAL" clId="{265A6489-94A2-4E64-A25F-E64F69B0C2C1}" dt="2024-03-05T22:19:10.366" v="4585" actId="478"/>
          <ac:spMkLst>
            <pc:docMk/>
            <pc:sldMk cId="965765845" sldId="581"/>
            <ac:spMk id="825" creationId="{6BFDFD3E-FD72-82BB-C911-A5C023C17213}"/>
          </ac:spMkLst>
        </pc:spChg>
        <pc:spChg chg="del">
          <ac:chgData name="Bullinger, Marvin" userId="5b54ce5a-dc89-476f-af33-5abd75d5b1e8" providerId="ADAL" clId="{265A6489-94A2-4E64-A25F-E64F69B0C2C1}" dt="2024-03-05T22:19:10.365" v="4584" actId="478"/>
          <ac:spMkLst>
            <pc:docMk/>
            <pc:sldMk cId="965765845" sldId="581"/>
            <ac:spMk id="826" creationId="{9DFDD243-262C-01A1-150E-B7BACB6004D0}"/>
          </ac:spMkLst>
        </pc:spChg>
        <pc:spChg chg="del">
          <ac:chgData name="Bullinger, Marvin" userId="5b54ce5a-dc89-476f-af33-5abd75d5b1e8" providerId="ADAL" clId="{265A6489-94A2-4E64-A25F-E64F69B0C2C1}" dt="2024-03-05T22:19:10.363" v="4581" actId="478"/>
          <ac:spMkLst>
            <pc:docMk/>
            <pc:sldMk cId="965765845" sldId="581"/>
            <ac:spMk id="827" creationId="{66E7B29F-CD85-9CF5-FF10-34FAEB70543F}"/>
          </ac:spMkLst>
        </pc:spChg>
        <pc:spChg chg="del">
          <ac:chgData name="Bullinger, Marvin" userId="5b54ce5a-dc89-476f-af33-5abd75d5b1e8" providerId="ADAL" clId="{265A6489-94A2-4E64-A25F-E64F69B0C2C1}" dt="2024-03-05T22:19:10.363" v="4580" actId="478"/>
          <ac:spMkLst>
            <pc:docMk/>
            <pc:sldMk cId="965765845" sldId="581"/>
            <ac:spMk id="828" creationId="{0F35958F-9E97-C550-BCE1-63632333B59C}"/>
          </ac:spMkLst>
        </pc:spChg>
        <pc:spChg chg="del">
          <ac:chgData name="Bullinger, Marvin" userId="5b54ce5a-dc89-476f-af33-5abd75d5b1e8" providerId="ADAL" clId="{265A6489-94A2-4E64-A25F-E64F69B0C2C1}" dt="2024-03-05T22:19:10.362" v="4579" actId="478"/>
          <ac:spMkLst>
            <pc:docMk/>
            <pc:sldMk cId="965765845" sldId="581"/>
            <ac:spMk id="829" creationId="{3915B3F0-49D6-6E18-1551-5C3B45CD9F9A}"/>
          </ac:spMkLst>
        </pc:spChg>
        <pc:spChg chg="del">
          <ac:chgData name="Bullinger, Marvin" userId="5b54ce5a-dc89-476f-af33-5abd75d5b1e8" providerId="ADAL" clId="{265A6489-94A2-4E64-A25F-E64F69B0C2C1}" dt="2024-03-05T22:19:10.362" v="4578" actId="478"/>
          <ac:spMkLst>
            <pc:docMk/>
            <pc:sldMk cId="965765845" sldId="581"/>
            <ac:spMk id="830" creationId="{3FA827C7-B6DA-96FF-34A8-DE359C34B01D}"/>
          </ac:spMkLst>
        </pc:spChg>
        <pc:spChg chg="del">
          <ac:chgData name="Bullinger, Marvin" userId="5b54ce5a-dc89-476f-af33-5abd75d5b1e8" providerId="ADAL" clId="{265A6489-94A2-4E64-A25F-E64F69B0C2C1}" dt="2024-03-05T22:19:10.361" v="4577" actId="478"/>
          <ac:spMkLst>
            <pc:docMk/>
            <pc:sldMk cId="965765845" sldId="581"/>
            <ac:spMk id="831" creationId="{A0A9779A-B3B9-DD39-F3C4-3DBEEE50B209}"/>
          </ac:spMkLst>
        </pc:spChg>
        <pc:spChg chg="del">
          <ac:chgData name="Bullinger, Marvin" userId="5b54ce5a-dc89-476f-af33-5abd75d5b1e8" providerId="ADAL" clId="{265A6489-94A2-4E64-A25F-E64F69B0C2C1}" dt="2024-03-05T22:19:10.360" v="4576" actId="478"/>
          <ac:spMkLst>
            <pc:docMk/>
            <pc:sldMk cId="965765845" sldId="581"/>
            <ac:spMk id="832" creationId="{B2784BAD-D2F4-2BF0-D9DA-F06C065B9F11}"/>
          </ac:spMkLst>
        </pc:spChg>
        <pc:spChg chg="del">
          <ac:chgData name="Bullinger, Marvin" userId="5b54ce5a-dc89-476f-af33-5abd75d5b1e8" providerId="ADAL" clId="{265A6489-94A2-4E64-A25F-E64F69B0C2C1}" dt="2024-03-05T22:19:10.374" v="4597" actId="478"/>
          <ac:spMkLst>
            <pc:docMk/>
            <pc:sldMk cId="965765845" sldId="581"/>
            <ac:spMk id="833" creationId="{B132F797-6F2E-7004-1379-331F8530375E}"/>
          </ac:spMkLst>
        </pc:spChg>
        <pc:spChg chg="del">
          <ac:chgData name="Bullinger, Marvin" userId="5b54ce5a-dc89-476f-af33-5abd75d5b1e8" providerId="ADAL" clId="{265A6489-94A2-4E64-A25F-E64F69B0C2C1}" dt="2024-03-05T22:19:10.373" v="4596" actId="478"/>
          <ac:spMkLst>
            <pc:docMk/>
            <pc:sldMk cId="965765845" sldId="581"/>
            <ac:spMk id="834" creationId="{8B3F97C6-5F57-73E8-A951-A547CBBAD293}"/>
          </ac:spMkLst>
        </pc:spChg>
        <pc:spChg chg="del">
          <ac:chgData name="Bullinger, Marvin" userId="5b54ce5a-dc89-476f-af33-5abd75d5b1e8" providerId="ADAL" clId="{265A6489-94A2-4E64-A25F-E64F69B0C2C1}" dt="2024-03-05T22:19:10.372" v="4595" actId="478"/>
          <ac:spMkLst>
            <pc:docMk/>
            <pc:sldMk cId="965765845" sldId="581"/>
            <ac:spMk id="835" creationId="{4B6C5603-C48A-FD51-5C7F-1B2BCBE07950}"/>
          </ac:spMkLst>
        </pc:spChg>
        <pc:spChg chg="del">
          <ac:chgData name="Bullinger, Marvin" userId="5b54ce5a-dc89-476f-af33-5abd75d5b1e8" providerId="ADAL" clId="{265A6489-94A2-4E64-A25F-E64F69B0C2C1}" dt="2024-03-05T22:19:10.372" v="4594" actId="478"/>
          <ac:spMkLst>
            <pc:docMk/>
            <pc:sldMk cId="965765845" sldId="581"/>
            <ac:spMk id="836" creationId="{A90C5A92-C3C3-D208-FDB2-A538D69EB6CA}"/>
          </ac:spMkLst>
        </pc:spChg>
        <pc:spChg chg="del">
          <ac:chgData name="Bullinger, Marvin" userId="5b54ce5a-dc89-476f-af33-5abd75d5b1e8" providerId="ADAL" clId="{265A6489-94A2-4E64-A25F-E64F69B0C2C1}" dt="2024-03-05T22:19:10.371" v="4593" actId="478"/>
          <ac:spMkLst>
            <pc:docMk/>
            <pc:sldMk cId="965765845" sldId="581"/>
            <ac:spMk id="837" creationId="{E433395B-B88A-4C26-02F8-AE1436D01035}"/>
          </ac:spMkLst>
        </pc:spChg>
        <pc:spChg chg="del">
          <ac:chgData name="Bullinger, Marvin" userId="5b54ce5a-dc89-476f-af33-5abd75d5b1e8" providerId="ADAL" clId="{265A6489-94A2-4E64-A25F-E64F69B0C2C1}" dt="2024-03-05T22:19:10.371" v="4592" actId="478"/>
          <ac:spMkLst>
            <pc:docMk/>
            <pc:sldMk cId="965765845" sldId="581"/>
            <ac:spMk id="838" creationId="{4699FC32-D550-C585-BC1E-4714D016F3D5}"/>
          </ac:spMkLst>
        </pc:spChg>
        <pc:spChg chg="del">
          <ac:chgData name="Bullinger, Marvin" userId="5b54ce5a-dc89-476f-af33-5abd75d5b1e8" providerId="ADAL" clId="{265A6489-94A2-4E64-A25F-E64F69B0C2C1}" dt="2024-03-05T22:19:10.370" v="4591" actId="478"/>
          <ac:spMkLst>
            <pc:docMk/>
            <pc:sldMk cId="965765845" sldId="581"/>
            <ac:spMk id="839" creationId="{2DD41E00-79AB-4267-8D77-301485602CB8}"/>
          </ac:spMkLst>
        </pc:spChg>
        <pc:spChg chg="del">
          <ac:chgData name="Bullinger, Marvin" userId="5b54ce5a-dc89-476f-af33-5abd75d5b1e8" providerId="ADAL" clId="{265A6489-94A2-4E64-A25F-E64F69B0C2C1}" dt="2024-03-05T22:19:10.369" v="4590" actId="478"/>
          <ac:spMkLst>
            <pc:docMk/>
            <pc:sldMk cId="965765845" sldId="581"/>
            <ac:spMk id="840" creationId="{BDCE60B8-7E29-D95E-7B98-D262149B1420}"/>
          </ac:spMkLst>
        </pc:spChg>
        <pc:spChg chg="del">
          <ac:chgData name="Bullinger, Marvin" userId="5b54ce5a-dc89-476f-af33-5abd75d5b1e8" providerId="ADAL" clId="{265A6489-94A2-4E64-A25F-E64F69B0C2C1}" dt="2024-03-05T22:19:10.364" v="4582" actId="478"/>
          <ac:spMkLst>
            <pc:docMk/>
            <pc:sldMk cId="965765845" sldId="581"/>
            <ac:spMk id="841" creationId="{D597C4B4-2D8A-046F-FF51-920ECBE17A10}"/>
          </ac:spMkLst>
        </pc:spChg>
        <pc:spChg chg="del">
          <ac:chgData name="Bullinger, Marvin" userId="5b54ce5a-dc89-476f-af33-5abd75d5b1e8" providerId="ADAL" clId="{265A6489-94A2-4E64-A25F-E64F69B0C2C1}" dt="2024-03-05T22:19:10.360" v="4575" actId="478"/>
          <ac:spMkLst>
            <pc:docMk/>
            <pc:sldMk cId="965765845" sldId="581"/>
            <ac:spMk id="842" creationId="{DD82F1EC-3B02-2D92-30D4-F7A40502C113}"/>
          </ac:spMkLst>
        </pc:spChg>
        <pc:spChg chg="del">
          <ac:chgData name="Bullinger, Marvin" userId="5b54ce5a-dc89-476f-af33-5abd75d5b1e8" providerId="ADAL" clId="{265A6489-94A2-4E64-A25F-E64F69B0C2C1}" dt="2024-03-05T22:19:10.365" v="4583" actId="478"/>
          <ac:spMkLst>
            <pc:docMk/>
            <pc:sldMk cId="965765845" sldId="581"/>
            <ac:spMk id="843" creationId="{8D72C2F7-2354-6E26-67E0-362338120623}"/>
          </ac:spMkLst>
        </pc:spChg>
        <pc:spChg chg="del">
          <ac:chgData name="Bullinger, Marvin" userId="5b54ce5a-dc89-476f-af33-5abd75d5b1e8" providerId="ADAL" clId="{265A6489-94A2-4E64-A25F-E64F69B0C2C1}" dt="2024-03-05T22:19:10.359" v="4574" actId="478"/>
          <ac:spMkLst>
            <pc:docMk/>
            <pc:sldMk cId="965765845" sldId="581"/>
            <ac:spMk id="844" creationId="{908E6CE7-65E4-C839-5C0D-EE0388FADE6A}"/>
          </ac:spMkLst>
        </pc:spChg>
        <pc:spChg chg="del">
          <ac:chgData name="Bullinger, Marvin" userId="5b54ce5a-dc89-476f-af33-5abd75d5b1e8" providerId="ADAL" clId="{265A6489-94A2-4E64-A25F-E64F69B0C2C1}" dt="2024-03-05T22:19:10.359" v="4573" actId="478"/>
          <ac:spMkLst>
            <pc:docMk/>
            <pc:sldMk cId="965765845" sldId="581"/>
            <ac:spMk id="845" creationId="{1BC40275-C6D8-78FA-91C4-959DAF6BFC17}"/>
          </ac:spMkLst>
        </pc:spChg>
        <pc:spChg chg="del">
          <ac:chgData name="Bullinger, Marvin" userId="5b54ce5a-dc89-476f-af33-5abd75d5b1e8" providerId="ADAL" clId="{265A6489-94A2-4E64-A25F-E64F69B0C2C1}" dt="2024-03-05T22:19:10.358" v="4572" actId="478"/>
          <ac:spMkLst>
            <pc:docMk/>
            <pc:sldMk cId="965765845" sldId="581"/>
            <ac:spMk id="846" creationId="{59FAFDCF-A131-F9BF-67B1-06DFEB264F0E}"/>
          </ac:spMkLst>
        </pc:spChg>
        <pc:spChg chg="del">
          <ac:chgData name="Bullinger, Marvin" userId="5b54ce5a-dc89-476f-af33-5abd75d5b1e8" providerId="ADAL" clId="{265A6489-94A2-4E64-A25F-E64F69B0C2C1}" dt="2024-03-05T22:19:10.357" v="4571" actId="478"/>
          <ac:spMkLst>
            <pc:docMk/>
            <pc:sldMk cId="965765845" sldId="581"/>
            <ac:spMk id="847" creationId="{0C9A0112-0262-08BF-3F1C-662A48F2B339}"/>
          </ac:spMkLst>
        </pc:spChg>
        <pc:spChg chg="del">
          <ac:chgData name="Bullinger, Marvin" userId="5b54ce5a-dc89-476f-af33-5abd75d5b1e8" providerId="ADAL" clId="{265A6489-94A2-4E64-A25F-E64F69B0C2C1}" dt="2024-03-05T22:19:10.357" v="4570" actId="478"/>
          <ac:spMkLst>
            <pc:docMk/>
            <pc:sldMk cId="965765845" sldId="581"/>
            <ac:spMk id="848" creationId="{ABD0F562-8E2F-DCBE-14A3-5BB766B6A030}"/>
          </ac:spMkLst>
        </pc:spChg>
        <pc:spChg chg="del">
          <ac:chgData name="Bullinger, Marvin" userId="5b54ce5a-dc89-476f-af33-5abd75d5b1e8" providerId="ADAL" clId="{265A6489-94A2-4E64-A25F-E64F69B0C2C1}" dt="2024-03-05T22:19:10.356" v="4569" actId="478"/>
          <ac:spMkLst>
            <pc:docMk/>
            <pc:sldMk cId="965765845" sldId="581"/>
            <ac:spMk id="849" creationId="{73BA16E5-9170-71CB-3927-4C4C511FF99A}"/>
          </ac:spMkLst>
        </pc:spChg>
        <pc:spChg chg="del">
          <ac:chgData name="Bullinger, Marvin" userId="5b54ce5a-dc89-476f-af33-5abd75d5b1e8" providerId="ADAL" clId="{265A6489-94A2-4E64-A25F-E64F69B0C2C1}" dt="2024-03-05T22:19:10.356" v="4568" actId="478"/>
          <ac:spMkLst>
            <pc:docMk/>
            <pc:sldMk cId="965765845" sldId="581"/>
            <ac:spMk id="850" creationId="{EE8D71F7-2FC2-9380-239D-5ED28A060077}"/>
          </ac:spMkLst>
        </pc:spChg>
        <pc:spChg chg="del">
          <ac:chgData name="Bullinger, Marvin" userId="5b54ce5a-dc89-476f-af33-5abd75d5b1e8" providerId="ADAL" clId="{265A6489-94A2-4E64-A25F-E64F69B0C2C1}" dt="2024-03-05T22:19:10.355" v="4567" actId="478"/>
          <ac:spMkLst>
            <pc:docMk/>
            <pc:sldMk cId="965765845" sldId="581"/>
            <ac:spMk id="851" creationId="{20F2684F-FF28-1744-C6FD-350743622405}"/>
          </ac:spMkLst>
        </pc:spChg>
        <pc:spChg chg="del">
          <ac:chgData name="Bullinger, Marvin" userId="5b54ce5a-dc89-476f-af33-5abd75d5b1e8" providerId="ADAL" clId="{265A6489-94A2-4E64-A25F-E64F69B0C2C1}" dt="2024-03-05T22:19:10.354" v="4566" actId="478"/>
          <ac:spMkLst>
            <pc:docMk/>
            <pc:sldMk cId="965765845" sldId="581"/>
            <ac:spMk id="852" creationId="{C891AEC2-89DB-7456-35FE-06734CA88694}"/>
          </ac:spMkLst>
        </pc:spChg>
        <pc:spChg chg="del">
          <ac:chgData name="Bullinger, Marvin" userId="5b54ce5a-dc89-476f-af33-5abd75d5b1e8" providerId="ADAL" clId="{265A6489-94A2-4E64-A25F-E64F69B0C2C1}" dt="2024-03-05T22:19:10.353" v="4565" actId="478"/>
          <ac:spMkLst>
            <pc:docMk/>
            <pc:sldMk cId="965765845" sldId="581"/>
            <ac:spMk id="853" creationId="{40B022CF-3892-5AAE-829F-67FDC06BFDCC}"/>
          </ac:spMkLst>
        </pc:spChg>
        <pc:spChg chg="del">
          <ac:chgData name="Bullinger, Marvin" userId="5b54ce5a-dc89-476f-af33-5abd75d5b1e8" providerId="ADAL" clId="{265A6489-94A2-4E64-A25F-E64F69B0C2C1}" dt="2024-03-05T22:19:10.352" v="4564" actId="478"/>
          <ac:spMkLst>
            <pc:docMk/>
            <pc:sldMk cId="965765845" sldId="581"/>
            <ac:spMk id="854" creationId="{2029BAE6-B981-79C7-1EDB-16A2EB07D949}"/>
          </ac:spMkLst>
        </pc:spChg>
        <pc:spChg chg="del">
          <ac:chgData name="Bullinger, Marvin" userId="5b54ce5a-dc89-476f-af33-5abd75d5b1e8" providerId="ADAL" clId="{265A6489-94A2-4E64-A25F-E64F69B0C2C1}" dt="2024-03-05T22:19:10.351" v="4563" actId="478"/>
          <ac:spMkLst>
            <pc:docMk/>
            <pc:sldMk cId="965765845" sldId="581"/>
            <ac:spMk id="855" creationId="{914E2884-B662-CF33-0D2B-CE4304E94EF5}"/>
          </ac:spMkLst>
        </pc:spChg>
        <pc:spChg chg="del">
          <ac:chgData name="Bullinger, Marvin" userId="5b54ce5a-dc89-476f-af33-5abd75d5b1e8" providerId="ADAL" clId="{265A6489-94A2-4E64-A25F-E64F69B0C2C1}" dt="2024-03-05T22:19:10.350" v="4562" actId="478"/>
          <ac:spMkLst>
            <pc:docMk/>
            <pc:sldMk cId="965765845" sldId="581"/>
            <ac:spMk id="856" creationId="{37EAEA78-821B-1B5D-9355-6F59463CBAA8}"/>
          </ac:spMkLst>
        </pc:spChg>
        <pc:spChg chg="del">
          <ac:chgData name="Bullinger, Marvin" userId="5b54ce5a-dc89-476f-af33-5abd75d5b1e8" providerId="ADAL" clId="{265A6489-94A2-4E64-A25F-E64F69B0C2C1}" dt="2024-03-05T22:19:10.349" v="4561" actId="478"/>
          <ac:spMkLst>
            <pc:docMk/>
            <pc:sldMk cId="965765845" sldId="581"/>
            <ac:spMk id="857" creationId="{2652FC6D-E494-D393-E9C1-4C1C5E9F6B0F}"/>
          </ac:spMkLst>
        </pc:spChg>
        <pc:spChg chg="mod replST">
          <ac:chgData name="Bullinger, Marvin" userId="5b54ce5a-dc89-476f-af33-5abd75d5b1e8" providerId="ADAL" clId="{265A6489-94A2-4E64-A25F-E64F69B0C2C1}" dt="2024-03-05T22:34:46.282" v="5085" actId="207"/>
          <ac:spMkLst>
            <pc:docMk/>
            <pc:sldMk cId="965765845" sldId="581"/>
            <ac:spMk id="858" creationId="{DEF1A9EF-92B4-E280-906B-D244DC9CD1B5}"/>
          </ac:spMkLst>
        </pc:spChg>
        <pc:spChg chg="replST">
          <ac:chgData name="Bullinger, Marvin" userId="5b54ce5a-dc89-476f-af33-5abd75d5b1e8" providerId="ADAL" clId="{265A6489-94A2-4E64-A25F-E64F69B0C2C1}" dt="2024-03-05T22:19:11.219" v="4923"/>
          <ac:spMkLst>
            <pc:docMk/>
            <pc:sldMk cId="965765845" sldId="581"/>
            <ac:spMk id="859" creationId="{FD7B5642-FD74-BE3A-708E-82FDB5D111EA}"/>
          </ac:spMkLst>
        </pc:spChg>
        <pc:spChg chg="mod replST">
          <ac:chgData name="Bullinger, Marvin" userId="5b54ce5a-dc89-476f-af33-5abd75d5b1e8" providerId="ADAL" clId="{265A6489-94A2-4E64-A25F-E64F69B0C2C1}" dt="2024-03-05T22:34:46.282" v="5085" actId="207"/>
          <ac:spMkLst>
            <pc:docMk/>
            <pc:sldMk cId="965765845" sldId="581"/>
            <ac:spMk id="861" creationId="{A4FBF7FC-439C-A6EA-8544-60183B1478A5}"/>
          </ac:spMkLst>
        </pc:spChg>
        <pc:spChg chg="replST">
          <ac:chgData name="Bullinger, Marvin" userId="5b54ce5a-dc89-476f-af33-5abd75d5b1e8" providerId="ADAL" clId="{265A6489-94A2-4E64-A25F-E64F69B0C2C1}" dt="2024-03-05T22:19:11.234" v="4930"/>
          <ac:spMkLst>
            <pc:docMk/>
            <pc:sldMk cId="965765845" sldId="581"/>
            <ac:spMk id="862" creationId="{AD487AEB-002E-BD2E-8F70-E59BBCFFA5D5}"/>
          </ac:spMkLst>
        </pc:spChg>
        <pc:spChg chg="mod replST">
          <ac:chgData name="Bullinger, Marvin" userId="5b54ce5a-dc89-476f-af33-5abd75d5b1e8" providerId="ADAL" clId="{265A6489-94A2-4E64-A25F-E64F69B0C2C1}" dt="2024-03-05T22:34:46.282" v="5085" actId="207"/>
          <ac:spMkLst>
            <pc:docMk/>
            <pc:sldMk cId="965765845" sldId="581"/>
            <ac:spMk id="864" creationId="{92624F62-FA61-EDBF-F582-8A1AD2861DF0}"/>
          </ac:spMkLst>
        </pc:spChg>
        <pc:spChg chg="mod replST">
          <ac:chgData name="Bullinger, Marvin" userId="5b54ce5a-dc89-476f-af33-5abd75d5b1e8" providerId="ADAL" clId="{265A6489-94A2-4E64-A25F-E64F69B0C2C1}" dt="2024-03-06T14:06:20.581" v="5448" actId="20577"/>
          <ac:spMkLst>
            <pc:docMk/>
            <pc:sldMk cId="965765845" sldId="581"/>
            <ac:spMk id="865" creationId="{F6F66B08-73CD-EA9C-AF08-058EE6D1B61E}"/>
          </ac:spMkLst>
        </pc:spChg>
        <pc:spChg chg="mod replST">
          <ac:chgData name="Bullinger, Marvin" userId="5b54ce5a-dc89-476f-af33-5abd75d5b1e8" providerId="ADAL" clId="{265A6489-94A2-4E64-A25F-E64F69B0C2C1}" dt="2024-03-05T22:34:46.282" v="5085" actId="207"/>
          <ac:spMkLst>
            <pc:docMk/>
            <pc:sldMk cId="965765845" sldId="581"/>
            <ac:spMk id="867" creationId="{3427E646-00DF-FBA3-6799-3C731891939C}"/>
          </ac:spMkLst>
        </pc:spChg>
        <pc:spChg chg="replST">
          <ac:chgData name="Bullinger, Marvin" userId="5b54ce5a-dc89-476f-af33-5abd75d5b1e8" providerId="ADAL" clId="{265A6489-94A2-4E64-A25F-E64F69B0C2C1}" dt="2024-03-05T22:19:11.266" v="4944"/>
          <ac:spMkLst>
            <pc:docMk/>
            <pc:sldMk cId="965765845" sldId="581"/>
            <ac:spMk id="868" creationId="{CA5B9237-39F8-447D-7456-B476511F711E}"/>
          </ac:spMkLst>
        </pc:spChg>
        <pc:spChg chg="mod replST">
          <ac:chgData name="Bullinger, Marvin" userId="5b54ce5a-dc89-476f-af33-5abd75d5b1e8" providerId="ADAL" clId="{265A6489-94A2-4E64-A25F-E64F69B0C2C1}" dt="2024-03-05T22:34:46.282" v="5085" actId="207"/>
          <ac:spMkLst>
            <pc:docMk/>
            <pc:sldMk cId="965765845" sldId="581"/>
            <ac:spMk id="870" creationId="{9B70E2C7-2D2E-C5A9-EF7D-C78CDCC94A31}"/>
          </ac:spMkLst>
        </pc:spChg>
        <pc:spChg chg="replST">
          <ac:chgData name="Bullinger, Marvin" userId="5b54ce5a-dc89-476f-af33-5abd75d5b1e8" providerId="ADAL" clId="{265A6489-94A2-4E64-A25F-E64F69B0C2C1}" dt="2024-03-05T22:19:11.282" v="4951"/>
          <ac:spMkLst>
            <pc:docMk/>
            <pc:sldMk cId="965765845" sldId="581"/>
            <ac:spMk id="871" creationId="{2362F539-271C-7C0E-35FA-C8942C48A64C}"/>
          </ac:spMkLst>
        </pc:spChg>
        <pc:spChg chg="mod replST">
          <ac:chgData name="Bullinger, Marvin" userId="5b54ce5a-dc89-476f-af33-5abd75d5b1e8" providerId="ADAL" clId="{265A6489-94A2-4E64-A25F-E64F69B0C2C1}" dt="2024-03-05T22:34:40.725" v="5084" actId="20577"/>
          <ac:spMkLst>
            <pc:docMk/>
            <pc:sldMk cId="965765845" sldId="581"/>
            <ac:spMk id="873" creationId="{EB1E667D-49FB-A8B7-8A63-E78DBC93B818}"/>
          </ac:spMkLst>
        </pc:spChg>
        <pc:spChg chg="replST">
          <ac:chgData name="Bullinger, Marvin" userId="5b54ce5a-dc89-476f-af33-5abd75d5b1e8" providerId="ADAL" clId="{265A6489-94A2-4E64-A25F-E64F69B0C2C1}" dt="2024-03-05T22:19:11.304" v="4958"/>
          <ac:spMkLst>
            <pc:docMk/>
            <pc:sldMk cId="965765845" sldId="581"/>
            <ac:spMk id="874" creationId="{83B7E5B8-0185-1F99-F3E1-CE18C17C9D0D}"/>
          </ac:spMkLst>
        </pc:spChg>
        <pc:spChg chg="mod ord replST">
          <ac:chgData name="Bullinger, Marvin" userId="5b54ce5a-dc89-476f-af33-5abd75d5b1e8" providerId="ADAL" clId="{265A6489-94A2-4E64-A25F-E64F69B0C2C1}" dt="2024-03-05T22:34:53.488" v="5086" actId="207"/>
          <ac:spMkLst>
            <pc:docMk/>
            <pc:sldMk cId="965765845" sldId="581"/>
            <ac:spMk id="875" creationId="{E742622C-D445-D513-0192-34CEB61580FE}"/>
          </ac:spMkLst>
        </pc:spChg>
        <pc:cxnChg chg="del">
          <ac:chgData name="Bullinger, Marvin" userId="5b54ce5a-dc89-476f-af33-5abd75d5b1e8" providerId="ADAL" clId="{265A6489-94A2-4E64-A25F-E64F69B0C2C1}" dt="2024-03-05T20:07:14.498" v="318" actId="478"/>
          <ac:cxnSpMkLst>
            <pc:docMk/>
            <pc:sldMk cId="965765845" sldId="581"/>
            <ac:cxnSpMk id="714" creationId="{6515D566-5913-C722-9146-A82755072FB3}"/>
          </ac:cxnSpMkLst>
        </pc:cxnChg>
        <pc:cxnChg chg="del">
          <ac:chgData name="Bullinger, Marvin" userId="5b54ce5a-dc89-476f-af33-5abd75d5b1e8" providerId="ADAL" clId="{265A6489-94A2-4E64-A25F-E64F69B0C2C1}" dt="2024-03-05T20:07:14.498" v="319" actId="478"/>
          <ac:cxnSpMkLst>
            <pc:docMk/>
            <pc:sldMk cId="965765845" sldId="581"/>
            <ac:cxnSpMk id="717" creationId="{6433B29A-121F-F29F-DBDD-7EE1F56A843F}"/>
          </ac:cxnSpMkLst>
        </pc:cxnChg>
        <pc:cxnChg chg="del">
          <ac:chgData name="Bullinger, Marvin" userId="5b54ce5a-dc89-476f-af33-5abd75d5b1e8" providerId="ADAL" clId="{265A6489-94A2-4E64-A25F-E64F69B0C2C1}" dt="2024-03-05T20:07:14.499" v="320" actId="478"/>
          <ac:cxnSpMkLst>
            <pc:docMk/>
            <pc:sldMk cId="965765845" sldId="581"/>
            <ac:cxnSpMk id="720" creationId="{367888FC-61AE-5652-823D-B5ACE2EA11F5}"/>
          </ac:cxnSpMkLst>
        </pc:cxnChg>
        <pc:cxnChg chg="del">
          <ac:chgData name="Bullinger, Marvin" userId="5b54ce5a-dc89-476f-af33-5abd75d5b1e8" providerId="ADAL" clId="{265A6489-94A2-4E64-A25F-E64F69B0C2C1}" dt="2024-03-05T20:07:14.500" v="322" actId="478"/>
          <ac:cxnSpMkLst>
            <pc:docMk/>
            <pc:sldMk cId="965765845" sldId="581"/>
            <ac:cxnSpMk id="726" creationId="{48E4FC0F-9437-D0F0-B1B8-9A6C5A6E6C23}"/>
          </ac:cxnSpMkLst>
        </pc:cxnChg>
        <pc:cxnChg chg="del">
          <ac:chgData name="Bullinger, Marvin" userId="5b54ce5a-dc89-476f-af33-5abd75d5b1e8" providerId="ADAL" clId="{265A6489-94A2-4E64-A25F-E64F69B0C2C1}" dt="2024-03-05T20:07:14.501" v="323" actId="478"/>
          <ac:cxnSpMkLst>
            <pc:docMk/>
            <pc:sldMk cId="965765845" sldId="581"/>
            <ac:cxnSpMk id="729" creationId="{A2C0F077-48CE-D68C-2ED0-DA2133DD8F88}"/>
          </ac:cxnSpMkLst>
        </pc:cxnChg>
        <pc:cxnChg chg="del">
          <ac:chgData name="Bullinger, Marvin" userId="5b54ce5a-dc89-476f-af33-5abd75d5b1e8" providerId="ADAL" clId="{265A6489-94A2-4E64-A25F-E64F69B0C2C1}" dt="2024-03-05T20:07:14.501" v="324" actId="478"/>
          <ac:cxnSpMkLst>
            <pc:docMk/>
            <pc:sldMk cId="965765845" sldId="581"/>
            <ac:cxnSpMk id="730" creationId="{DAC55640-D535-DAE7-15D3-BB20979F4257}"/>
          </ac:cxnSpMkLst>
        </pc:cxnChg>
        <pc:cxnChg chg="del ord replST">
          <ac:chgData name="Bullinger, Marvin" userId="5b54ce5a-dc89-476f-af33-5abd75d5b1e8" providerId="ADAL" clId="{265A6489-94A2-4E64-A25F-E64F69B0C2C1}" dt="2024-03-05T20:17:17.915" v="845" actId="478"/>
          <ac:cxnSpMkLst>
            <pc:docMk/>
            <pc:sldMk cId="965765845" sldId="581"/>
            <ac:cxnSpMk id="743" creationId="{288D0BB2-B4BA-B494-B864-3CED7DE969F0}"/>
          </ac:cxnSpMkLst>
        </pc:cxnChg>
        <pc:cxnChg chg="del ord replST">
          <ac:chgData name="Bullinger, Marvin" userId="5b54ce5a-dc89-476f-af33-5abd75d5b1e8" providerId="ADAL" clId="{265A6489-94A2-4E64-A25F-E64F69B0C2C1}" dt="2024-03-05T20:17:17.916" v="846" actId="478"/>
          <ac:cxnSpMkLst>
            <pc:docMk/>
            <pc:sldMk cId="965765845" sldId="581"/>
            <ac:cxnSpMk id="746" creationId="{BA260F3F-4E7E-5D8D-CECE-E2F27B148B9F}"/>
          </ac:cxnSpMkLst>
        </pc:cxnChg>
        <pc:cxnChg chg="del ord replST">
          <ac:chgData name="Bullinger, Marvin" userId="5b54ce5a-dc89-476f-af33-5abd75d5b1e8" providerId="ADAL" clId="{265A6489-94A2-4E64-A25F-E64F69B0C2C1}" dt="2024-03-05T20:17:17.917" v="847" actId="478"/>
          <ac:cxnSpMkLst>
            <pc:docMk/>
            <pc:sldMk cId="965765845" sldId="581"/>
            <ac:cxnSpMk id="749" creationId="{B5C2E8D6-43A2-680D-96BC-DD9E5CF0CBF5}"/>
          </ac:cxnSpMkLst>
        </pc:cxnChg>
        <pc:cxnChg chg="del ord replST">
          <ac:chgData name="Bullinger, Marvin" userId="5b54ce5a-dc89-476f-af33-5abd75d5b1e8" providerId="ADAL" clId="{265A6489-94A2-4E64-A25F-E64F69B0C2C1}" dt="2024-03-05T22:19:10.328" v="4556" actId="478"/>
          <ac:cxnSpMkLst>
            <pc:docMk/>
            <pc:sldMk cId="965765845" sldId="581"/>
            <ac:cxnSpMk id="768" creationId="{571887F6-F4A6-3CAC-0B7C-C2436BAD8B54}"/>
          </ac:cxnSpMkLst>
        </pc:cxnChg>
        <pc:cxnChg chg="del ord replST">
          <ac:chgData name="Bullinger, Marvin" userId="5b54ce5a-dc89-476f-af33-5abd75d5b1e8" providerId="ADAL" clId="{265A6489-94A2-4E64-A25F-E64F69B0C2C1}" dt="2024-03-05T22:19:10.328" v="4557" actId="478"/>
          <ac:cxnSpMkLst>
            <pc:docMk/>
            <pc:sldMk cId="965765845" sldId="581"/>
            <ac:cxnSpMk id="771" creationId="{1E585FAE-277A-4D4E-1EE1-1E6A8828F54C}"/>
          </ac:cxnSpMkLst>
        </pc:cxnChg>
        <pc:cxnChg chg="del ord replST">
          <ac:chgData name="Bullinger, Marvin" userId="5b54ce5a-dc89-476f-af33-5abd75d5b1e8" providerId="ADAL" clId="{265A6489-94A2-4E64-A25F-E64F69B0C2C1}" dt="2024-03-05T22:19:10.329" v="4558" actId="478"/>
          <ac:cxnSpMkLst>
            <pc:docMk/>
            <pc:sldMk cId="965765845" sldId="581"/>
            <ac:cxnSpMk id="774" creationId="{D012BB4C-FC01-CC0E-24B3-952091022E7D}"/>
          </ac:cxnSpMkLst>
        </pc:cxnChg>
        <pc:cxnChg chg="del ord replST">
          <ac:chgData name="Bullinger, Marvin" userId="5b54ce5a-dc89-476f-af33-5abd75d5b1e8" providerId="ADAL" clId="{265A6489-94A2-4E64-A25F-E64F69B0C2C1}" dt="2024-03-05T22:19:10.330" v="4559" actId="478"/>
          <ac:cxnSpMkLst>
            <pc:docMk/>
            <pc:sldMk cId="965765845" sldId="581"/>
            <ac:cxnSpMk id="777" creationId="{070B4A06-AB2E-6B58-AF0B-DDD3654C7764}"/>
          </ac:cxnSpMkLst>
        </pc:cxnChg>
        <pc:cxnChg chg="ord replST">
          <ac:chgData name="Bullinger, Marvin" userId="5b54ce5a-dc89-476f-af33-5abd75d5b1e8" providerId="ADAL" clId="{265A6489-94A2-4E64-A25F-E64F69B0C2C1}" dt="2024-03-05T22:19:11.311" v="4961"/>
          <ac:cxnSpMkLst>
            <pc:docMk/>
            <pc:sldMk cId="965765845" sldId="581"/>
            <ac:cxnSpMk id="860" creationId="{D29F7B46-D025-8A5C-DE57-8C7BDE6DC375}"/>
          </ac:cxnSpMkLst>
        </pc:cxnChg>
        <pc:cxnChg chg="ord replST">
          <ac:chgData name="Bullinger, Marvin" userId="5b54ce5a-dc89-476f-af33-5abd75d5b1e8" providerId="ADAL" clId="{265A6489-94A2-4E64-A25F-E64F69B0C2C1}" dt="2024-03-05T22:19:11.313" v="4962"/>
          <ac:cxnSpMkLst>
            <pc:docMk/>
            <pc:sldMk cId="965765845" sldId="581"/>
            <ac:cxnSpMk id="863" creationId="{BA742CA7-65D9-71EC-D521-32FF4D6C0FFD}"/>
          </ac:cxnSpMkLst>
        </pc:cxnChg>
        <pc:cxnChg chg="ord replST">
          <ac:chgData name="Bullinger, Marvin" userId="5b54ce5a-dc89-476f-af33-5abd75d5b1e8" providerId="ADAL" clId="{265A6489-94A2-4E64-A25F-E64F69B0C2C1}" dt="2024-03-05T22:19:11.314" v="4963"/>
          <ac:cxnSpMkLst>
            <pc:docMk/>
            <pc:sldMk cId="965765845" sldId="581"/>
            <ac:cxnSpMk id="866" creationId="{656FEED2-93AA-8D53-9365-1EA9A6EB303A}"/>
          </ac:cxnSpMkLst>
        </pc:cxnChg>
        <pc:cxnChg chg="ord replST">
          <ac:chgData name="Bullinger, Marvin" userId="5b54ce5a-dc89-476f-af33-5abd75d5b1e8" providerId="ADAL" clId="{265A6489-94A2-4E64-A25F-E64F69B0C2C1}" dt="2024-03-05T22:19:11.315" v="4964"/>
          <ac:cxnSpMkLst>
            <pc:docMk/>
            <pc:sldMk cId="965765845" sldId="581"/>
            <ac:cxnSpMk id="869" creationId="{9E209CE1-2D82-1111-E4FF-35E7BC0F2547}"/>
          </ac:cxnSpMkLst>
        </pc:cxnChg>
        <pc:cxnChg chg="ord replST">
          <ac:chgData name="Bullinger, Marvin" userId="5b54ce5a-dc89-476f-af33-5abd75d5b1e8" providerId="ADAL" clId="{265A6489-94A2-4E64-A25F-E64F69B0C2C1}" dt="2024-03-05T22:19:11.317" v="4965"/>
          <ac:cxnSpMkLst>
            <pc:docMk/>
            <pc:sldMk cId="965765845" sldId="581"/>
            <ac:cxnSpMk id="872" creationId="{88A70E7C-53E9-8ED7-FDD3-6869A831D53C}"/>
          </ac:cxnSpMkLst>
        </pc:cxnChg>
      </pc:sldChg>
      <pc:sldChg chg="del">
        <pc:chgData name="Bullinger, Marvin" userId="5b54ce5a-dc89-476f-af33-5abd75d5b1e8" providerId="ADAL" clId="{265A6489-94A2-4E64-A25F-E64F69B0C2C1}" dt="2024-03-05T20:07:14.016" v="101" actId="2696"/>
        <pc:sldMkLst>
          <pc:docMk/>
          <pc:sldMk cId="2423218208" sldId="583"/>
        </pc:sldMkLst>
      </pc:sldChg>
      <pc:sldChg chg="addSp delSp modSp mod">
        <pc:chgData name="Bullinger, Marvin" userId="5b54ce5a-dc89-476f-af33-5abd75d5b1e8" providerId="ADAL" clId="{265A6489-94A2-4E64-A25F-E64F69B0C2C1}" dt="2024-03-06T13:51:17.936" v="5100" actId="20577"/>
        <pc:sldMkLst>
          <pc:docMk/>
          <pc:sldMk cId="1339647628" sldId="586"/>
        </pc:sldMkLst>
        <pc:spChg chg="del">
          <ac:chgData name="Bullinger, Marvin" userId="5b54ce5a-dc89-476f-af33-5abd75d5b1e8" providerId="ADAL" clId="{265A6489-94A2-4E64-A25F-E64F69B0C2C1}" dt="2024-03-05T20:07:14.374" v="166" actId="478"/>
          <ac:spMkLst>
            <pc:docMk/>
            <pc:sldMk cId="1339647628" sldId="586"/>
            <ac:spMk id="608" creationId="{153DA632-930B-51C8-2ED2-3FC57A7A7E5C}"/>
          </ac:spMkLst>
        </pc:spChg>
        <pc:spChg chg="del">
          <ac:chgData name="Bullinger, Marvin" userId="5b54ce5a-dc89-476f-af33-5abd75d5b1e8" providerId="ADAL" clId="{265A6489-94A2-4E64-A25F-E64F69B0C2C1}" dt="2024-03-05T20:17:17.779" v="661" actId="478"/>
          <ac:spMkLst>
            <pc:docMk/>
            <pc:sldMk cId="1339647628" sldId="586"/>
            <ac:spMk id="608" creationId="{AA667D05-432F-97D2-3C98-56E9A3A4ABCF}"/>
          </ac:spMkLst>
        </pc:spChg>
        <pc:spChg chg="del">
          <ac:chgData name="Bullinger, Marvin" userId="5b54ce5a-dc89-476f-af33-5abd75d5b1e8" providerId="ADAL" clId="{265A6489-94A2-4E64-A25F-E64F69B0C2C1}" dt="2024-03-05T20:07:14.371" v="159" actId="478"/>
          <ac:spMkLst>
            <pc:docMk/>
            <pc:sldMk cId="1339647628" sldId="586"/>
            <ac:spMk id="609" creationId="{2DDE01B9-A530-A7B2-0FEC-A34A701CCE61}"/>
          </ac:spMkLst>
        </pc:spChg>
        <pc:spChg chg="del">
          <ac:chgData name="Bullinger, Marvin" userId="5b54ce5a-dc89-476f-af33-5abd75d5b1e8" providerId="ADAL" clId="{265A6489-94A2-4E64-A25F-E64F69B0C2C1}" dt="2024-03-05T20:17:17.776" v="654" actId="478"/>
          <ac:spMkLst>
            <pc:docMk/>
            <pc:sldMk cId="1339647628" sldId="586"/>
            <ac:spMk id="609" creationId="{D88E57A0-44F1-C085-3F2D-1085B4FD7D90}"/>
          </ac:spMkLst>
        </pc:spChg>
        <pc:spChg chg="del">
          <ac:chgData name="Bullinger, Marvin" userId="5b54ce5a-dc89-476f-af33-5abd75d5b1e8" providerId="ADAL" clId="{265A6489-94A2-4E64-A25F-E64F69B0C2C1}" dt="2024-03-05T20:07:14.374" v="167" actId="478"/>
          <ac:spMkLst>
            <pc:docMk/>
            <pc:sldMk cId="1339647628" sldId="586"/>
            <ac:spMk id="610" creationId="{07C8A4B0-80A5-FF47-77FB-9211E26BA3EA}"/>
          </ac:spMkLst>
        </pc:spChg>
        <pc:spChg chg="del">
          <ac:chgData name="Bullinger, Marvin" userId="5b54ce5a-dc89-476f-af33-5abd75d5b1e8" providerId="ADAL" clId="{265A6489-94A2-4E64-A25F-E64F69B0C2C1}" dt="2024-03-05T20:17:17.780" v="662" actId="478"/>
          <ac:spMkLst>
            <pc:docMk/>
            <pc:sldMk cId="1339647628" sldId="586"/>
            <ac:spMk id="610" creationId="{1A9CC421-1DAF-AB8B-4A69-7F25060D071D}"/>
          </ac:spMkLst>
        </pc:spChg>
        <pc:spChg chg="del">
          <ac:chgData name="Bullinger, Marvin" userId="5b54ce5a-dc89-476f-af33-5abd75d5b1e8" providerId="ADAL" clId="{265A6489-94A2-4E64-A25F-E64F69B0C2C1}" dt="2024-03-05T20:07:14.371" v="158" actId="478"/>
          <ac:spMkLst>
            <pc:docMk/>
            <pc:sldMk cId="1339647628" sldId="586"/>
            <ac:spMk id="611" creationId="{6BEAAC09-78CA-830B-819D-EDDDB0558795}"/>
          </ac:spMkLst>
        </pc:spChg>
        <pc:spChg chg="del">
          <ac:chgData name="Bullinger, Marvin" userId="5b54ce5a-dc89-476f-af33-5abd75d5b1e8" providerId="ADAL" clId="{265A6489-94A2-4E64-A25F-E64F69B0C2C1}" dt="2024-03-05T20:17:17.776" v="653" actId="478"/>
          <ac:spMkLst>
            <pc:docMk/>
            <pc:sldMk cId="1339647628" sldId="586"/>
            <ac:spMk id="611" creationId="{FBC1BCB2-A8D3-6A28-832F-B2A58C4F83CD}"/>
          </ac:spMkLst>
        </pc:spChg>
        <pc:spChg chg="del">
          <ac:chgData name="Bullinger, Marvin" userId="5b54ce5a-dc89-476f-af33-5abd75d5b1e8" providerId="ADAL" clId="{265A6489-94A2-4E64-A25F-E64F69B0C2C1}" dt="2024-03-05T20:07:14.370" v="157" actId="478"/>
          <ac:spMkLst>
            <pc:docMk/>
            <pc:sldMk cId="1339647628" sldId="586"/>
            <ac:spMk id="612" creationId="{66AA2914-4710-CCED-4CBA-55ED95DF2F98}"/>
          </ac:spMkLst>
        </pc:spChg>
        <pc:spChg chg="del">
          <ac:chgData name="Bullinger, Marvin" userId="5b54ce5a-dc89-476f-af33-5abd75d5b1e8" providerId="ADAL" clId="{265A6489-94A2-4E64-A25F-E64F69B0C2C1}" dt="2024-03-05T20:17:17.775" v="652" actId="478"/>
          <ac:spMkLst>
            <pc:docMk/>
            <pc:sldMk cId="1339647628" sldId="586"/>
            <ac:spMk id="612" creationId="{86988CD6-4544-C483-84AB-293E7443D75B}"/>
          </ac:spMkLst>
        </pc:spChg>
        <pc:spChg chg="del">
          <ac:chgData name="Bullinger, Marvin" userId="5b54ce5a-dc89-476f-af33-5abd75d5b1e8" providerId="ADAL" clId="{265A6489-94A2-4E64-A25F-E64F69B0C2C1}" dt="2024-03-05T20:17:17.775" v="651" actId="478"/>
          <ac:spMkLst>
            <pc:docMk/>
            <pc:sldMk cId="1339647628" sldId="586"/>
            <ac:spMk id="613" creationId="{54444C34-7DE7-E1BC-0FC6-B065B4E924EF}"/>
          </ac:spMkLst>
        </pc:spChg>
        <pc:spChg chg="del">
          <ac:chgData name="Bullinger, Marvin" userId="5b54ce5a-dc89-476f-af33-5abd75d5b1e8" providerId="ADAL" clId="{265A6489-94A2-4E64-A25F-E64F69B0C2C1}" dt="2024-03-05T20:07:14.370" v="156" actId="478"/>
          <ac:spMkLst>
            <pc:docMk/>
            <pc:sldMk cId="1339647628" sldId="586"/>
            <ac:spMk id="613" creationId="{C09A8C0C-8455-94BA-0D55-276B831F6FF0}"/>
          </ac:spMkLst>
        </pc:spChg>
        <pc:spChg chg="del">
          <ac:chgData name="Bullinger, Marvin" userId="5b54ce5a-dc89-476f-af33-5abd75d5b1e8" providerId="ADAL" clId="{265A6489-94A2-4E64-A25F-E64F69B0C2C1}" dt="2024-03-05T20:17:17.775" v="650" actId="478"/>
          <ac:spMkLst>
            <pc:docMk/>
            <pc:sldMk cId="1339647628" sldId="586"/>
            <ac:spMk id="614" creationId="{2D587F3F-54B3-2F86-759A-0E4E1C71A831}"/>
          </ac:spMkLst>
        </pc:spChg>
        <pc:spChg chg="del">
          <ac:chgData name="Bullinger, Marvin" userId="5b54ce5a-dc89-476f-af33-5abd75d5b1e8" providerId="ADAL" clId="{265A6489-94A2-4E64-A25F-E64F69B0C2C1}" dt="2024-03-05T20:07:14.369" v="155" actId="478"/>
          <ac:spMkLst>
            <pc:docMk/>
            <pc:sldMk cId="1339647628" sldId="586"/>
            <ac:spMk id="614" creationId="{F43065D3-9156-1F1D-AA4B-286325D1366B}"/>
          </ac:spMkLst>
        </pc:spChg>
        <pc:spChg chg="del">
          <ac:chgData name="Bullinger, Marvin" userId="5b54ce5a-dc89-476f-af33-5abd75d5b1e8" providerId="ADAL" clId="{265A6489-94A2-4E64-A25F-E64F69B0C2C1}" dt="2024-03-05T20:17:17.774" v="649" actId="478"/>
          <ac:spMkLst>
            <pc:docMk/>
            <pc:sldMk cId="1339647628" sldId="586"/>
            <ac:spMk id="615" creationId="{65CF8A03-E6B0-CC73-2C2F-C2B3A6F52BDF}"/>
          </ac:spMkLst>
        </pc:spChg>
        <pc:spChg chg="del">
          <ac:chgData name="Bullinger, Marvin" userId="5b54ce5a-dc89-476f-af33-5abd75d5b1e8" providerId="ADAL" clId="{265A6489-94A2-4E64-A25F-E64F69B0C2C1}" dt="2024-03-05T20:07:14.369" v="154" actId="478"/>
          <ac:spMkLst>
            <pc:docMk/>
            <pc:sldMk cId="1339647628" sldId="586"/>
            <ac:spMk id="615" creationId="{80CF2F7B-4BEF-9555-F602-F552635CC7FD}"/>
          </ac:spMkLst>
        </pc:spChg>
        <pc:spChg chg="del">
          <ac:chgData name="Bullinger, Marvin" userId="5b54ce5a-dc89-476f-af33-5abd75d5b1e8" providerId="ADAL" clId="{265A6489-94A2-4E64-A25F-E64F69B0C2C1}" dt="2024-03-05T20:17:17.774" v="648" actId="478"/>
          <ac:spMkLst>
            <pc:docMk/>
            <pc:sldMk cId="1339647628" sldId="586"/>
            <ac:spMk id="616" creationId="{12527AD6-66D7-E390-D9BD-493E0D3EC2FB}"/>
          </ac:spMkLst>
        </pc:spChg>
        <pc:spChg chg="del">
          <ac:chgData name="Bullinger, Marvin" userId="5b54ce5a-dc89-476f-af33-5abd75d5b1e8" providerId="ADAL" clId="{265A6489-94A2-4E64-A25F-E64F69B0C2C1}" dt="2024-03-05T20:07:14.369" v="153" actId="478"/>
          <ac:spMkLst>
            <pc:docMk/>
            <pc:sldMk cId="1339647628" sldId="586"/>
            <ac:spMk id="616" creationId="{E1925F79-5D93-FA63-C7BA-C560612F378E}"/>
          </ac:spMkLst>
        </pc:spChg>
        <pc:spChg chg="del">
          <ac:chgData name="Bullinger, Marvin" userId="5b54ce5a-dc89-476f-af33-5abd75d5b1e8" providerId="ADAL" clId="{265A6489-94A2-4E64-A25F-E64F69B0C2C1}" dt="2024-03-05T20:17:17.773" v="647" actId="478"/>
          <ac:spMkLst>
            <pc:docMk/>
            <pc:sldMk cId="1339647628" sldId="586"/>
            <ac:spMk id="617" creationId="{8DC5C720-5F15-A0C3-E8A7-323ABEED7153}"/>
          </ac:spMkLst>
        </pc:spChg>
        <pc:spChg chg="del">
          <ac:chgData name="Bullinger, Marvin" userId="5b54ce5a-dc89-476f-af33-5abd75d5b1e8" providerId="ADAL" clId="{265A6489-94A2-4E64-A25F-E64F69B0C2C1}" dt="2024-03-05T20:07:14.368" v="152" actId="478"/>
          <ac:spMkLst>
            <pc:docMk/>
            <pc:sldMk cId="1339647628" sldId="586"/>
            <ac:spMk id="617" creationId="{AE5BCBE2-EBF9-9943-1F7A-F4B7C2C19F4B}"/>
          </ac:spMkLst>
        </pc:spChg>
        <pc:spChg chg="del">
          <ac:chgData name="Bullinger, Marvin" userId="5b54ce5a-dc89-476f-af33-5abd75d5b1e8" providerId="ADAL" clId="{265A6489-94A2-4E64-A25F-E64F69B0C2C1}" dt="2024-03-05T20:17:17.773" v="646" actId="478"/>
          <ac:spMkLst>
            <pc:docMk/>
            <pc:sldMk cId="1339647628" sldId="586"/>
            <ac:spMk id="618" creationId="{935C6537-0610-C8DC-D616-73AA8F910F4D}"/>
          </ac:spMkLst>
        </pc:spChg>
        <pc:spChg chg="del">
          <ac:chgData name="Bullinger, Marvin" userId="5b54ce5a-dc89-476f-af33-5abd75d5b1e8" providerId="ADAL" clId="{265A6489-94A2-4E64-A25F-E64F69B0C2C1}" dt="2024-03-05T20:07:14.368" v="151" actId="478"/>
          <ac:spMkLst>
            <pc:docMk/>
            <pc:sldMk cId="1339647628" sldId="586"/>
            <ac:spMk id="618" creationId="{BA6AAF2A-E890-AE8A-373E-1FE0E3E468C9}"/>
          </ac:spMkLst>
        </pc:spChg>
        <pc:spChg chg="del">
          <ac:chgData name="Bullinger, Marvin" userId="5b54ce5a-dc89-476f-af33-5abd75d5b1e8" providerId="ADAL" clId="{265A6489-94A2-4E64-A25F-E64F69B0C2C1}" dt="2024-03-05T20:07:14.367" v="150" actId="478"/>
          <ac:spMkLst>
            <pc:docMk/>
            <pc:sldMk cId="1339647628" sldId="586"/>
            <ac:spMk id="619" creationId="{A57105A6-9A9C-2B8E-D170-F31C99C4021B}"/>
          </ac:spMkLst>
        </pc:spChg>
        <pc:spChg chg="del">
          <ac:chgData name="Bullinger, Marvin" userId="5b54ce5a-dc89-476f-af33-5abd75d5b1e8" providerId="ADAL" clId="{265A6489-94A2-4E64-A25F-E64F69B0C2C1}" dt="2024-03-05T20:17:17.773" v="645" actId="478"/>
          <ac:spMkLst>
            <pc:docMk/>
            <pc:sldMk cId="1339647628" sldId="586"/>
            <ac:spMk id="619" creationId="{B3994535-FEC6-2208-2114-6409CE37835A}"/>
          </ac:spMkLst>
        </pc:spChg>
        <pc:spChg chg="del">
          <ac:chgData name="Bullinger, Marvin" userId="5b54ce5a-dc89-476f-af33-5abd75d5b1e8" providerId="ADAL" clId="{265A6489-94A2-4E64-A25F-E64F69B0C2C1}" dt="2024-03-05T20:07:14.367" v="149" actId="478"/>
          <ac:spMkLst>
            <pc:docMk/>
            <pc:sldMk cId="1339647628" sldId="586"/>
            <ac:spMk id="620" creationId="{90C14AC9-AB52-13FD-5E90-3BBE0159FA86}"/>
          </ac:spMkLst>
        </pc:spChg>
        <pc:spChg chg="del">
          <ac:chgData name="Bullinger, Marvin" userId="5b54ce5a-dc89-476f-af33-5abd75d5b1e8" providerId="ADAL" clId="{265A6489-94A2-4E64-A25F-E64F69B0C2C1}" dt="2024-03-05T20:17:17.772" v="644" actId="478"/>
          <ac:spMkLst>
            <pc:docMk/>
            <pc:sldMk cId="1339647628" sldId="586"/>
            <ac:spMk id="620" creationId="{FDD1DD1F-80C6-6A29-F7C6-BF0518CBFFD5}"/>
          </ac:spMkLst>
        </pc:spChg>
        <pc:spChg chg="del">
          <ac:chgData name="Bullinger, Marvin" userId="5b54ce5a-dc89-476f-af33-5abd75d5b1e8" providerId="ADAL" clId="{265A6489-94A2-4E64-A25F-E64F69B0C2C1}" dt="2024-03-05T20:17:17.772" v="643" actId="478"/>
          <ac:spMkLst>
            <pc:docMk/>
            <pc:sldMk cId="1339647628" sldId="586"/>
            <ac:spMk id="621" creationId="{0D9BDE21-1895-2EB1-1A80-6826605ADE80}"/>
          </ac:spMkLst>
        </pc:spChg>
        <pc:spChg chg="del">
          <ac:chgData name="Bullinger, Marvin" userId="5b54ce5a-dc89-476f-af33-5abd75d5b1e8" providerId="ADAL" clId="{265A6489-94A2-4E64-A25F-E64F69B0C2C1}" dt="2024-03-05T20:07:14.367" v="148" actId="478"/>
          <ac:spMkLst>
            <pc:docMk/>
            <pc:sldMk cId="1339647628" sldId="586"/>
            <ac:spMk id="621" creationId="{9F7999CE-15BB-2210-B04F-D06B017252C6}"/>
          </ac:spMkLst>
        </pc:spChg>
        <pc:spChg chg="del">
          <ac:chgData name="Bullinger, Marvin" userId="5b54ce5a-dc89-476f-af33-5abd75d5b1e8" providerId="ADAL" clId="{265A6489-94A2-4E64-A25F-E64F69B0C2C1}" dt="2024-03-05T20:07:14.366" v="147" actId="478"/>
          <ac:spMkLst>
            <pc:docMk/>
            <pc:sldMk cId="1339647628" sldId="586"/>
            <ac:spMk id="622" creationId="{5BF5A24E-DDF1-9364-B8B5-EF9FF9B246F6}"/>
          </ac:spMkLst>
        </pc:spChg>
        <pc:spChg chg="del">
          <ac:chgData name="Bullinger, Marvin" userId="5b54ce5a-dc89-476f-af33-5abd75d5b1e8" providerId="ADAL" clId="{265A6489-94A2-4E64-A25F-E64F69B0C2C1}" dt="2024-03-05T20:17:17.772" v="642" actId="478"/>
          <ac:spMkLst>
            <pc:docMk/>
            <pc:sldMk cId="1339647628" sldId="586"/>
            <ac:spMk id="622" creationId="{878D989A-D7B8-E2B1-4038-7FE66575853F}"/>
          </ac:spMkLst>
        </pc:spChg>
        <pc:spChg chg="del">
          <ac:chgData name="Bullinger, Marvin" userId="5b54ce5a-dc89-476f-af33-5abd75d5b1e8" providerId="ADAL" clId="{265A6489-94A2-4E64-A25F-E64F69B0C2C1}" dt="2024-03-05T20:07:14.366" v="146" actId="478"/>
          <ac:spMkLst>
            <pc:docMk/>
            <pc:sldMk cId="1339647628" sldId="586"/>
            <ac:spMk id="623" creationId="{41E6B321-FD28-BCD2-EE9D-84B3A2997A8D}"/>
          </ac:spMkLst>
        </pc:spChg>
        <pc:spChg chg="del">
          <ac:chgData name="Bullinger, Marvin" userId="5b54ce5a-dc89-476f-af33-5abd75d5b1e8" providerId="ADAL" clId="{265A6489-94A2-4E64-A25F-E64F69B0C2C1}" dt="2024-03-05T20:17:17.771" v="641" actId="478"/>
          <ac:spMkLst>
            <pc:docMk/>
            <pc:sldMk cId="1339647628" sldId="586"/>
            <ac:spMk id="623" creationId="{B686AC59-AE0B-AA49-F4DB-7EC66FB73AB9}"/>
          </ac:spMkLst>
        </pc:spChg>
        <pc:spChg chg="del">
          <ac:chgData name="Bullinger, Marvin" userId="5b54ce5a-dc89-476f-af33-5abd75d5b1e8" providerId="ADAL" clId="{265A6489-94A2-4E64-A25F-E64F69B0C2C1}" dt="2024-03-05T20:07:14.365" v="145" actId="478"/>
          <ac:spMkLst>
            <pc:docMk/>
            <pc:sldMk cId="1339647628" sldId="586"/>
            <ac:spMk id="624" creationId="{3EFBD1BA-8CFB-BAB7-BB96-F515D9503678}"/>
          </ac:spMkLst>
        </pc:spChg>
        <pc:spChg chg="del">
          <ac:chgData name="Bullinger, Marvin" userId="5b54ce5a-dc89-476f-af33-5abd75d5b1e8" providerId="ADAL" clId="{265A6489-94A2-4E64-A25F-E64F69B0C2C1}" dt="2024-03-05T20:17:17.771" v="640" actId="478"/>
          <ac:spMkLst>
            <pc:docMk/>
            <pc:sldMk cId="1339647628" sldId="586"/>
            <ac:spMk id="624" creationId="{A3D23FC0-172D-DFEC-D212-35F4B733352E}"/>
          </ac:spMkLst>
        </pc:spChg>
        <pc:spChg chg="replST">
          <ac:chgData name="Bullinger, Marvin" userId="5b54ce5a-dc89-476f-af33-5abd75d5b1e8" providerId="ADAL" clId="{265A6489-94A2-4E64-A25F-E64F69B0C2C1}" dt="2024-03-05T20:17:17.953" v="890"/>
          <ac:spMkLst>
            <pc:docMk/>
            <pc:sldMk cId="1339647628" sldId="586"/>
            <ac:spMk id="625" creationId="{ED6469B0-BF73-87FD-D647-FDA5604D3E4E}"/>
          </ac:spMkLst>
        </pc:spChg>
        <pc:spChg chg="replST">
          <ac:chgData name="Bullinger, Marvin" userId="5b54ce5a-dc89-476f-af33-5abd75d5b1e8" providerId="ADAL" clId="{265A6489-94A2-4E64-A25F-E64F69B0C2C1}" dt="2024-03-05T20:17:17.958" v="893"/>
          <ac:spMkLst>
            <pc:docMk/>
            <pc:sldMk cId="1339647628" sldId="586"/>
            <ac:spMk id="626" creationId="{65DEC838-2572-B0FE-9C5D-F254A4F208EE}"/>
          </ac:spMkLst>
        </pc:spChg>
        <pc:spChg chg="replST">
          <ac:chgData name="Bullinger, Marvin" userId="5b54ce5a-dc89-476f-af33-5abd75d5b1e8" providerId="ADAL" clId="{265A6489-94A2-4E64-A25F-E64F69B0C2C1}" dt="2024-03-05T20:17:17.963" v="897"/>
          <ac:spMkLst>
            <pc:docMk/>
            <pc:sldMk cId="1339647628" sldId="586"/>
            <ac:spMk id="628" creationId="{AC6188AF-8A21-8FE5-09D7-B0244379761F}"/>
          </ac:spMkLst>
        </pc:spChg>
        <pc:spChg chg="replST">
          <ac:chgData name="Bullinger, Marvin" userId="5b54ce5a-dc89-476f-af33-5abd75d5b1e8" providerId="ADAL" clId="{265A6489-94A2-4E64-A25F-E64F69B0C2C1}" dt="2024-03-05T20:17:17.967" v="900"/>
          <ac:spMkLst>
            <pc:docMk/>
            <pc:sldMk cId="1339647628" sldId="586"/>
            <ac:spMk id="629" creationId="{8E9AEF62-4D7B-CDA2-5121-62E449B8CED0}"/>
          </ac:spMkLst>
        </pc:spChg>
        <pc:spChg chg="replST">
          <ac:chgData name="Bullinger, Marvin" userId="5b54ce5a-dc89-476f-af33-5abd75d5b1e8" providerId="ADAL" clId="{265A6489-94A2-4E64-A25F-E64F69B0C2C1}" dt="2024-03-05T20:17:17.971" v="904"/>
          <ac:spMkLst>
            <pc:docMk/>
            <pc:sldMk cId="1339647628" sldId="586"/>
            <ac:spMk id="631" creationId="{3BE410F8-8612-4D0F-F41F-4BD65EBD83CE}"/>
          </ac:spMkLst>
        </pc:spChg>
        <pc:spChg chg="replST">
          <ac:chgData name="Bullinger, Marvin" userId="5b54ce5a-dc89-476f-af33-5abd75d5b1e8" providerId="ADAL" clId="{265A6489-94A2-4E64-A25F-E64F69B0C2C1}" dt="2024-03-05T20:17:17.976" v="907"/>
          <ac:spMkLst>
            <pc:docMk/>
            <pc:sldMk cId="1339647628" sldId="586"/>
            <ac:spMk id="632" creationId="{290E50E4-A255-2291-5670-5347301FF1C2}"/>
          </ac:spMkLst>
        </pc:spChg>
        <pc:spChg chg="replST">
          <ac:chgData name="Bullinger, Marvin" userId="5b54ce5a-dc89-476f-af33-5abd75d5b1e8" providerId="ADAL" clId="{265A6489-94A2-4E64-A25F-E64F69B0C2C1}" dt="2024-03-05T20:17:17.980" v="911"/>
          <ac:spMkLst>
            <pc:docMk/>
            <pc:sldMk cId="1339647628" sldId="586"/>
            <ac:spMk id="634" creationId="{92D39A5A-BD46-BEF0-91C4-4D1014D44026}"/>
          </ac:spMkLst>
        </pc:spChg>
        <pc:spChg chg="replST">
          <ac:chgData name="Bullinger, Marvin" userId="5b54ce5a-dc89-476f-af33-5abd75d5b1e8" providerId="ADAL" clId="{265A6489-94A2-4E64-A25F-E64F69B0C2C1}" dt="2024-03-05T20:17:17.985" v="914"/>
          <ac:spMkLst>
            <pc:docMk/>
            <pc:sldMk cId="1339647628" sldId="586"/>
            <ac:spMk id="635" creationId="{2DEF6F61-9440-DAD4-78F2-2CC4994352F4}"/>
          </ac:spMkLst>
        </pc:spChg>
        <pc:spChg chg="replST">
          <ac:chgData name="Bullinger, Marvin" userId="5b54ce5a-dc89-476f-af33-5abd75d5b1e8" providerId="ADAL" clId="{265A6489-94A2-4E64-A25F-E64F69B0C2C1}" dt="2024-03-05T20:17:17.989" v="918"/>
          <ac:spMkLst>
            <pc:docMk/>
            <pc:sldMk cId="1339647628" sldId="586"/>
            <ac:spMk id="637" creationId="{AFA0098C-31E1-8F16-66A7-22662344D402}"/>
          </ac:spMkLst>
        </pc:spChg>
        <pc:spChg chg="replST">
          <ac:chgData name="Bullinger, Marvin" userId="5b54ce5a-dc89-476f-af33-5abd75d5b1e8" providerId="ADAL" clId="{265A6489-94A2-4E64-A25F-E64F69B0C2C1}" dt="2024-03-05T20:07:14.542" v="366"/>
          <ac:spMkLst>
            <pc:docMk/>
            <pc:sldMk cId="1339647628" sldId="586"/>
            <ac:spMk id="639" creationId="{F4E0B8F5-CF39-B3E9-CB3B-73391A80A7F6}"/>
          </ac:spMkLst>
        </pc:spChg>
        <pc:spChg chg="replST">
          <ac:chgData name="Bullinger, Marvin" userId="5b54ce5a-dc89-476f-af33-5abd75d5b1e8" providerId="ADAL" clId="{265A6489-94A2-4E64-A25F-E64F69B0C2C1}" dt="2024-03-05T20:07:14.546" v="369"/>
          <ac:spMkLst>
            <pc:docMk/>
            <pc:sldMk cId="1339647628" sldId="586"/>
            <ac:spMk id="640" creationId="{7E260EA8-8CA7-2DB5-D7E9-1BED161C648A}"/>
          </ac:spMkLst>
        </pc:spChg>
        <pc:spChg chg="replST">
          <ac:chgData name="Bullinger, Marvin" userId="5b54ce5a-dc89-476f-af33-5abd75d5b1e8" providerId="ADAL" clId="{265A6489-94A2-4E64-A25F-E64F69B0C2C1}" dt="2024-03-05T20:07:14.553" v="373"/>
          <ac:spMkLst>
            <pc:docMk/>
            <pc:sldMk cId="1339647628" sldId="586"/>
            <ac:spMk id="642" creationId="{2A39A3BD-FCAF-2316-0D2E-8E17E65B19CD}"/>
          </ac:spMkLst>
        </pc:spChg>
        <pc:spChg chg="replST">
          <ac:chgData name="Bullinger, Marvin" userId="5b54ce5a-dc89-476f-af33-5abd75d5b1e8" providerId="ADAL" clId="{265A6489-94A2-4E64-A25F-E64F69B0C2C1}" dt="2024-03-05T20:07:14.557" v="376"/>
          <ac:spMkLst>
            <pc:docMk/>
            <pc:sldMk cId="1339647628" sldId="586"/>
            <ac:spMk id="643" creationId="{26C00072-B57C-78DB-EA2B-0C09A39BB37D}"/>
          </ac:spMkLst>
        </pc:spChg>
        <pc:spChg chg="replST">
          <ac:chgData name="Bullinger, Marvin" userId="5b54ce5a-dc89-476f-af33-5abd75d5b1e8" providerId="ADAL" clId="{265A6489-94A2-4E64-A25F-E64F69B0C2C1}" dt="2024-03-05T20:07:14.562" v="380"/>
          <ac:spMkLst>
            <pc:docMk/>
            <pc:sldMk cId="1339647628" sldId="586"/>
            <ac:spMk id="645" creationId="{E6308FF0-0293-8A6F-58C9-F6E12BEC4A03}"/>
          </ac:spMkLst>
        </pc:spChg>
        <pc:spChg chg="replST">
          <ac:chgData name="Bullinger, Marvin" userId="5b54ce5a-dc89-476f-af33-5abd75d5b1e8" providerId="ADAL" clId="{265A6489-94A2-4E64-A25F-E64F69B0C2C1}" dt="2024-03-05T20:07:14.566" v="383"/>
          <ac:spMkLst>
            <pc:docMk/>
            <pc:sldMk cId="1339647628" sldId="586"/>
            <ac:spMk id="646" creationId="{00536463-30CF-96FE-8A5D-5C63225486AE}"/>
          </ac:spMkLst>
        </pc:spChg>
        <pc:spChg chg="replST">
          <ac:chgData name="Bullinger, Marvin" userId="5b54ce5a-dc89-476f-af33-5abd75d5b1e8" providerId="ADAL" clId="{265A6489-94A2-4E64-A25F-E64F69B0C2C1}" dt="2024-03-05T20:07:14.570" v="387"/>
          <ac:spMkLst>
            <pc:docMk/>
            <pc:sldMk cId="1339647628" sldId="586"/>
            <ac:spMk id="648" creationId="{B4DE72F5-3B26-FA67-4E89-53A0ECE49FB4}"/>
          </ac:spMkLst>
        </pc:spChg>
        <pc:spChg chg="replST">
          <ac:chgData name="Bullinger, Marvin" userId="5b54ce5a-dc89-476f-af33-5abd75d5b1e8" providerId="ADAL" clId="{265A6489-94A2-4E64-A25F-E64F69B0C2C1}" dt="2024-03-05T20:07:14.574" v="390"/>
          <ac:spMkLst>
            <pc:docMk/>
            <pc:sldMk cId="1339647628" sldId="586"/>
            <ac:spMk id="649" creationId="{86E23889-9671-BDFA-ACE5-DB1A143E22CF}"/>
          </ac:spMkLst>
        </pc:spChg>
        <pc:spChg chg="replST">
          <ac:chgData name="Bullinger, Marvin" userId="5b54ce5a-dc89-476f-af33-5abd75d5b1e8" providerId="ADAL" clId="{265A6489-94A2-4E64-A25F-E64F69B0C2C1}" dt="2024-03-05T20:17:17.993" v="921"/>
          <ac:spMkLst>
            <pc:docMk/>
            <pc:sldMk cId="1339647628" sldId="586"/>
            <ac:spMk id="652" creationId="{F743F245-E14D-AAC5-5342-EAB035F7DA80}"/>
          </ac:spMkLst>
        </pc:spChg>
        <pc:spChg chg="add mod">
          <ac:chgData name="Bullinger, Marvin" userId="5b54ce5a-dc89-476f-af33-5abd75d5b1e8" providerId="ADAL" clId="{265A6489-94A2-4E64-A25F-E64F69B0C2C1}" dt="2024-03-05T20:07:14.341" v="137" actId="478"/>
          <ac:spMkLst>
            <pc:docMk/>
            <pc:sldMk cId="1339647628" sldId="586"/>
            <ac:spMk id="681" creationId="{7FA7A2AD-FE59-5CC6-64A0-3CB92888EF19}"/>
          </ac:spMkLst>
        </pc:spChg>
        <pc:spChg chg="add mod">
          <ac:chgData name="Bullinger, Marvin" userId="5b54ce5a-dc89-476f-af33-5abd75d5b1e8" providerId="ADAL" clId="{265A6489-94A2-4E64-A25F-E64F69B0C2C1}" dt="2024-03-05T20:17:17.748" v="634" actId="478"/>
          <ac:spMkLst>
            <pc:docMk/>
            <pc:sldMk cId="1339647628" sldId="586"/>
            <ac:spMk id="681" creationId="{FABC0E97-F83F-1628-BE57-94EAED193B00}"/>
          </ac:spMkLst>
        </pc:spChg>
        <pc:spChg chg="del mod ord replST">
          <ac:chgData name="Bullinger, Marvin" userId="5b54ce5a-dc89-476f-af33-5abd75d5b1e8" providerId="ADAL" clId="{265A6489-94A2-4E64-A25F-E64F69B0C2C1}" dt="2024-03-05T22:19:09.987" v="4297" actId="478"/>
          <ac:spMkLst>
            <pc:docMk/>
            <pc:sldMk cId="1339647628" sldId="586"/>
            <ac:spMk id="682" creationId="{3D5D4726-330F-3C90-9565-82213E0875B7}"/>
          </ac:spMkLst>
        </pc:spChg>
        <pc:spChg chg="del">
          <ac:chgData name="Bullinger, Marvin" userId="5b54ce5a-dc89-476f-af33-5abd75d5b1e8" providerId="ADAL" clId="{265A6489-94A2-4E64-A25F-E64F69B0C2C1}" dt="2024-03-05T20:07:14.341" v="137" actId="478"/>
          <ac:spMkLst>
            <pc:docMk/>
            <pc:sldMk cId="1339647628" sldId="586"/>
            <ac:spMk id="682" creationId="{CC6749E5-28F3-2790-E28D-1CB1CDA1C7ED}"/>
          </ac:spMkLst>
        </pc:spChg>
        <pc:spChg chg="del mod ord replST">
          <ac:chgData name="Bullinger, Marvin" userId="5b54ce5a-dc89-476f-af33-5abd75d5b1e8" providerId="ADAL" clId="{265A6489-94A2-4E64-A25F-E64F69B0C2C1}" dt="2024-03-05T20:17:17.748" v="634" actId="478"/>
          <ac:spMkLst>
            <pc:docMk/>
            <pc:sldMk cId="1339647628" sldId="586"/>
            <ac:spMk id="683" creationId="{B59D3A7B-6485-870C-8D18-60455E926ADD}"/>
          </ac:spMkLst>
        </pc:spChg>
        <pc:spChg chg="del">
          <ac:chgData name="Bullinger, Marvin" userId="5b54ce5a-dc89-476f-af33-5abd75d5b1e8" providerId="ADAL" clId="{265A6489-94A2-4E64-A25F-E64F69B0C2C1}" dt="2024-03-05T20:17:17.782" v="668" actId="478"/>
          <ac:spMkLst>
            <pc:docMk/>
            <pc:sldMk cId="1339647628" sldId="586"/>
            <ac:spMk id="684" creationId="{6B8C6003-D172-AF3E-BA58-3B733FF37AF0}"/>
          </ac:spMkLst>
        </pc:spChg>
        <pc:spChg chg="del">
          <ac:chgData name="Bullinger, Marvin" userId="5b54ce5a-dc89-476f-af33-5abd75d5b1e8" providerId="ADAL" clId="{265A6489-94A2-4E64-A25F-E64F69B0C2C1}" dt="2024-03-05T20:07:14.377" v="173" actId="478"/>
          <ac:spMkLst>
            <pc:docMk/>
            <pc:sldMk cId="1339647628" sldId="586"/>
            <ac:spMk id="684" creationId="{92EA76F1-E442-79FF-42A6-C47EF712240A}"/>
          </ac:spMkLst>
        </pc:spChg>
        <pc:spChg chg="del">
          <ac:chgData name="Bullinger, Marvin" userId="5b54ce5a-dc89-476f-af33-5abd75d5b1e8" providerId="ADAL" clId="{265A6489-94A2-4E64-A25F-E64F69B0C2C1}" dt="2024-03-05T20:07:14.376" v="172" actId="478"/>
          <ac:spMkLst>
            <pc:docMk/>
            <pc:sldMk cId="1339647628" sldId="586"/>
            <ac:spMk id="685" creationId="{47C681AB-3A3C-1DD1-7FDA-03ECD5DB9C50}"/>
          </ac:spMkLst>
        </pc:spChg>
        <pc:spChg chg="del">
          <ac:chgData name="Bullinger, Marvin" userId="5b54ce5a-dc89-476f-af33-5abd75d5b1e8" providerId="ADAL" clId="{265A6489-94A2-4E64-A25F-E64F69B0C2C1}" dt="2024-03-05T20:17:17.782" v="667" actId="478"/>
          <ac:spMkLst>
            <pc:docMk/>
            <pc:sldMk cId="1339647628" sldId="586"/>
            <ac:spMk id="685" creationId="{EC10A844-864E-B435-E1A7-3A6164A9CC79}"/>
          </ac:spMkLst>
        </pc:spChg>
        <pc:spChg chg="del">
          <ac:chgData name="Bullinger, Marvin" userId="5b54ce5a-dc89-476f-af33-5abd75d5b1e8" providerId="ADAL" clId="{265A6489-94A2-4E64-A25F-E64F69B0C2C1}" dt="2024-03-05T20:07:14.376" v="171" actId="478"/>
          <ac:spMkLst>
            <pc:docMk/>
            <pc:sldMk cId="1339647628" sldId="586"/>
            <ac:spMk id="686" creationId="{32CCFDB1-F757-974E-FEEA-1CD5CFAE235E}"/>
          </ac:spMkLst>
        </pc:spChg>
        <pc:spChg chg="del">
          <ac:chgData name="Bullinger, Marvin" userId="5b54ce5a-dc89-476f-af33-5abd75d5b1e8" providerId="ADAL" clId="{265A6489-94A2-4E64-A25F-E64F69B0C2C1}" dt="2024-03-05T20:17:17.781" v="666" actId="478"/>
          <ac:spMkLst>
            <pc:docMk/>
            <pc:sldMk cId="1339647628" sldId="586"/>
            <ac:spMk id="686" creationId="{C4A0203D-4F4A-2C75-DA38-1D0E8BB45035}"/>
          </ac:spMkLst>
        </pc:spChg>
        <pc:spChg chg="del">
          <ac:chgData name="Bullinger, Marvin" userId="5b54ce5a-dc89-476f-af33-5abd75d5b1e8" providerId="ADAL" clId="{265A6489-94A2-4E64-A25F-E64F69B0C2C1}" dt="2024-03-05T20:07:14.376" v="170" actId="478"/>
          <ac:spMkLst>
            <pc:docMk/>
            <pc:sldMk cId="1339647628" sldId="586"/>
            <ac:spMk id="687" creationId="{A6277B11-FA1E-368E-1B36-5F5EA2ED76A2}"/>
          </ac:spMkLst>
        </pc:spChg>
        <pc:spChg chg="del">
          <ac:chgData name="Bullinger, Marvin" userId="5b54ce5a-dc89-476f-af33-5abd75d5b1e8" providerId="ADAL" clId="{265A6489-94A2-4E64-A25F-E64F69B0C2C1}" dt="2024-03-05T20:17:17.781" v="665" actId="478"/>
          <ac:spMkLst>
            <pc:docMk/>
            <pc:sldMk cId="1339647628" sldId="586"/>
            <ac:spMk id="687" creationId="{A94869F6-22B3-4720-37CB-04B1618C6199}"/>
          </ac:spMkLst>
        </pc:spChg>
        <pc:spChg chg="del">
          <ac:chgData name="Bullinger, Marvin" userId="5b54ce5a-dc89-476f-af33-5abd75d5b1e8" providerId="ADAL" clId="{265A6489-94A2-4E64-A25F-E64F69B0C2C1}" dt="2024-03-05T20:17:17.780" v="664" actId="478"/>
          <ac:spMkLst>
            <pc:docMk/>
            <pc:sldMk cId="1339647628" sldId="586"/>
            <ac:spMk id="688" creationId="{C9F3547F-D477-3A73-98DD-E4283DF5E0F9}"/>
          </ac:spMkLst>
        </pc:spChg>
        <pc:spChg chg="del">
          <ac:chgData name="Bullinger, Marvin" userId="5b54ce5a-dc89-476f-af33-5abd75d5b1e8" providerId="ADAL" clId="{265A6489-94A2-4E64-A25F-E64F69B0C2C1}" dt="2024-03-05T20:07:14.375" v="169" actId="478"/>
          <ac:spMkLst>
            <pc:docMk/>
            <pc:sldMk cId="1339647628" sldId="586"/>
            <ac:spMk id="688" creationId="{CA4E8AC3-C67C-8757-5F1D-799D025A2133}"/>
          </ac:spMkLst>
        </pc:spChg>
        <pc:spChg chg="del">
          <ac:chgData name="Bullinger, Marvin" userId="5b54ce5a-dc89-476f-af33-5abd75d5b1e8" providerId="ADAL" clId="{265A6489-94A2-4E64-A25F-E64F69B0C2C1}" dt="2024-03-05T20:17:17.780" v="663" actId="478"/>
          <ac:spMkLst>
            <pc:docMk/>
            <pc:sldMk cId="1339647628" sldId="586"/>
            <ac:spMk id="689" creationId="{31BADB44-DD29-6EE1-12AA-38BC2DBC2295}"/>
          </ac:spMkLst>
        </pc:spChg>
        <pc:spChg chg="del">
          <ac:chgData name="Bullinger, Marvin" userId="5b54ce5a-dc89-476f-af33-5abd75d5b1e8" providerId="ADAL" clId="{265A6489-94A2-4E64-A25F-E64F69B0C2C1}" dt="2024-03-05T20:07:14.375" v="168" actId="478"/>
          <ac:spMkLst>
            <pc:docMk/>
            <pc:sldMk cId="1339647628" sldId="586"/>
            <ac:spMk id="689" creationId="{6AE811E2-C327-FB21-6F6E-1538ADF71058}"/>
          </ac:spMkLst>
        </pc:spChg>
        <pc:spChg chg="del">
          <ac:chgData name="Bullinger, Marvin" userId="5b54ce5a-dc89-476f-af33-5abd75d5b1e8" providerId="ADAL" clId="{265A6489-94A2-4E64-A25F-E64F69B0C2C1}" dt="2024-03-05T20:07:14.374" v="165" actId="478"/>
          <ac:spMkLst>
            <pc:docMk/>
            <pc:sldMk cId="1339647628" sldId="586"/>
            <ac:spMk id="690" creationId="{3B04CD5B-BBBC-1157-0D15-85EFA0C45C0A}"/>
          </ac:spMkLst>
        </pc:spChg>
        <pc:spChg chg="del">
          <ac:chgData name="Bullinger, Marvin" userId="5b54ce5a-dc89-476f-af33-5abd75d5b1e8" providerId="ADAL" clId="{265A6489-94A2-4E64-A25F-E64F69B0C2C1}" dt="2024-03-05T20:17:17.779" v="660" actId="478"/>
          <ac:spMkLst>
            <pc:docMk/>
            <pc:sldMk cId="1339647628" sldId="586"/>
            <ac:spMk id="690" creationId="{E968CDC4-08A7-249C-331A-44BA9BD5229D}"/>
          </ac:spMkLst>
        </pc:spChg>
        <pc:spChg chg="del">
          <ac:chgData name="Bullinger, Marvin" userId="5b54ce5a-dc89-476f-af33-5abd75d5b1e8" providerId="ADAL" clId="{265A6489-94A2-4E64-A25F-E64F69B0C2C1}" dt="2024-03-05T20:17:17.778" v="659" actId="478"/>
          <ac:spMkLst>
            <pc:docMk/>
            <pc:sldMk cId="1339647628" sldId="586"/>
            <ac:spMk id="691" creationId="{8C2EA00B-ABA7-B6E1-AC84-435633F8C5C9}"/>
          </ac:spMkLst>
        </pc:spChg>
        <pc:spChg chg="del">
          <ac:chgData name="Bullinger, Marvin" userId="5b54ce5a-dc89-476f-af33-5abd75d5b1e8" providerId="ADAL" clId="{265A6489-94A2-4E64-A25F-E64F69B0C2C1}" dt="2024-03-05T20:07:14.373" v="164" actId="478"/>
          <ac:spMkLst>
            <pc:docMk/>
            <pc:sldMk cId="1339647628" sldId="586"/>
            <ac:spMk id="691" creationId="{E488263D-87EA-EC82-A05F-7D3143302884}"/>
          </ac:spMkLst>
        </pc:spChg>
        <pc:spChg chg="del">
          <ac:chgData name="Bullinger, Marvin" userId="5b54ce5a-dc89-476f-af33-5abd75d5b1e8" providerId="ADAL" clId="{265A6489-94A2-4E64-A25F-E64F69B0C2C1}" dt="2024-03-05T20:07:14.373" v="163" actId="478"/>
          <ac:spMkLst>
            <pc:docMk/>
            <pc:sldMk cId="1339647628" sldId="586"/>
            <ac:spMk id="692" creationId="{CC75B2B9-0817-089F-F1C3-07F056BE5E4F}"/>
          </ac:spMkLst>
        </pc:spChg>
        <pc:spChg chg="del">
          <ac:chgData name="Bullinger, Marvin" userId="5b54ce5a-dc89-476f-af33-5abd75d5b1e8" providerId="ADAL" clId="{265A6489-94A2-4E64-A25F-E64F69B0C2C1}" dt="2024-03-05T20:17:17.778" v="658" actId="478"/>
          <ac:spMkLst>
            <pc:docMk/>
            <pc:sldMk cId="1339647628" sldId="586"/>
            <ac:spMk id="692" creationId="{F35BD9E6-2205-FCEE-20D1-A8439DDC0362}"/>
          </ac:spMkLst>
        </pc:spChg>
        <pc:spChg chg="del">
          <ac:chgData name="Bullinger, Marvin" userId="5b54ce5a-dc89-476f-af33-5abd75d5b1e8" providerId="ADAL" clId="{265A6489-94A2-4E64-A25F-E64F69B0C2C1}" dt="2024-03-05T20:07:14.372" v="162" actId="478"/>
          <ac:spMkLst>
            <pc:docMk/>
            <pc:sldMk cId="1339647628" sldId="586"/>
            <ac:spMk id="693" creationId="{AC12F834-5BEA-1DB5-0D5C-E0299C1C9DA3}"/>
          </ac:spMkLst>
        </pc:spChg>
        <pc:spChg chg="del">
          <ac:chgData name="Bullinger, Marvin" userId="5b54ce5a-dc89-476f-af33-5abd75d5b1e8" providerId="ADAL" clId="{265A6489-94A2-4E64-A25F-E64F69B0C2C1}" dt="2024-03-05T20:17:17.778" v="657" actId="478"/>
          <ac:spMkLst>
            <pc:docMk/>
            <pc:sldMk cId="1339647628" sldId="586"/>
            <ac:spMk id="693" creationId="{B91B8030-561F-B5CB-1893-BED42C3F183F}"/>
          </ac:spMkLst>
        </pc:spChg>
        <pc:spChg chg="del">
          <ac:chgData name="Bullinger, Marvin" userId="5b54ce5a-dc89-476f-af33-5abd75d5b1e8" providerId="ADAL" clId="{265A6489-94A2-4E64-A25F-E64F69B0C2C1}" dt="2024-03-05T20:17:17.777" v="656" actId="478"/>
          <ac:spMkLst>
            <pc:docMk/>
            <pc:sldMk cId="1339647628" sldId="586"/>
            <ac:spMk id="694" creationId="{BB703884-FFFC-2E98-8258-16706C0FCD50}"/>
          </ac:spMkLst>
        </pc:spChg>
        <pc:spChg chg="del">
          <ac:chgData name="Bullinger, Marvin" userId="5b54ce5a-dc89-476f-af33-5abd75d5b1e8" providerId="ADAL" clId="{265A6489-94A2-4E64-A25F-E64F69B0C2C1}" dt="2024-03-05T20:07:14.372" v="161" actId="478"/>
          <ac:spMkLst>
            <pc:docMk/>
            <pc:sldMk cId="1339647628" sldId="586"/>
            <ac:spMk id="694" creationId="{EE527485-9A1D-E94A-24A1-A5248C2BA212}"/>
          </ac:spMkLst>
        </pc:spChg>
        <pc:spChg chg="del">
          <ac:chgData name="Bullinger, Marvin" userId="5b54ce5a-dc89-476f-af33-5abd75d5b1e8" providerId="ADAL" clId="{265A6489-94A2-4E64-A25F-E64F69B0C2C1}" dt="2024-03-05T20:17:17.777" v="655" actId="478"/>
          <ac:spMkLst>
            <pc:docMk/>
            <pc:sldMk cId="1339647628" sldId="586"/>
            <ac:spMk id="695" creationId="{39AF1CFF-42CA-8D89-A1C9-BFC7CE5FFFC0}"/>
          </ac:spMkLst>
        </pc:spChg>
        <pc:spChg chg="del">
          <ac:chgData name="Bullinger, Marvin" userId="5b54ce5a-dc89-476f-af33-5abd75d5b1e8" providerId="ADAL" clId="{265A6489-94A2-4E64-A25F-E64F69B0C2C1}" dt="2024-03-05T20:07:14.372" v="160" actId="478"/>
          <ac:spMkLst>
            <pc:docMk/>
            <pc:sldMk cId="1339647628" sldId="586"/>
            <ac:spMk id="695" creationId="{62AA1533-9213-1D7A-F1F3-94BC0EDDF282}"/>
          </ac:spMkLst>
        </pc:spChg>
        <pc:spChg chg="del">
          <ac:chgData name="Bullinger, Marvin" userId="5b54ce5a-dc89-476f-af33-5abd75d5b1e8" providerId="ADAL" clId="{265A6489-94A2-4E64-A25F-E64F69B0C2C1}" dt="2024-03-05T20:07:14.380" v="181" actId="478"/>
          <ac:spMkLst>
            <pc:docMk/>
            <pc:sldMk cId="1339647628" sldId="586"/>
            <ac:spMk id="696" creationId="{4EC1AB80-B19C-31C1-7C89-E4E37ED4D1AB}"/>
          </ac:spMkLst>
        </pc:spChg>
        <pc:spChg chg="del">
          <ac:chgData name="Bullinger, Marvin" userId="5b54ce5a-dc89-476f-af33-5abd75d5b1e8" providerId="ADAL" clId="{265A6489-94A2-4E64-A25F-E64F69B0C2C1}" dt="2024-03-05T20:17:17.785" v="676" actId="478"/>
          <ac:spMkLst>
            <pc:docMk/>
            <pc:sldMk cId="1339647628" sldId="586"/>
            <ac:spMk id="696" creationId="{B116DB18-A764-5B5C-7D02-21169639BB43}"/>
          </ac:spMkLst>
        </pc:spChg>
        <pc:spChg chg="del">
          <ac:chgData name="Bullinger, Marvin" userId="5b54ce5a-dc89-476f-af33-5abd75d5b1e8" providerId="ADAL" clId="{265A6489-94A2-4E64-A25F-E64F69B0C2C1}" dt="2024-03-05T20:07:14.379" v="180" actId="478"/>
          <ac:spMkLst>
            <pc:docMk/>
            <pc:sldMk cId="1339647628" sldId="586"/>
            <ac:spMk id="697" creationId="{32707508-80F3-D9C1-8645-191ECEF5AE5A}"/>
          </ac:spMkLst>
        </pc:spChg>
        <pc:spChg chg="del">
          <ac:chgData name="Bullinger, Marvin" userId="5b54ce5a-dc89-476f-af33-5abd75d5b1e8" providerId="ADAL" clId="{265A6489-94A2-4E64-A25F-E64F69B0C2C1}" dt="2024-03-05T20:17:17.785" v="675" actId="478"/>
          <ac:spMkLst>
            <pc:docMk/>
            <pc:sldMk cId="1339647628" sldId="586"/>
            <ac:spMk id="697" creationId="{E6B7364C-1707-51CF-BCD0-8CEFD6EFCB4B}"/>
          </ac:spMkLst>
        </pc:spChg>
        <pc:spChg chg="del">
          <ac:chgData name="Bullinger, Marvin" userId="5b54ce5a-dc89-476f-af33-5abd75d5b1e8" providerId="ADAL" clId="{265A6489-94A2-4E64-A25F-E64F69B0C2C1}" dt="2024-03-05T20:07:14.379" v="179" actId="478"/>
          <ac:spMkLst>
            <pc:docMk/>
            <pc:sldMk cId="1339647628" sldId="586"/>
            <ac:spMk id="698" creationId="{165C372F-0ECA-56B5-C78F-AC5E6680EACD}"/>
          </ac:spMkLst>
        </pc:spChg>
        <pc:spChg chg="del">
          <ac:chgData name="Bullinger, Marvin" userId="5b54ce5a-dc89-476f-af33-5abd75d5b1e8" providerId="ADAL" clId="{265A6489-94A2-4E64-A25F-E64F69B0C2C1}" dt="2024-03-05T20:17:17.784" v="674" actId="478"/>
          <ac:spMkLst>
            <pc:docMk/>
            <pc:sldMk cId="1339647628" sldId="586"/>
            <ac:spMk id="698" creationId="{FDEE7256-B281-F8E5-BFCF-87CB4ED339ED}"/>
          </ac:spMkLst>
        </pc:spChg>
        <pc:spChg chg="del">
          <ac:chgData name="Bullinger, Marvin" userId="5b54ce5a-dc89-476f-af33-5abd75d5b1e8" providerId="ADAL" clId="{265A6489-94A2-4E64-A25F-E64F69B0C2C1}" dt="2024-03-05T20:07:14.379" v="178" actId="478"/>
          <ac:spMkLst>
            <pc:docMk/>
            <pc:sldMk cId="1339647628" sldId="586"/>
            <ac:spMk id="699" creationId="{44220880-6FF6-FC8A-5864-C8C74BD1FF14}"/>
          </ac:spMkLst>
        </pc:spChg>
        <pc:spChg chg="del">
          <ac:chgData name="Bullinger, Marvin" userId="5b54ce5a-dc89-476f-af33-5abd75d5b1e8" providerId="ADAL" clId="{265A6489-94A2-4E64-A25F-E64F69B0C2C1}" dt="2024-03-05T20:17:17.784" v="673" actId="478"/>
          <ac:spMkLst>
            <pc:docMk/>
            <pc:sldMk cId="1339647628" sldId="586"/>
            <ac:spMk id="699" creationId="{E62783D8-8E4A-B354-464D-E733ED2DDAA9}"/>
          </ac:spMkLst>
        </pc:spChg>
        <pc:spChg chg="del">
          <ac:chgData name="Bullinger, Marvin" userId="5b54ce5a-dc89-476f-af33-5abd75d5b1e8" providerId="ADAL" clId="{265A6489-94A2-4E64-A25F-E64F69B0C2C1}" dt="2024-03-05T20:17:17.784" v="672" actId="478"/>
          <ac:spMkLst>
            <pc:docMk/>
            <pc:sldMk cId="1339647628" sldId="586"/>
            <ac:spMk id="700" creationId="{7033ADBE-DAAD-53BC-0612-2D6393362A24}"/>
          </ac:spMkLst>
        </pc:spChg>
        <pc:spChg chg="del">
          <ac:chgData name="Bullinger, Marvin" userId="5b54ce5a-dc89-476f-af33-5abd75d5b1e8" providerId="ADAL" clId="{265A6489-94A2-4E64-A25F-E64F69B0C2C1}" dt="2024-03-05T20:07:14.378" v="177" actId="478"/>
          <ac:spMkLst>
            <pc:docMk/>
            <pc:sldMk cId="1339647628" sldId="586"/>
            <ac:spMk id="700" creationId="{7F777374-444E-9574-911C-D4E3DCB3F494}"/>
          </ac:spMkLst>
        </pc:spChg>
        <pc:spChg chg="del">
          <ac:chgData name="Bullinger, Marvin" userId="5b54ce5a-dc89-476f-af33-5abd75d5b1e8" providerId="ADAL" clId="{265A6489-94A2-4E64-A25F-E64F69B0C2C1}" dt="2024-03-05T20:17:17.783" v="671" actId="478"/>
          <ac:spMkLst>
            <pc:docMk/>
            <pc:sldMk cId="1339647628" sldId="586"/>
            <ac:spMk id="701" creationId="{A9555157-E52C-BF34-B0E3-C60E0DFD2D94}"/>
          </ac:spMkLst>
        </pc:spChg>
        <pc:spChg chg="del">
          <ac:chgData name="Bullinger, Marvin" userId="5b54ce5a-dc89-476f-af33-5abd75d5b1e8" providerId="ADAL" clId="{265A6489-94A2-4E64-A25F-E64F69B0C2C1}" dt="2024-03-05T20:07:14.378" v="176" actId="478"/>
          <ac:spMkLst>
            <pc:docMk/>
            <pc:sldMk cId="1339647628" sldId="586"/>
            <ac:spMk id="701" creationId="{D32D9533-5963-FC72-88A9-9C9525CED8AC}"/>
          </ac:spMkLst>
        </pc:spChg>
        <pc:spChg chg="del">
          <ac:chgData name="Bullinger, Marvin" userId="5b54ce5a-dc89-476f-af33-5abd75d5b1e8" providerId="ADAL" clId="{265A6489-94A2-4E64-A25F-E64F69B0C2C1}" dt="2024-03-05T20:17:17.783" v="670" actId="478"/>
          <ac:spMkLst>
            <pc:docMk/>
            <pc:sldMk cId="1339647628" sldId="586"/>
            <ac:spMk id="702" creationId="{101C6313-0F0D-1EF6-F997-5CAC393B5537}"/>
          </ac:spMkLst>
        </pc:spChg>
        <pc:spChg chg="del">
          <ac:chgData name="Bullinger, Marvin" userId="5b54ce5a-dc89-476f-af33-5abd75d5b1e8" providerId="ADAL" clId="{265A6489-94A2-4E64-A25F-E64F69B0C2C1}" dt="2024-03-05T20:07:14.377" v="175" actId="478"/>
          <ac:spMkLst>
            <pc:docMk/>
            <pc:sldMk cId="1339647628" sldId="586"/>
            <ac:spMk id="702" creationId="{AC0E08C9-9D2E-AA8A-7D3B-85AC46581511}"/>
          </ac:spMkLst>
        </pc:spChg>
        <pc:spChg chg="del">
          <ac:chgData name="Bullinger, Marvin" userId="5b54ce5a-dc89-476f-af33-5abd75d5b1e8" providerId="ADAL" clId="{265A6489-94A2-4E64-A25F-E64F69B0C2C1}" dt="2024-03-05T20:17:17.782" v="669" actId="478"/>
          <ac:spMkLst>
            <pc:docMk/>
            <pc:sldMk cId="1339647628" sldId="586"/>
            <ac:spMk id="703" creationId="{741AE278-8F0E-6244-5C03-DACF9E68E760}"/>
          </ac:spMkLst>
        </pc:spChg>
        <pc:spChg chg="del">
          <ac:chgData name="Bullinger, Marvin" userId="5b54ce5a-dc89-476f-af33-5abd75d5b1e8" providerId="ADAL" clId="{265A6489-94A2-4E64-A25F-E64F69B0C2C1}" dt="2024-03-05T20:07:14.377" v="174" actId="478"/>
          <ac:spMkLst>
            <pc:docMk/>
            <pc:sldMk cId="1339647628" sldId="586"/>
            <ac:spMk id="703" creationId="{DEFA28B0-7650-2095-296A-0949D6CF2EE5}"/>
          </ac:spMkLst>
        </pc:spChg>
        <pc:spChg chg="add mod">
          <ac:chgData name="Bullinger, Marvin" userId="5b54ce5a-dc89-476f-af33-5abd75d5b1e8" providerId="ADAL" clId="{265A6489-94A2-4E64-A25F-E64F69B0C2C1}" dt="2024-03-05T22:19:09.987" v="4297" actId="478"/>
          <ac:spMkLst>
            <pc:docMk/>
            <pc:sldMk cId="1339647628" sldId="586"/>
            <ac:spMk id="725" creationId="{5388A79D-3E86-711F-7E42-FBF7739E298B}"/>
          </ac:spMkLst>
        </pc:spChg>
        <pc:spChg chg="mod ord replST">
          <ac:chgData name="Bullinger, Marvin" userId="5b54ce5a-dc89-476f-af33-5abd75d5b1e8" providerId="ADAL" clId="{265A6489-94A2-4E64-A25F-E64F69B0C2C1}" dt="2024-03-05T22:19:10.465" v="4643"/>
          <ac:spMkLst>
            <pc:docMk/>
            <pc:sldMk cId="1339647628" sldId="586"/>
            <ac:spMk id="726" creationId="{5E550985-A775-27F6-5262-D291ED7A68BB}"/>
          </ac:spMkLst>
        </pc:spChg>
        <pc:spChg chg="del">
          <ac:chgData name="Bullinger, Marvin" userId="5b54ce5a-dc89-476f-af33-5abd75d5b1e8" providerId="ADAL" clId="{265A6489-94A2-4E64-A25F-E64F69B0C2C1}" dt="2024-03-05T22:19:10.027" v="4332" actId="478"/>
          <ac:spMkLst>
            <pc:docMk/>
            <pc:sldMk cId="1339647628" sldId="586"/>
            <ac:spMk id="727" creationId="{37B7F88F-A6B9-C8FF-46F0-3A3F4CC0865E}"/>
          </ac:spMkLst>
        </pc:spChg>
        <pc:spChg chg="del">
          <ac:chgData name="Bullinger, Marvin" userId="5b54ce5a-dc89-476f-af33-5abd75d5b1e8" providerId="ADAL" clId="{265A6489-94A2-4E64-A25F-E64F69B0C2C1}" dt="2024-03-05T22:19:10.026" v="4331" actId="478"/>
          <ac:spMkLst>
            <pc:docMk/>
            <pc:sldMk cId="1339647628" sldId="586"/>
            <ac:spMk id="728" creationId="{A604FDD6-669C-5A8E-C277-1F84A6283DFD}"/>
          </ac:spMkLst>
        </pc:spChg>
        <pc:spChg chg="del">
          <ac:chgData name="Bullinger, Marvin" userId="5b54ce5a-dc89-476f-af33-5abd75d5b1e8" providerId="ADAL" clId="{265A6489-94A2-4E64-A25F-E64F69B0C2C1}" dt="2024-03-05T22:19:10.026" v="4330" actId="478"/>
          <ac:spMkLst>
            <pc:docMk/>
            <pc:sldMk cId="1339647628" sldId="586"/>
            <ac:spMk id="729" creationId="{1191B5C2-2A78-7A0D-AD6E-09EEC5AAC54B}"/>
          </ac:spMkLst>
        </pc:spChg>
        <pc:spChg chg="del">
          <ac:chgData name="Bullinger, Marvin" userId="5b54ce5a-dc89-476f-af33-5abd75d5b1e8" providerId="ADAL" clId="{265A6489-94A2-4E64-A25F-E64F69B0C2C1}" dt="2024-03-05T22:19:10.025" v="4329" actId="478"/>
          <ac:spMkLst>
            <pc:docMk/>
            <pc:sldMk cId="1339647628" sldId="586"/>
            <ac:spMk id="730" creationId="{8CEE954C-1F69-0A35-C261-269A35F985E8}"/>
          </ac:spMkLst>
        </pc:spChg>
        <pc:spChg chg="del">
          <ac:chgData name="Bullinger, Marvin" userId="5b54ce5a-dc89-476f-af33-5abd75d5b1e8" providerId="ADAL" clId="{265A6489-94A2-4E64-A25F-E64F69B0C2C1}" dt="2024-03-05T22:19:10.025" v="4328" actId="478"/>
          <ac:spMkLst>
            <pc:docMk/>
            <pc:sldMk cId="1339647628" sldId="586"/>
            <ac:spMk id="731" creationId="{49B41963-5F59-3CAB-12E1-ACB971F2A430}"/>
          </ac:spMkLst>
        </pc:spChg>
        <pc:spChg chg="del">
          <ac:chgData name="Bullinger, Marvin" userId="5b54ce5a-dc89-476f-af33-5abd75d5b1e8" providerId="ADAL" clId="{265A6489-94A2-4E64-A25F-E64F69B0C2C1}" dt="2024-03-05T22:19:10.024" v="4327" actId="478"/>
          <ac:spMkLst>
            <pc:docMk/>
            <pc:sldMk cId="1339647628" sldId="586"/>
            <ac:spMk id="732" creationId="{3C296D2F-A0D3-9FCE-17D7-E147CFFE38C3}"/>
          </ac:spMkLst>
        </pc:spChg>
        <pc:spChg chg="del">
          <ac:chgData name="Bullinger, Marvin" userId="5b54ce5a-dc89-476f-af33-5abd75d5b1e8" providerId="ADAL" clId="{265A6489-94A2-4E64-A25F-E64F69B0C2C1}" dt="2024-03-05T22:19:10.023" v="4324" actId="478"/>
          <ac:spMkLst>
            <pc:docMk/>
            <pc:sldMk cId="1339647628" sldId="586"/>
            <ac:spMk id="733" creationId="{981DB289-18E1-45A7-8C5F-28C16C77C50F}"/>
          </ac:spMkLst>
        </pc:spChg>
        <pc:spChg chg="del">
          <ac:chgData name="Bullinger, Marvin" userId="5b54ce5a-dc89-476f-af33-5abd75d5b1e8" providerId="ADAL" clId="{265A6489-94A2-4E64-A25F-E64F69B0C2C1}" dt="2024-03-05T22:19:10.021" v="4323" actId="478"/>
          <ac:spMkLst>
            <pc:docMk/>
            <pc:sldMk cId="1339647628" sldId="586"/>
            <ac:spMk id="734" creationId="{F2FD17AE-8802-33DE-A284-80E0C5333C8D}"/>
          </ac:spMkLst>
        </pc:spChg>
        <pc:spChg chg="del">
          <ac:chgData name="Bullinger, Marvin" userId="5b54ce5a-dc89-476f-af33-5abd75d5b1e8" providerId="ADAL" clId="{265A6489-94A2-4E64-A25F-E64F69B0C2C1}" dt="2024-03-05T22:19:10.021" v="4322" actId="478"/>
          <ac:spMkLst>
            <pc:docMk/>
            <pc:sldMk cId="1339647628" sldId="586"/>
            <ac:spMk id="735" creationId="{378AD4AA-E4F2-6919-9110-065E37FC9290}"/>
          </ac:spMkLst>
        </pc:spChg>
        <pc:spChg chg="del">
          <ac:chgData name="Bullinger, Marvin" userId="5b54ce5a-dc89-476f-af33-5abd75d5b1e8" providerId="ADAL" clId="{265A6489-94A2-4E64-A25F-E64F69B0C2C1}" dt="2024-03-05T22:19:10.020" v="4321" actId="478"/>
          <ac:spMkLst>
            <pc:docMk/>
            <pc:sldMk cId="1339647628" sldId="586"/>
            <ac:spMk id="736" creationId="{74122C61-7C62-1E25-5456-BBAA6989C33C}"/>
          </ac:spMkLst>
        </pc:spChg>
        <pc:spChg chg="del">
          <ac:chgData name="Bullinger, Marvin" userId="5b54ce5a-dc89-476f-af33-5abd75d5b1e8" providerId="ADAL" clId="{265A6489-94A2-4E64-A25F-E64F69B0C2C1}" dt="2024-03-05T22:19:10.019" v="4320" actId="478"/>
          <ac:spMkLst>
            <pc:docMk/>
            <pc:sldMk cId="1339647628" sldId="586"/>
            <ac:spMk id="737" creationId="{667684C0-8AE3-1432-C286-A8E5A725E048}"/>
          </ac:spMkLst>
        </pc:spChg>
        <pc:spChg chg="del">
          <ac:chgData name="Bullinger, Marvin" userId="5b54ce5a-dc89-476f-af33-5abd75d5b1e8" providerId="ADAL" clId="{265A6489-94A2-4E64-A25F-E64F69B0C2C1}" dt="2024-03-05T22:19:10.019" v="4319" actId="478"/>
          <ac:spMkLst>
            <pc:docMk/>
            <pc:sldMk cId="1339647628" sldId="586"/>
            <ac:spMk id="738" creationId="{707CE743-144A-4F21-5A9B-AC312750D222}"/>
          </ac:spMkLst>
        </pc:spChg>
        <pc:spChg chg="del">
          <ac:chgData name="Bullinger, Marvin" userId="5b54ce5a-dc89-476f-af33-5abd75d5b1e8" providerId="ADAL" clId="{265A6489-94A2-4E64-A25F-E64F69B0C2C1}" dt="2024-03-05T22:19:10.032" v="4340" actId="478"/>
          <ac:spMkLst>
            <pc:docMk/>
            <pc:sldMk cId="1339647628" sldId="586"/>
            <ac:spMk id="739" creationId="{B5C926EE-28FE-5230-A841-D05723B0608F}"/>
          </ac:spMkLst>
        </pc:spChg>
        <pc:spChg chg="del">
          <ac:chgData name="Bullinger, Marvin" userId="5b54ce5a-dc89-476f-af33-5abd75d5b1e8" providerId="ADAL" clId="{265A6489-94A2-4E64-A25F-E64F69B0C2C1}" dt="2024-03-05T22:19:10.031" v="4339" actId="478"/>
          <ac:spMkLst>
            <pc:docMk/>
            <pc:sldMk cId="1339647628" sldId="586"/>
            <ac:spMk id="740" creationId="{D575B1CC-4876-14B3-3061-CF380820FA6F}"/>
          </ac:spMkLst>
        </pc:spChg>
        <pc:spChg chg="del">
          <ac:chgData name="Bullinger, Marvin" userId="5b54ce5a-dc89-476f-af33-5abd75d5b1e8" providerId="ADAL" clId="{265A6489-94A2-4E64-A25F-E64F69B0C2C1}" dt="2024-03-05T22:19:10.031" v="4338" actId="478"/>
          <ac:spMkLst>
            <pc:docMk/>
            <pc:sldMk cId="1339647628" sldId="586"/>
            <ac:spMk id="741" creationId="{525BA373-FFC0-BA40-C4D9-B1F83A7ED50F}"/>
          </ac:spMkLst>
        </pc:spChg>
        <pc:spChg chg="del">
          <ac:chgData name="Bullinger, Marvin" userId="5b54ce5a-dc89-476f-af33-5abd75d5b1e8" providerId="ADAL" clId="{265A6489-94A2-4E64-A25F-E64F69B0C2C1}" dt="2024-03-05T22:19:10.030" v="4337" actId="478"/>
          <ac:spMkLst>
            <pc:docMk/>
            <pc:sldMk cId="1339647628" sldId="586"/>
            <ac:spMk id="742" creationId="{7C95ED32-03C7-E94D-F262-653A1704105C}"/>
          </ac:spMkLst>
        </pc:spChg>
        <pc:spChg chg="del">
          <ac:chgData name="Bullinger, Marvin" userId="5b54ce5a-dc89-476f-af33-5abd75d5b1e8" providerId="ADAL" clId="{265A6489-94A2-4E64-A25F-E64F69B0C2C1}" dt="2024-03-05T22:19:10.029" v="4336" actId="478"/>
          <ac:spMkLst>
            <pc:docMk/>
            <pc:sldMk cId="1339647628" sldId="586"/>
            <ac:spMk id="743" creationId="{1B7E577F-09BE-82CF-29E9-3882E1CFA110}"/>
          </ac:spMkLst>
        </pc:spChg>
        <pc:spChg chg="del">
          <ac:chgData name="Bullinger, Marvin" userId="5b54ce5a-dc89-476f-af33-5abd75d5b1e8" providerId="ADAL" clId="{265A6489-94A2-4E64-A25F-E64F69B0C2C1}" dt="2024-03-05T22:19:10.029" v="4335" actId="478"/>
          <ac:spMkLst>
            <pc:docMk/>
            <pc:sldMk cId="1339647628" sldId="586"/>
            <ac:spMk id="744" creationId="{21AC06C3-64B1-C096-0401-69A53D54ED19}"/>
          </ac:spMkLst>
        </pc:spChg>
        <pc:spChg chg="del">
          <ac:chgData name="Bullinger, Marvin" userId="5b54ce5a-dc89-476f-af33-5abd75d5b1e8" providerId="ADAL" clId="{265A6489-94A2-4E64-A25F-E64F69B0C2C1}" dt="2024-03-05T22:19:10.028" v="4334" actId="478"/>
          <ac:spMkLst>
            <pc:docMk/>
            <pc:sldMk cId="1339647628" sldId="586"/>
            <ac:spMk id="745" creationId="{2CF03C80-FB4B-AC65-B0EF-89F4FDFE08CA}"/>
          </ac:spMkLst>
        </pc:spChg>
        <pc:spChg chg="del">
          <ac:chgData name="Bullinger, Marvin" userId="5b54ce5a-dc89-476f-af33-5abd75d5b1e8" providerId="ADAL" clId="{265A6489-94A2-4E64-A25F-E64F69B0C2C1}" dt="2024-03-05T22:19:10.028" v="4333" actId="478"/>
          <ac:spMkLst>
            <pc:docMk/>
            <pc:sldMk cId="1339647628" sldId="586"/>
            <ac:spMk id="746" creationId="{1397DD14-FF6A-45D6-54A0-456A3A5337E9}"/>
          </ac:spMkLst>
        </pc:spChg>
        <pc:spChg chg="del">
          <ac:chgData name="Bullinger, Marvin" userId="5b54ce5a-dc89-476f-af33-5abd75d5b1e8" providerId="ADAL" clId="{265A6489-94A2-4E64-A25F-E64F69B0C2C1}" dt="2024-03-05T22:19:10.023" v="4325" actId="478"/>
          <ac:spMkLst>
            <pc:docMk/>
            <pc:sldMk cId="1339647628" sldId="586"/>
            <ac:spMk id="747" creationId="{4EAD207B-14BF-A15B-806C-BDAF141D8409}"/>
          </ac:spMkLst>
        </pc:spChg>
        <pc:spChg chg="del">
          <ac:chgData name="Bullinger, Marvin" userId="5b54ce5a-dc89-476f-af33-5abd75d5b1e8" providerId="ADAL" clId="{265A6489-94A2-4E64-A25F-E64F69B0C2C1}" dt="2024-03-05T22:19:10.018" v="4318" actId="478"/>
          <ac:spMkLst>
            <pc:docMk/>
            <pc:sldMk cId="1339647628" sldId="586"/>
            <ac:spMk id="748" creationId="{A18C95C0-746E-3B7E-B21E-6181024AF1CC}"/>
          </ac:spMkLst>
        </pc:spChg>
        <pc:spChg chg="del">
          <ac:chgData name="Bullinger, Marvin" userId="5b54ce5a-dc89-476f-af33-5abd75d5b1e8" providerId="ADAL" clId="{265A6489-94A2-4E64-A25F-E64F69B0C2C1}" dt="2024-03-05T22:19:10.024" v="4326" actId="478"/>
          <ac:spMkLst>
            <pc:docMk/>
            <pc:sldMk cId="1339647628" sldId="586"/>
            <ac:spMk id="749" creationId="{5CF97D78-1550-2AFE-F7BE-D67B9ADE07F0}"/>
          </ac:spMkLst>
        </pc:spChg>
        <pc:spChg chg="del">
          <ac:chgData name="Bullinger, Marvin" userId="5b54ce5a-dc89-476f-af33-5abd75d5b1e8" providerId="ADAL" clId="{265A6489-94A2-4E64-A25F-E64F69B0C2C1}" dt="2024-03-05T22:19:10.018" v="4317" actId="478"/>
          <ac:spMkLst>
            <pc:docMk/>
            <pc:sldMk cId="1339647628" sldId="586"/>
            <ac:spMk id="750" creationId="{837B6AF0-6BA1-B923-19F3-552491BE4D1C}"/>
          </ac:spMkLst>
        </pc:spChg>
        <pc:spChg chg="del">
          <ac:chgData name="Bullinger, Marvin" userId="5b54ce5a-dc89-476f-af33-5abd75d5b1e8" providerId="ADAL" clId="{265A6489-94A2-4E64-A25F-E64F69B0C2C1}" dt="2024-03-05T22:19:10.016" v="4316" actId="478"/>
          <ac:spMkLst>
            <pc:docMk/>
            <pc:sldMk cId="1339647628" sldId="586"/>
            <ac:spMk id="751" creationId="{AECC3DA4-5213-58FF-430D-F9190D504143}"/>
          </ac:spMkLst>
        </pc:spChg>
        <pc:spChg chg="del">
          <ac:chgData name="Bullinger, Marvin" userId="5b54ce5a-dc89-476f-af33-5abd75d5b1e8" providerId="ADAL" clId="{265A6489-94A2-4E64-A25F-E64F69B0C2C1}" dt="2024-03-05T22:19:10.016" v="4315" actId="478"/>
          <ac:spMkLst>
            <pc:docMk/>
            <pc:sldMk cId="1339647628" sldId="586"/>
            <ac:spMk id="752" creationId="{8A6B5048-320E-7886-7483-D387B4BB5FA4}"/>
          </ac:spMkLst>
        </pc:spChg>
        <pc:spChg chg="del">
          <ac:chgData name="Bullinger, Marvin" userId="5b54ce5a-dc89-476f-af33-5abd75d5b1e8" providerId="ADAL" clId="{265A6489-94A2-4E64-A25F-E64F69B0C2C1}" dt="2024-03-05T22:19:10.015" v="4314" actId="478"/>
          <ac:spMkLst>
            <pc:docMk/>
            <pc:sldMk cId="1339647628" sldId="586"/>
            <ac:spMk id="753" creationId="{A4F92006-7783-C022-E0E1-61B50613B33F}"/>
          </ac:spMkLst>
        </pc:spChg>
        <pc:spChg chg="del">
          <ac:chgData name="Bullinger, Marvin" userId="5b54ce5a-dc89-476f-af33-5abd75d5b1e8" providerId="ADAL" clId="{265A6489-94A2-4E64-A25F-E64F69B0C2C1}" dt="2024-03-05T22:19:10.014" v="4313" actId="478"/>
          <ac:spMkLst>
            <pc:docMk/>
            <pc:sldMk cId="1339647628" sldId="586"/>
            <ac:spMk id="754" creationId="{B65FD94D-CAD1-62ED-5524-D830CD76C14A}"/>
          </ac:spMkLst>
        </pc:spChg>
        <pc:spChg chg="del">
          <ac:chgData name="Bullinger, Marvin" userId="5b54ce5a-dc89-476f-af33-5abd75d5b1e8" providerId="ADAL" clId="{265A6489-94A2-4E64-A25F-E64F69B0C2C1}" dt="2024-03-05T22:19:10.014" v="4312" actId="478"/>
          <ac:spMkLst>
            <pc:docMk/>
            <pc:sldMk cId="1339647628" sldId="586"/>
            <ac:spMk id="755" creationId="{A2004189-F860-813E-5DCA-B789AEECB1B0}"/>
          </ac:spMkLst>
        </pc:spChg>
        <pc:spChg chg="del">
          <ac:chgData name="Bullinger, Marvin" userId="5b54ce5a-dc89-476f-af33-5abd75d5b1e8" providerId="ADAL" clId="{265A6489-94A2-4E64-A25F-E64F69B0C2C1}" dt="2024-03-05T22:19:10.013" v="4311" actId="478"/>
          <ac:spMkLst>
            <pc:docMk/>
            <pc:sldMk cId="1339647628" sldId="586"/>
            <ac:spMk id="756" creationId="{7A54531D-7B0D-A15B-1616-1C9142E05622}"/>
          </ac:spMkLst>
        </pc:spChg>
        <pc:spChg chg="del">
          <ac:chgData name="Bullinger, Marvin" userId="5b54ce5a-dc89-476f-af33-5abd75d5b1e8" providerId="ADAL" clId="{265A6489-94A2-4E64-A25F-E64F69B0C2C1}" dt="2024-03-05T22:19:10.013" v="4310" actId="478"/>
          <ac:spMkLst>
            <pc:docMk/>
            <pc:sldMk cId="1339647628" sldId="586"/>
            <ac:spMk id="757" creationId="{B93B13B1-B96B-6869-1BC0-10F9E862A9CD}"/>
          </ac:spMkLst>
        </pc:spChg>
        <pc:spChg chg="del">
          <ac:chgData name="Bullinger, Marvin" userId="5b54ce5a-dc89-476f-af33-5abd75d5b1e8" providerId="ADAL" clId="{265A6489-94A2-4E64-A25F-E64F69B0C2C1}" dt="2024-03-05T22:19:10.012" v="4309" actId="478"/>
          <ac:spMkLst>
            <pc:docMk/>
            <pc:sldMk cId="1339647628" sldId="586"/>
            <ac:spMk id="758" creationId="{31E64DAA-5A96-BC5F-3E1D-4404E74DBBAC}"/>
          </ac:spMkLst>
        </pc:spChg>
        <pc:spChg chg="del">
          <ac:chgData name="Bullinger, Marvin" userId="5b54ce5a-dc89-476f-af33-5abd75d5b1e8" providerId="ADAL" clId="{265A6489-94A2-4E64-A25F-E64F69B0C2C1}" dt="2024-03-05T22:19:10.012" v="4308" actId="478"/>
          <ac:spMkLst>
            <pc:docMk/>
            <pc:sldMk cId="1339647628" sldId="586"/>
            <ac:spMk id="759" creationId="{E0AD210B-C0DF-06C9-4E32-D1D54E949ED7}"/>
          </ac:spMkLst>
        </pc:spChg>
        <pc:spChg chg="del">
          <ac:chgData name="Bullinger, Marvin" userId="5b54ce5a-dc89-476f-af33-5abd75d5b1e8" providerId="ADAL" clId="{265A6489-94A2-4E64-A25F-E64F69B0C2C1}" dt="2024-03-05T22:19:10.011" v="4307" actId="478"/>
          <ac:spMkLst>
            <pc:docMk/>
            <pc:sldMk cId="1339647628" sldId="586"/>
            <ac:spMk id="760" creationId="{0554E15C-3134-9691-DB1B-3998415E1D1E}"/>
          </ac:spMkLst>
        </pc:spChg>
        <pc:spChg chg="del">
          <ac:chgData name="Bullinger, Marvin" userId="5b54ce5a-dc89-476f-af33-5abd75d5b1e8" providerId="ADAL" clId="{265A6489-94A2-4E64-A25F-E64F69B0C2C1}" dt="2024-03-05T22:19:10.010" v="4306" actId="478"/>
          <ac:spMkLst>
            <pc:docMk/>
            <pc:sldMk cId="1339647628" sldId="586"/>
            <ac:spMk id="761" creationId="{DCE646F6-DF92-141C-4C21-A28978979C44}"/>
          </ac:spMkLst>
        </pc:spChg>
        <pc:spChg chg="del">
          <ac:chgData name="Bullinger, Marvin" userId="5b54ce5a-dc89-476f-af33-5abd75d5b1e8" providerId="ADAL" clId="{265A6489-94A2-4E64-A25F-E64F69B0C2C1}" dt="2024-03-05T22:19:10.009" v="4305" actId="478"/>
          <ac:spMkLst>
            <pc:docMk/>
            <pc:sldMk cId="1339647628" sldId="586"/>
            <ac:spMk id="762" creationId="{CB9EBDAF-EB1E-BCF9-C73E-FB303CB79727}"/>
          </ac:spMkLst>
        </pc:spChg>
        <pc:spChg chg="del">
          <ac:chgData name="Bullinger, Marvin" userId="5b54ce5a-dc89-476f-af33-5abd75d5b1e8" providerId="ADAL" clId="{265A6489-94A2-4E64-A25F-E64F69B0C2C1}" dt="2024-03-05T22:19:10.009" v="4304" actId="478"/>
          <ac:spMkLst>
            <pc:docMk/>
            <pc:sldMk cId="1339647628" sldId="586"/>
            <ac:spMk id="763" creationId="{A2687175-1946-7F51-1BC6-2FAE5FD4C299}"/>
          </ac:spMkLst>
        </pc:spChg>
        <pc:spChg chg="mod replST">
          <ac:chgData name="Bullinger, Marvin" userId="5b54ce5a-dc89-476f-af33-5abd75d5b1e8" providerId="ADAL" clId="{265A6489-94A2-4E64-A25F-E64F69B0C2C1}" dt="2024-03-05T22:31:19.065" v="5025" actId="207"/>
          <ac:spMkLst>
            <pc:docMk/>
            <pc:sldMk cId="1339647628" sldId="586"/>
            <ac:spMk id="764" creationId="{7D6F2C94-DB01-32D8-D8B3-015DA75ADBB1}"/>
          </ac:spMkLst>
        </pc:spChg>
        <pc:spChg chg="replST">
          <ac:chgData name="Bullinger, Marvin" userId="5b54ce5a-dc89-476f-af33-5abd75d5b1e8" providerId="ADAL" clId="{265A6489-94A2-4E64-A25F-E64F69B0C2C1}" dt="2024-03-05T22:19:10.389" v="4605"/>
          <ac:spMkLst>
            <pc:docMk/>
            <pc:sldMk cId="1339647628" sldId="586"/>
            <ac:spMk id="765" creationId="{0C567E59-F642-728B-3740-454FE52D6F97}"/>
          </ac:spMkLst>
        </pc:spChg>
        <pc:spChg chg="mod replST">
          <ac:chgData name="Bullinger, Marvin" userId="5b54ce5a-dc89-476f-af33-5abd75d5b1e8" providerId="ADAL" clId="{265A6489-94A2-4E64-A25F-E64F69B0C2C1}" dt="2024-03-05T22:31:23.994" v="5026" actId="207"/>
          <ac:spMkLst>
            <pc:docMk/>
            <pc:sldMk cId="1339647628" sldId="586"/>
            <ac:spMk id="767" creationId="{831EB735-DF8F-84E0-F7FE-7172EF996BFE}"/>
          </ac:spMkLst>
        </pc:spChg>
        <pc:spChg chg="replST">
          <ac:chgData name="Bullinger, Marvin" userId="5b54ce5a-dc89-476f-af33-5abd75d5b1e8" providerId="ADAL" clId="{265A6489-94A2-4E64-A25F-E64F69B0C2C1}" dt="2024-03-05T22:19:10.407" v="4612"/>
          <ac:spMkLst>
            <pc:docMk/>
            <pc:sldMk cId="1339647628" sldId="586"/>
            <ac:spMk id="768" creationId="{C145651F-E8FA-63DC-621C-E86F06DF35BE}"/>
          </ac:spMkLst>
        </pc:spChg>
        <pc:spChg chg="mod replST">
          <ac:chgData name="Bullinger, Marvin" userId="5b54ce5a-dc89-476f-af33-5abd75d5b1e8" providerId="ADAL" clId="{265A6489-94A2-4E64-A25F-E64F69B0C2C1}" dt="2024-03-05T22:31:26.412" v="5027" actId="207"/>
          <ac:spMkLst>
            <pc:docMk/>
            <pc:sldMk cId="1339647628" sldId="586"/>
            <ac:spMk id="770" creationId="{B06CEB9D-56FB-0DC7-1FDC-4D824CC7D5F3}"/>
          </ac:spMkLst>
        </pc:spChg>
        <pc:spChg chg="mod replST">
          <ac:chgData name="Bullinger, Marvin" userId="5b54ce5a-dc89-476f-af33-5abd75d5b1e8" providerId="ADAL" clId="{265A6489-94A2-4E64-A25F-E64F69B0C2C1}" dt="2024-03-06T13:51:17.936" v="5100" actId="20577"/>
          <ac:spMkLst>
            <pc:docMk/>
            <pc:sldMk cId="1339647628" sldId="586"/>
            <ac:spMk id="771" creationId="{99F4D495-5841-A65D-3395-FE2A339F6528}"/>
          </ac:spMkLst>
        </pc:spChg>
        <pc:spChg chg="mod replST">
          <ac:chgData name="Bullinger, Marvin" userId="5b54ce5a-dc89-476f-af33-5abd75d5b1e8" providerId="ADAL" clId="{265A6489-94A2-4E64-A25F-E64F69B0C2C1}" dt="2024-03-05T22:31:29.235" v="5028" actId="207"/>
          <ac:spMkLst>
            <pc:docMk/>
            <pc:sldMk cId="1339647628" sldId="586"/>
            <ac:spMk id="773" creationId="{30D97DBE-E5C7-715B-F8C3-8463B3B307AC}"/>
          </ac:spMkLst>
        </pc:spChg>
        <pc:spChg chg="replST">
          <ac:chgData name="Bullinger, Marvin" userId="5b54ce5a-dc89-476f-af33-5abd75d5b1e8" providerId="ADAL" clId="{265A6489-94A2-4E64-A25F-E64F69B0C2C1}" dt="2024-03-05T22:19:10.433" v="4626"/>
          <ac:spMkLst>
            <pc:docMk/>
            <pc:sldMk cId="1339647628" sldId="586"/>
            <ac:spMk id="774" creationId="{54BEF6D5-8810-73D5-2DC7-28B1A5B00E67}"/>
          </ac:spMkLst>
        </pc:spChg>
        <pc:spChg chg="mod replST">
          <ac:chgData name="Bullinger, Marvin" userId="5b54ce5a-dc89-476f-af33-5abd75d5b1e8" providerId="ADAL" clId="{265A6489-94A2-4E64-A25F-E64F69B0C2C1}" dt="2024-03-05T22:31:33.473" v="5029" actId="207"/>
          <ac:spMkLst>
            <pc:docMk/>
            <pc:sldMk cId="1339647628" sldId="586"/>
            <ac:spMk id="776" creationId="{44E8DC6C-BDBD-5856-20F6-1DBF6572816C}"/>
          </ac:spMkLst>
        </pc:spChg>
        <pc:spChg chg="replST">
          <ac:chgData name="Bullinger, Marvin" userId="5b54ce5a-dc89-476f-af33-5abd75d5b1e8" providerId="ADAL" clId="{265A6489-94A2-4E64-A25F-E64F69B0C2C1}" dt="2024-03-05T22:19:10.445" v="4633"/>
          <ac:spMkLst>
            <pc:docMk/>
            <pc:sldMk cId="1339647628" sldId="586"/>
            <ac:spMk id="777" creationId="{E441E86C-B183-EE44-C0A7-00FEDAE6105A}"/>
          </ac:spMkLst>
        </pc:spChg>
        <pc:spChg chg="mod replST">
          <ac:chgData name="Bullinger, Marvin" userId="5b54ce5a-dc89-476f-af33-5abd75d5b1e8" providerId="ADAL" clId="{265A6489-94A2-4E64-A25F-E64F69B0C2C1}" dt="2024-03-05T22:31:39.352" v="5030" actId="207"/>
          <ac:spMkLst>
            <pc:docMk/>
            <pc:sldMk cId="1339647628" sldId="586"/>
            <ac:spMk id="779" creationId="{7F2E3986-D0EA-F7BA-235C-F2AE241608BE}"/>
          </ac:spMkLst>
        </pc:spChg>
        <pc:spChg chg="replST">
          <ac:chgData name="Bullinger, Marvin" userId="5b54ce5a-dc89-476f-af33-5abd75d5b1e8" providerId="ADAL" clId="{265A6489-94A2-4E64-A25F-E64F69B0C2C1}" dt="2024-03-05T22:19:10.458" v="4640"/>
          <ac:spMkLst>
            <pc:docMk/>
            <pc:sldMk cId="1339647628" sldId="586"/>
            <ac:spMk id="780" creationId="{94F1ED0C-CB5A-C49A-B036-775A72E84E43}"/>
          </ac:spMkLst>
        </pc:spChg>
        <pc:cxnChg chg="del">
          <ac:chgData name="Bullinger, Marvin" userId="5b54ce5a-dc89-476f-af33-5abd75d5b1e8" providerId="ADAL" clId="{265A6489-94A2-4E64-A25F-E64F69B0C2C1}" dt="2024-03-05T20:07:14.342" v="138" actId="478"/>
          <ac:cxnSpMkLst>
            <pc:docMk/>
            <pc:sldMk cId="1339647628" sldId="586"/>
            <ac:cxnSpMk id="627" creationId="{96F19F2B-ED56-9C2F-E528-378C45240779}"/>
          </ac:cxnSpMkLst>
        </pc:cxnChg>
        <pc:cxnChg chg="del ord replST">
          <ac:chgData name="Bullinger, Marvin" userId="5b54ce5a-dc89-476f-af33-5abd75d5b1e8" providerId="ADAL" clId="{265A6489-94A2-4E64-A25F-E64F69B0C2C1}" dt="2024-03-05T22:19:09.989" v="4298" actId="478"/>
          <ac:cxnSpMkLst>
            <pc:docMk/>
            <pc:sldMk cId="1339647628" sldId="586"/>
            <ac:cxnSpMk id="627" creationId="{A68A0E34-F4D2-FD9B-8655-8AB5BD439116}"/>
          </ac:cxnSpMkLst>
        </pc:cxnChg>
        <pc:cxnChg chg="del ord replST">
          <ac:chgData name="Bullinger, Marvin" userId="5b54ce5a-dc89-476f-af33-5abd75d5b1e8" providerId="ADAL" clId="{265A6489-94A2-4E64-A25F-E64F69B0C2C1}" dt="2024-03-05T22:19:09.990" v="4299" actId="478"/>
          <ac:cxnSpMkLst>
            <pc:docMk/>
            <pc:sldMk cId="1339647628" sldId="586"/>
            <ac:cxnSpMk id="630" creationId="{CB666527-CAA1-D4FE-D46B-698073E00271}"/>
          </ac:cxnSpMkLst>
        </pc:cxnChg>
        <pc:cxnChg chg="del">
          <ac:chgData name="Bullinger, Marvin" userId="5b54ce5a-dc89-476f-af33-5abd75d5b1e8" providerId="ADAL" clId="{265A6489-94A2-4E64-A25F-E64F69B0C2C1}" dt="2024-03-05T20:07:14.343" v="139" actId="478"/>
          <ac:cxnSpMkLst>
            <pc:docMk/>
            <pc:sldMk cId="1339647628" sldId="586"/>
            <ac:cxnSpMk id="630" creationId="{FB1F07A1-1CBB-CE73-AF32-FBD79289B350}"/>
          </ac:cxnSpMkLst>
        </pc:cxnChg>
        <pc:cxnChg chg="del ord replST">
          <ac:chgData name="Bullinger, Marvin" userId="5b54ce5a-dc89-476f-af33-5abd75d5b1e8" providerId="ADAL" clId="{265A6489-94A2-4E64-A25F-E64F69B0C2C1}" dt="2024-03-05T22:19:09.991" v="4300" actId="478"/>
          <ac:cxnSpMkLst>
            <pc:docMk/>
            <pc:sldMk cId="1339647628" sldId="586"/>
            <ac:cxnSpMk id="633" creationId="{0B915951-CB6F-FF55-75C5-A7E0ECA1F026}"/>
          </ac:cxnSpMkLst>
        </pc:cxnChg>
        <pc:cxnChg chg="del">
          <ac:chgData name="Bullinger, Marvin" userId="5b54ce5a-dc89-476f-af33-5abd75d5b1e8" providerId="ADAL" clId="{265A6489-94A2-4E64-A25F-E64F69B0C2C1}" dt="2024-03-05T20:07:14.344" v="140" actId="478"/>
          <ac:cxnSpMkLst>
            <pc:docMk/>
            <pc:sldMk cId="1339647628" sldId="586"/>
            <ac:cxnSpMk id="633" creationId="{B6FB81D2-A6FB-E876-7B26-9A06B399C9B0}"/>
          </ac:cxnSpMkLst>
        </pc:cxnChg>
        <pc:cxnChg chg="del ord replST">
          <ac:chgData name="Bullinger, Marvin" userId="5b54ce5a-dc89-476f-af33-5abd75d5b1e8" providerId="ADAL" clId="{265A6489-94A2-4E64-A25F-E64F69B0C2C1}" dt="2024-03-05T22:19:09.992" v="4301" actId="478"/>
          <ac:cxnSpMkLst>
            <pc:docMk/>
            <pc:sldMk cId="1339647628" sldId="586"/>
            <ac:cxnSpMk id="636" creationId="{9D2F6B83-6031-D89B-4BF8-96EE655DC8D8}"/>
          </ac:cxnSpMkLst>
        </pc:cxnChg>
        <pc:cxnChg chg="del">
          <ac:chgData name="Bullinger, Marvin" userId="5b54ce5a-dc89-476f-af33-5abd75d5b1e8" providerId="ADAL" clId="{265A6489-94A2-4E64-A25F-E64F69B0C2C1}" dt="2024-03-05T20:07:14.345" v="141" actId="478"/>
          <ac:cxnSpMkLst>
            <pc:docMk/>
            <pc:sldMk cId="1339647628" sldId="586"/>
            <ac:cxnSpMk id="636" creationId="{EF92F350-013D-D130-334B-53B7405C9BA3}"/>
          </ac:cxnSpMkLst>
        </pc:cxnChg>
        <pc:cxnChg chg="del ord replST">
          <ac:chgData name="Bullinger, Marvin" userId="5b54ce5a-dc89-476f-af33-5abd75d5b1e8" providerId="ADAL" clId="{265A6489-94A2-4E64-A25F-E64F69B0C2C1}" dt="2024-03-05T20:17:17.749" v="635" actId="478"/>
          <ac:cxnSpMkLst>
            <pc:docMk/>
            <pc:sldMk cId="1339647628" sldId="586"/>
            <ac:cxnSpMk id="641" creationId="{8A9D7273-1774-0479-85DE-6A252E75999A}"/>
          </ac:cxnSpMkLst>
        </pc:cxnChg>
        <pc:cxnChg chg="del ord replST">
          <ac:chgData name="Bullinger, Marvin" userId="5b54ce5a-dc89-476f-af33-5abd75d5b1e8" providerId="ADAL" clId="{265A6489-94A2-4E64-A25F-E64F69B0C2C1}" dt="2024-03-05T20:17:17.750" v="636" actId="478"/>
          <ac:cxnSpMkLst>
            <pc:docMk/>
            <pc:sldMk cId="1339647628" sldId="586"/>
            <ac:cxnSpMk id="644" creationId="{1CA0E4C2-BF3E-A8F9-B5B6-2F5AF8232A18}"/>
          </ac:cxnSpMkLst>
        </pc:cxnChg>
        <pc:cxnChg chg="del ord replST">
          <ac:chgData name="Bullinger, Marvin" userId="5b54ce5a-dc89-476f-af33-5abd75d5b1e8" providerId="ADAL" clId="{265A6489-94A2-4E64-A25F-E64F69B0C2C1}" dt="2024-03-05T20:17:17.750" v="637" actId="478"/>
          <ac:cxnSpMkLst>
            <pc:docMk/>
            <pc:sldMk cId="1339647628" sldId="586"/>
            <ac:cxnSpMk id="647" creationId="{9A675373-299C-1395-F1EF-3A764F1FDD21}"/>
          </ac:cxnSpMkLst>
        </pc:cxnChg>
        <pc:cxnChg chg="del ord replST">
          <ac:chgData name="Bullinger, Marvin" userId="5b54ce5a-dc89-476f-af33-5abd75d5b1e8" providerId="ADAL" clId="{265A6489-94A2-4E64-A25F-E64F69B0C2C1}" dt="2024-03-05T20:17:17.751" v="638" actId="478"/>
          <ac:cxnSpMkLst>
            <pc:docMk/>
            <pc:sldMk cId="1339647628" sldId="586"/>
            <ac:cxnSpMk id="650" creationId="{235C6A52-E773-BFF6-FBE5-1ED5E416E7D6}"/>
          </ac:cxnSpMkLst>
        </pc:cxnChg>
        <pc:cxnChg chg="del ord replST">
          <ac:chgData name="Bullinger, Marvin" userId="5b54ce5a-dc89-476f-af33-5abd75d5b1e8" providerId="ADAL" clId="{265A6489-94A2-4E64-A25F-E64F69B0C2C1}" dt="2024-03-05T20:17:17.752" v="639" actId="478"/>
          <ac:cxnSpMkLst>
            <pc:docMk/>
            <pc:sldMk cId="1339647628" sldId="586"/>
            <ac:cxnSpMk id="651" creationId="{5E981956-3ADE-5E55-2DDB-7834D746250D}"/>
          </ac:cxnSpMkLst>
        </pc:cxnChg>
        <pc:cxnChg chg="del ord replST">
          <ac:chgData name="Bullinger, Marvin" userId="5b54ce5a-dc89-476f-af33-5abd75d5b1e8" providerId="ADAL" clId="{265A6489-94A2-4E64-A25F-E64F69B0C2C1}" dt="2024-03-05T22:19:09.993" v="4302" actId="478"/>
          <ac:cxnSpMkLst>
            <pc:docMk/>
            <pc:sldMk cId="1339647628" sldId="586"/>
            <ac:cxnSpMk id="653" creationId="{A6BAA05D-CB25-A1AD-D941-F79799FA5AF7}"/>
          </ac:cxnSpMkLst>
        </pc:cxnChg>
        <pc:cxnChg chg="del ord replST">
          <ac:chgData name="Bullinger, Marvin" userId="5b54ce5a-dc89-476f-af33-5abd75d5b1e8" providerId="ADAL" clId="{265A6489-94A2-4E64-A25F-E64F69B0C2C1}" dt="2024-03-05T22:19:09.993" v="4303" actId="478"/>
          <ac:cxnSpMkLst>
            <pc:docMk/>
            <pc:sldMk cId="1339647628" sldId="586"/>
            <ac:cxnSpMk id="654" creationId="{18749DA8-5ECB-6B45-474E-9FA9DA953F84}"/>
          </ac:cxnSpMkLst>
        </pc:cxnChg>
        <pc:cxnChg chg="del">
          <ac:chgData name="Bullinger, Marvin" userId="5b54ce5a-dc89-476f-af33-5abd75d5b1e8" providerId="ADAL" clId="{265A6489-94A2-4E64-A25F-E64F69B0C2C1}" dt="2024-03-05T20:07:14.345" v="142" actId="478"/>
          <ac:cxnSpMkLst>
            <pc:docMk/>
            <pc:sldMk cId="1339647628" sldId="586"/>
            <ac:cxnSpMk id="662" creationId="{3F1CF4EA-4739-93BD-0010-95930335080E}"/>
          </ac:cxnSpMkLst>
        </pc:cxnChg>
        <pc:cxnChg chg="del">
          <ac:chgData name="Bullinger, Marvin" userId="5b54ce5a-dc89-476f-af33-5abd75d5b1e8" providerId="ADAL" clId="{265A6489-94A2-4E64-A25F-E64F69B0C2C1}" dt="2024-03-05T20:07:14.346" v="143" actId="478"/>
          <ac:cxnSpMkLst>
            <pc:docMk/>
            <pc:sldMk cId="1339647628" sldId="586"/>
            <ac:cxnSpMk id="665" creationId="{1116A5E3-ABBE-A56E-4164-B5061BAAB0E2}"/>
          </ac:cxnSpMkLst>
        </pc:cxnChg>
        <pc:cxnChg chg="del">
          <ac:chgData name="Bullinger, Marvin" userId="5b54ce5a-dc89-476f-af33-5abd75d5b1e8" providerId="ADAL" clId="{265A6489-94A2-4E64-A25F-E64F69B0C2C1}" dt="2024-03-05T20:07:14.346" v="144" actId="478"/>
          <ac:cxnSpMkLst>
            <pc:docMk/>
            <pc:sldMk cId="1339647628" sldId="586"/>
            <ac:cxnSpMk id="666" creationId="{D94B1C41-E2C6-4458-1C9C-5D42A6AD09A1}"/>
          </ac:cxnSpMkLst>
        </pc:cxnChg>
        <pc:cxnChg chg="ord replST">
          <ac:chgData name="Bullinger, Marvin" userId="5b54ce5a-dc89-476f-af33-5abd75d5b1e8" providerId="ADAL" clId="{265A6489-94A2-4E64-A25F-E64F69B0C2C1}" dt="2024-03-05T22:19:10.466" v="4644"/>
          <ac:cxnSpMkLst>
            <pc:docMk/>
            <pc:sldMk cId="1339647628" sldId="586"/>
            <ac:cxnSpMk id="766" creationId="{7DE2EDBA-F0D0-4272-6E64-70198B4698E0}"/>
          </ac:cxnSpMkLst>
        </pc:cxnChg>
        <pc:cxnChg chg="ord replST">
          <ac:chgData name="Bullinger, Marvin" userId="5b54ce5a-dc89-476f-af33-5abd75d5b1e8" providerId="ADAL" clId="{265A6489-94A2-4E64-A25F-E64F69B0C2C1}" dt="2024-03-05T22:19:10.467" v="4645"/>
          <ac:cxnSpMkLst>
            <pc:docMk/>
            <pc:sldMk cId="1339647628" sldId="586"/>
            <ac:cxnSpMk id="769" creationId="{FE22E599-7484-C758-8EA1-1CECDE34FCFC}"/>
          </ac:cxnSpMkLst>
        </pc:cxnChg>
        <pc:cxnChg chg="ord replST">
          <ac:chgData name="Bullinger, Marvin" userId="5b54ce5a-dc89-476f-af33-5abd75d5b1e8" providerId="ADAL" clId="{265A6489-94A2-4E64-A25F-E64F69B0C2C1}" dt="2024-03-05T22:19:10.469" v="4646"/>
          <ac:cxnSpMkLst>
            <pc:docMk/>
            <pc:sldMk cId="1339647628" sldId="586"/>
            <ac:cxnSpMk id="772" creationId="{0CAF8D33-B5B4-4702-C2EF-9E31C5AD19CD}"/>
          </ac:cxnSpMkLst>
        </pc:cxnChg>
        <pc:cxnChg chg="ord replST">
          <ac:chgData name="Bullinger, Marvin" userId="5b54ce5a-dc89-476f-af33-5abd75d5b1e8" providerId="ADAL" clId="{265A6489-94A2-4E64-A25F-E64F69B0C2C1}" dt="2024-03-05T22:19:10.470" v="4647"/>
          <ac:cxnSpMkLst>
            <pc:docMk/>
            <pc:sldMk cId="1339647628" sldId="586"/>
            <ac:cxnSpMk id="775" creationId="{067E36BC-D676-EB6B-DC88-D3ECAA8328C6}"/>
          </ac:cxnSpMkLst>
        </pc:cxnChg>
        <pc:cxnChg chg="ord replST">
          <ac:chgData name="Bullinger, Marvin" userId="5b54ce5a-dc89-476f-af33-5abd75d5b1e8" providerId="ADAL" clId="{265A6489-94A2-4E64-A25F-E64F69B0C2C1}" dt="2024-03-05T22:19:10.471" v="4648"/>
          <ac:cxnSpMkLst>
            <pc:docMk/>
            <pc:sldMk cId="1339647628" sldId="586"/>
            <ac:cxnSpMk id="778" creationId="{3897CBA9-FE41-76AA-40F9-0CEFF43B7E3C}"/>
          </ac:cxnSpMkLst>
        </pc:cxnChg>
        <pc:cxnChg chg="ord replST">
          <ac:chgData name="Bullinger, Marvin" userId="5b54ce5a-dc89-476f-af33-5abd75d5b1e8" providerId="ADAL" clId="{265A6489-94A2-4E64-A25F-E64F69B0C2C1}" dt="2024-03-05T22:19:10.472" v="4649"/>
          <ac:cxnSpMkLst>
            <pc:docMk/>
            <pc:sldMk cId="1339647628" sldId="586"/>
            <ac:cxnSpMk id="781" creationId="{C1BED6E1-50EB-E1F8-CCF0-FB1A1B50553E}"/>
          </ac:cxnSpMkLst>
        </pc:cxnChg>
        <pc:cxnChg chg="ord replST">
          <ac:chgData name="Bullinger, Marvin" userId="5b54ce5a-dc89-476f-af33-5abd75d5b1e8" providerId="ADAL" clId="{265A6489-94A2-4E64-A25F-E64F69B0C2C1}" dt="2024-03-05T22:19:10.473" v="4650"/>
          <ac:cxnSpMkLst>
            <pc:docMk/>
            <pc:sldMk cId="1339647628" sldId="586"/>
            <ac:cxnSpMk id="782" creationId="{ABB35603-0733-E74A-7861-C2919927E8D1}"/>
          </ac:cxnSpMkLst>
        </pc:cxnChg>
      </pc:sldChg>
      <pc:sldChg chg="del">
        <pc:chgData name="Bullinger, Marvin" userId="5b54ce5a-dc89-476f-af33-5abd75d5b1e8" providerId="ADAL" clId="{265A6489-94A2-4E64-A25F-E64F69B0C2C1}" dt="2024-03-05T20:07:14.023" v="102" actId="2696"/>
        <pc:sldMkLst>
          <pc:docMk/>
          <pc:sldMk cId="2468756552" sldId="590"/>
        </pc:sldMkLst>
      </pc:sldChg>
      <pc:sldChg chg="addSp delSp modSp del mod">
        <pc:chgData name="Bullinger, Marvin" userId="5b54ce5a-dc89-476f-af33-5abd75d5b1e8" providerId="ADAL" clId="{265A6489-94A2-4E64-A25F-E64F69B0C2C1}" dt="2024-03-05T22:13:17.824" v="4237" actId="47"/>
        <pc:sldMkLst>
          <pc:docMk/>
          <pc:sldMk cId="3574513803" sldId="591"/>
        </pc:sldMkLst>
        <pc:spChg chg="add mod">
          <ac:chgData name="Bullinger, Marvin" userId="5b54ce5a-dc89-476f-af33-5abd75d5b1e8" providerId="ADAL" clId="{265A6489-94A2-4E64-A25F-E64F69B0C2C1}" dt="2024-03-05T20:07:14.800" v="545" actId="478"/>
          <ac:spMkLst>
            <pc:docMk/>
            <pc:sldMk cId="3574513803" sldId="591"/>
            <ac:spMk id="232" creationId="{67E8B95A-9B33-F1F9-D0C5-B7D867067C8F}"/>
          </ac:spMkLst>
        </pc:spChg>
        <pc:spChg chg="del mod replST">
          <ac:chgData name="Bullinger, Marvin" userId="5b54ce5a-dc89-476f-af33-5abd75d5b1e8" providerId="ADAL" clId="{265A6489-94A2-4E64-A25F-E64F69B0C2C1}" dt="2024-03-05T20:17:18.347" v="1154" actId="478"/>
          <ac:spMkLst>
            <pc:docMk/>
            <pc:sldMk cId="3574513803" sldId="591"/>
            <ac:spMk id="233" creationId="{B714E35E-0943-E7CF-B4FE-3C8D444F643D}"/>
          </ac:spMkLst>
        </pc:spChg>
        <pc:spChg chg="del">
          <ac:chgData name="Bullinger, Marvin" userId="5b54ce5a-dc89-476f-af33-5abd75d5b1e8" providerId="ADAL" clId="{265A6489-94A2-4E64-A25F-E64F69B0C2C1}" dt="2024-03-05T20:07:14.819" v="572" actId="478"/>
          <ac:spMkLst>
            <pc:docMk/>
            <pc:sldMk cId="3574513803" sldId="591"/>
            <ac:spMk id="234" creationId="{08680343-44AC-F81E-AC6C-F64A718AFB51}"/>
          </ac:spMkLst>
        </pc:spChg>
        <pc:spChg chg="del">
          <ac:chgData name="Bullinger, Marvin" userId="5b54ce5a-dc89-476f-af33-5abd75d5b1e8" providerId="ADAL" clId="{265A6489-94A2-4E64-A25F-E64F69B0C2C1}" dt="2024-03-05T20:07:14.800" v="545" actId="478"/>
          <ac:spMkLst>
            <pc:docMk/>
            <pc:sldMk cId="3574513803" sldId="591"/>
            <ac:spMk id="235" creationId="{01009BE7-E467-AE63-FE85-3FF72F758418}"/>
          </ac:spMkLst>
        </pc:spChg>
        <pc:spChg chg="add mod">
          <ac:chgData name="Bullinger, Marvin" userId="5b54ce5a-dc89-476f-af33-5abd75d5b1e8" providerId="ADAL" clId="{265A6489-94A2-4E64-A25F-E64F69B0C2C1}" dt="2024-03-05T20:17:18.347" v="1154" actId="478"/>
          <ac:spMkLst>
            <pc:docMk/>
            <pc:sldMk cId="3574513803" sldId="591"/>
            <ac:spMk id="235" creationId="{085792FE-6234-B006-025D-E8D075F8037B}"/>
          </ac:spMkLst>
        </pc:spChg>
        <pc:spChg chg="mod replST">
          <ac:chgData name="Bullinger, Marvin" userId="5b54ce5a-dc89-476f-af33-5abd75d5b1e8" providerId="ADAL" clId="{265A6489-94A2-4E64-A25F-E64F69B0C2C1}" dt="2024-03-05T20:17:18.372" v="1193" actId="20577"/>
          <ac:spMkLst>
            <pc:docMk/>
            <pc:sldMk cId="3574513803" sldId="591"/>
            <ac:spMk id="236" creationId="{2E77F7B9-A529-22BA-9C6A-E512CD72342C}"/>
          </ac:spMkLst>
        </pc:spChg>
        <pc:spChg chg="del">
          <ac:chgData name="Bullinger, Marvin" userId="5b54ce5a-dc89-476f-af33-5abd75d5b1e8" providerId="ADAL" clId="{265A6489-94A2-4E64-A25F-E64F69B0C2C1}" dt="2024-03-05T20:07:14.819" v="571" actId="478"/>
          <ac:spMkLst>
            <pc:docMk/>
            <pc:sldMk cId="3574513803" sldId="591"/>
            <ac:spMk id="236" creationId="{58907794-F5FC-0EFA-2C70-377823FFA034}"/>
          </ac:spMkLst>
        </pc:spChg>
        <pc:spChg chg="del">
          <ac:chgData name="Bullinger, Marvin" userId="5b54ce5a-dc89-476f-af33-5abd75d5b1e8" providerId="ADAL" clId="{265A6489-94A2-4E64-A25F-E64F69B0C2C1}" dt="2024-03-05T20:17:18.367" v="1183" actId="478"/>
          <ac:spMkLst>
            <pc:docMk/>
            <pc:sldMk cId="3574513803" sldId="591"/>
            <ac:spMk id="237" creationId="{2D5621FE-BD15-AD86-0C78-2A7593A2D85E}"/>
          </ac:spMkLst>
        </pc:spChg>
        <pc:spChg chg="del">
          <ac:chgData name="Bullinger, Marvin" userId="5b54ce5a-dc89-476f-af33-5abd75d5b1e8" providerId="ADAL" clId="{265A6489-94A2-4E64-A25F-E64F69B0C2C1}" dt="2024-03-05T20:07:14.818" v="570" actId="478"/>
          <ac:spMkLst>
            <pc:docMk/>
            <pc:sldMk cId="3574513803" sldId="591"/>
            <ac:spMk id="237" creationId="{44216FB6-A622-E32A-517C-C6C791D8356D}"/>
          </ac:spMkLst>
        </pc:spChg>
        <pc:spChg chg="del">
          <ac:chgData name="Bullinger, Marvin" userId="5b54ce5a-dc89-476f-af33-5abd75d5b1e8" providerId="ADAL" clId="{265A6489-94A2-4E64-A25F-E64F69B0C2C1}" dt="2024-03-05T20:07:14.818" v="569" actId="478"/>
          <ac:spMkLst>
            <pc:docMk/>
            <pc:sldMk cId="3574513803" sldId="591"/>
            <ac:spMk id="238" creationId="{5101564C-85D9-265D-FA58-CD8C69FA7604}"/>
          </ac:spMkLst>
        </pc:spChg>
        <pc:spChg chg="del">
          <ac:chgData name="Bullinger, Marvin" userId="5b54ce5a-dc89-476f-af33-5abd75d5b1e8" providerId="ADAL" clId="{265A6489-94A2-4E64-A25F-E64F69B0C2C1}" dt="2024-03-05T20:17:18.367" v="1182" actId="478"/>
          <ac:spMkLst>
            <pc:docMk/>
            <pc:sldMk cId="3574513803" sldId="591"/>
            <ac:spMk id="238" creationId="{83003E2D-27D4-9351-1917-62CA96F75DAB}"/>
          </ac:spMkLst>
        </pc:spChg>
        <pc:spChg chg="del">
          <ac:chgData name="Bullinger, Marvin" userId="5b54ce5a-dc89-476f-af33-5abd75d5b1e8" providerId="ADAL" clId="{265A6489-94A2-4E64-A25F-E64F69B0C2C1}" dt="2024-03-05T20:17:18.366" v="1181" actId="478"/>
          <ac:spMkLst>
            <pc:docMk/>
            <pc:sldMk cId="3574513803" sldId="591"/>
            <ac:spMk id="239" creationId="{8B743D6C-1E83-8460-5E00-6E5EB8E73B89}"/>
          </ac:spMkLst>
        </pc:spChg>
        <pc:spChg chg="del">
          <ac:chgData name="Bullinger, Marvin" userId="5b54ce5a-dc89-476f-af33-5abd75d5b1e8" providerId="ADAL" clId="{265A6489-94A2-4E64-A25F-E64F69B0C2C1}" dt="2024-03-05T20:07:14.816" v="566" actId="478"/>
          <ac:spMkLst>
            <pc:docMk/>
            <pc:sldMk cId="3574513803" sldId="591"/>
            <ac:spMk id="239" creationId="{FDA3E056-77DF-88FF-A517-7A34F5FD2F52}"/>
          </ac:spMkLst>
        </pc:spChg>
        <pc:spChg chg="del">
          <ac:chgData name="Bullinger, Marvin" userId="5b54ce5a-dc89-476f-af33-5abd75d5b1e8" providerId="ADAL" clId="{265A6489-94A2-4E64-A25F-E64F69B0C2C1}" dt="2024-03-05T20:07:14.816" v="565" actId="478"/>
          <ac:spMkLst>
            <pc:docMk/>
            <pc:sldMk cId="3574513803" sldId="591"/>
            <ac:spMk id="240" creationId="{3366802D-0D44-D9F3-3E6C-4070A59BCC15}"/>
          </ac:spMkLst>
        </pc:spChg>
        <pc:spChg chg="del">
          <ac:chgData name="Bullinger, Marvin" userId="5b54ce5a-dc89-476f-af33-5abd75d5b1e8" providerId="ADAL" clId="{265A6489-94A2-4E64-A25F-E64F69B0C2C1}" dt="2024-03-05T20:17:18.366" v="1180" actId="478"/>
          <ac:spMkLst>
            <pc:docMk/>
            <pc:sldMk cId="3574513803" sldId="591"/>
            <ac:spMk id="240" creationId="{4F81F3EA-C410-BE11-D06A-38CA821ADCAB}"/>
          </ac:spMkLst>
        </pc:spChg>
        <pc:spChg chg="del">
          <ac:chgData name="Bullinger, Marvin" userId="5b54ce5a-dc89-476f-af33-5abd75d5b1e8" providerId="ADAL" clId="{265A6489-94A2-4E64-A25F-E64F69B0C2C1}" dt="2024-03-05T20:07:14.816" v="564" actId="478"/>
          <ac:spMkLst>
            <pc:docMk/>
            <pc:sldMk cId="3574513803" sldId="591"/>
            <ac:spMk id="241" creationId="{2ED3BC78-364C-4609-4119-60CE0ECA9F4B}"/>
          </ac:spMkLst>
        </pc:spChg>
        <pc:spChg chg="del">
          <ac:chgData name="Bullinger, Marvin" userId="5b54ce5a-dc89-476f-af33-5abd75d5b1e8" providerId="ADAL" clId="{265A6489-94A2-4E64-A25F-E64F69B0C2C1}" dt="2024-03-05T20:17:18.366" v="1179" actId="478"/>
          <ac:spMkLst>
            <pc:docMk/>
            <pc:sldMk cId="3574513803" sldId="591"/>
            <ac:spMk id="241" creationId="{BCDBB1AD-5BF2-01A4-BD44-29EB99DBB586}"/>
          </ac:spMkLst>
        </pc:spChg>
        <pc:spChg chg="del">
          <ac:chgData name="Bullinger, Marvin" userId="5b54ce5a-dc89-476f-af33-5abd75d5b1e8" providerId="ADAL" clId="{265A6489-94A2-4E64-A25F-E64F69B0C2C1}" dt="2024-03-05T20:07:14.815" v="563" actId="478"/>
          <ac:spMkLst>
            <pc:docMk/>
            <pc:sldMk cId="3574513803" sldId="591"/>
            <ac:spMk id="242" creationId="{135D5C67-D33F-4E23-4CD3-A43D32E8EE87}"/>
          </ac:spMkLst>
        </pc:spChg>
        <pc:spChg chg="del">
          <ac:chgData name="Bullinger, Marvin" userId="5b54ce5a-dc89-476f-af33-5abd75d5b1e8" providerId="ADAL" clId="{265A6489-94A2-4E64-A25F-E64F69B0C2C1}" dt="2024-03-05T20:17:18.365" v="1178" actId="478"/>
          <ac:spMkLst>
            <pc:docMk/>
            <pc:sldMk cId="3574513803" sldId="591"/>
            <ac:spMk id="242" creationId="{9B570A0D-CECA-243F-5673-DCE6FF565053}"/>
          </ac:spMkLst>
        </pc:spChg>
        <pc:spChg chg="del">
          <ac:chgData name="Bullinger, Marvin" userId="5b54ce5a-dc89-476f-af33-5abd75d5b1e8" providerId="ADAL" clId="{265A6489-94A2-4E64-A25F-E64F69B0C2C1}" dt="2024-03-05T20:07:14.815" v="562" actId="478"/>
          <ac:spMkLst>
            <pc:docMk/>
            <pc:sldMk cId="3574513803" sldId="591"/>
            <ac:spMk id="243" creationId="{019BDEAC-EC48-AB81-5065-E41F5BA5D580}"/>
          </ac:spMkLst>
        </pc:spChg>
        <pc:spChg chg="del">
          <ac:chgData name="Bullinger, Marvin" userId="5b54ce5a-dc89-476f-af33-5abd75d5b1e8" providerId="ADAL" clId="{265A6489-94A2-4E64-A25F-E64F69B0C2C1}" dt="2024-03-05T20:17:18.364" v="1175" actId="478"/>
          <ac:spMkLst>
            <pc:docMk/>
            <pc:sldMk cId="3574513803" sldId="591"/>
            <ac:spMk id="243" creationId="{CF9E6A34-882F-D97B-96AD-E2770656D908}"/>
          </ac:spMkLst>
        </pc:spChg>
        <pc:spChg chg="del">
          <ac:chgData name="Bullinger, Marvin" userId="5b54ce5a-dc89-476f-af33-5abd75d5b1e8" providerId="ADAL" clId="{265A6489-94A2-4E64-A25F-E64F69B0C2C1}" dt="2024-03-05T20:07:14.815" v="561" actId="478"/>
          <ac:spMkLst>
            <pc:docMk/>
            <pc:sldMk cId="3574513803" sldId="591"/>
            <ac:spMk id="244" creationId="{268B33AF-8166-492C-2B01-4DD62FAC1A01}"/>
          </ac:spMkLst>
        </pc:spChg>
        <pc:spChg chg="del">
          <ac:chgData name="Bullinger, Marvin" userId="5b54ce5a-dc89-476f-af33-5abd75d5b1e8" providerId="ADAL" clId="{265A6489-94A2-4E64-A25F-E64F69B0C2C1}" dt="2024-03-05T20:17:18.364" v="1174" actId="478"/>
          <ac:spMkLst>
            <pc:docMk/>
            <pc:sldMk cId="3574513803" sldId="591"/>
            <ac:spMk id="244" creationId="{816E266D-6A4A-6A3E-6316-BFE203403D74}"/>
          </ac:spMkLst>
        </pc:spChg>
        <pc:spChg chg="del">
          <ac:chgData name="Bullinger, Marvin" userId="5b54ce5a-dc89-476f-af33-5abd75d5b1e8" providerId="ADAL" clId="{265A6489-94A2-4E64-A25F-E64F69B0C2C1}" dt="2024-03-05T20:17:18.363" v="1173" actId="478"/>
          <ac:spMkLst>
            <pc:docMk/>
            <pc:sldMk cId="3574513803" sldId="591"/>
            <ac:spMk id="245" creationId="{61C7778C-F40C-E856-4827-F98A2B3CC3B4}"/>
          </ac:spMkLst>
        </pc:spChg>
        <pc:spChg chg="del">
          <ac:chgData name="Bullinger, Marvin" userId="5b54ce5a-dc89-476f-af33-5abd75d5b1e8" providerId="ADAL" clId="{265A6489-94A2-4E64-A25F-E64F69B0C2C1}" dt="2024-03-05T20:07:14.825" v="582" actId="478"/>
          <ac:spMkLst>
            <pc:docMk/>
            <pc:sldMk cId="3574513803" sldId="591"/>
            <ac:spMk id="245" creationId="{C69042B4-94DC-B5B9-F93A-6895AA43D81E}"/>
          </ac:spMkLst>
        </pc:spChg>
        <pc:spChg chg="del">
          <ac:chgData name="Bullinger, Marvin" userId="5b54ce5a-dc89-476f-af33-5abd75d5b1e8" providerId="ADAL" clId="{265A6489-94A2-4E64-A25F-E64F69B0C2C1}" dt="2024-03-05T20:17:18.363" v="1172" actId="478"/>
          <ac:spMkLst>
            <pc:docMk/>
            <pc:sldMk cId="3574513803" sldId="591"/>
            <ac:spMk id="246" creationId="{6BEEAF77-9E18-0DDC-DEB5-E5D11D823962}"/>
          </ac:spMkLst>
        </pc:spChg>
        <pc:spChg chg="del">
          <ac:chgData name="Bullinger, Marvin" userId="5b54ce5a-dc89-476f-af33-5abd75d5b1e8" providerId="ADAL" clId="{265A6489-94A2-4E64-A25F-E64F69B0C2C1}" dt="2024-03-05T20:07:14.825" v="581" actId="478"/>
          <ac:spMkLst>
            <pc:docMk/>
            <pc:sldMk cId="3574513803" sldId="591"/>
            <ac:spMk id="246" creationId="{7E670234-99AD-2797-4984-43930693F5B7}"/>
          </ac:spMkLst>
        </pc:spChg>
        <pc:spChg chg="del">
          <ac:chgData name="Bullinger, Marvin" userId="5b54ce5a-dc89-476f-af33-5abd75d5b1e8" providerId="ADAL" clId="{265A6489-94A2-4E64-A25F-E64F69B0C2C1}" dt="2024-03-05T20:17:18.362" v="1171" actId="478"/>
          <ac:spMkLst>
            <pc:docMk/>
            <pc:sldMk cId="3574513803" sldId="591"/>
            <ac:spMk id="247" creationId="{2FFC3DD3-D39D-3121-B23E-B4F1F2110BB3}"/>
          </ac:spMkLst>
        </pc:spChg>
        <pc:spChg chg="del">
          <ac:chgData name="Bullinger, Marvin" userId="5b54ce5a-dc89-476f-af33-5abd75d5b1e8" providerId="ADAL" clId="{265A6489-94A2-4E64-A25F-E64F69B0C2C1}" dt="2024-03-05T20:07:14.825" v="580" actId="478"/>
          <ac:spMkLst>
            <pc:docMk/>
            <pc:sldMk cId="3574513803" sldId="591"/>
            <ac:spMk id="247" creationId="{9E931932-EE40-C6E5-5C6A-C924B9D089C4}"/>
          </ac:spMkLst>
        </pc:spChg>
        <pc:spChg chg="del">
          <ac:chgData name="Bullinger, Marvin" userId="5b54ce5a-dc89-476f-af33-5abd75d5b1e8" providerId="ADAL" clId="{265A6489-94A2-4E64-A25F-E64F69B0C2C1}" dt="2024-03-05T20:17:18.362" v="1170" actId="478"/>
          <ac:spMkLst>
            <pc:docMk/>
            <pc:sldMk cId="3574513803" sldId="591"/>
            <ac:spMk id="248" creationId="{7017D63A-4C5D-A647-D2BD-90034A3DA314}"/>
          </ac:spMkLst>
        </pc:spChg>
        <pc:spChg chg="del">
          <ac:chgData name="Bullinger, Marvin" userId="5b54ce5a-dc89-476f-af33-5abd75d5b1e8" providerId="ADAL" clId="{265A6489-94A2-4E64-A25F-E64F69B0C2C1}" dt="2024-03-05T20:07:14.824" v="579" actId="478"/>
          <ac:spMkLst>
            <pc:docMk/>
            <pc:sldMk cId="3574513803" sldId="591"/>
            <ac:spMk id="248" creationId="{C5C26321-3992-5CF9-3792-D84B27D970C8}"/>
          </ac:spMkLst>
        </pc:spChg>
        <pc:spChg chg="del">
          <ac:chgData name="Bullinger, Marvin" userId="5b54ce5a-dc89-476f-af33-5abd75d5b1e8" providerId="ADAL" clId="{265A6489-94A2-4E64-A25F-E64F69B0C2C1}" dt="2024-03-05T20:07:14.824" v="578" actId="478"/>
          <ac:spMkLst>
            <pc:docMk/>
            <pc:sldMk cId="3574513803" sldId="591"/>
            <ac:spMk id="249" creationId="{CB7BFAFE-9C46-802F-0386-F563818F3A57}"/>
          </ac:spMkLst>
        </pc:spChg>
        <pc:spChg chg="del">
          <ac:chgData name="Bullinger, Marvin" userId="5b54ce5a-dc89-476f-af33-5abd75d5b1e8" providerId="ADAL" clId="{265A6489-94A2-4E64-A25F-E64F69B0C2C1}" dt="2024-03-05T20:17:18.370" v="1191" actId="478"/>
          <ac:spMkLst>
            <pc:docMk/>
            <pc:sldMk cId="3574513803" sldId="591"/>
            <ac:spMk id="249" creationId="{DD73D857-8DF6-6ED3-B9BB-F25AEF92E768}"/>
          </ac:spMkLst>
        </pc:spChg>
        <pc:spChg chg="del">
          <ac:chgData name="Bullinger, Marvin" userId="5b54ce5a-dc89-476f-af33-5abd75d5b1e8" providerId="ADAL" clId="{265A6489-94A2-4E64-A25F-E64F69B0C2C1}" dt="2024-03-05T20:07:14.824" v="577" actId="478"/>
          <ac:spMkLst>
            <pc:docMk/>
            <pc:sldMk cId="3574513803" sldId="591"/>
            <ac:spMk id="250" creationId="{0A71A55C-F7A1-BA28-5A2A-A2F3F9B97768}"/>
          </ac:spMkLst>
        </pc:spChg>
        <pc:spChg chg="del">
          <ac:chgData name="Bullinger, Marvin" userId="5b54ce5a-dc89-476f-af33-5abd75d5b1e8" providerId="ADAL" clId="{265A6489-94A2-4E64-A25F-E64F69B0C2C1}" dt="2024-03-05T20:17:18.370" v="1190" actId="478"/>
          <ac:spMkLst>
            <pc:docMk/>
            <pc:sldMk cId="3574513803" sldId="591"/>
            <ac:spMk id="250" creationId="{B556CF7E-5716-DDE4-DC39-F1A620D37E45}"/>
          </ac:spMkLst>
        </pc:spChg>
        <pc:spChg chg="del">
          <ac:chgData name="Bullinger, Marvin" userId="5b54ce5a-dc89-476f-af33-5abd75d5b1e8" providerId="ADAL" clId="{265A6489-94A2-4E64-A25F-E64F69B0C2C1}" dt="2024-03-05T20:17:18.370" v="1189" actId="478"/>
          <ac:spMkLst>
            <pc:docMk/>
            <pc:sldMk cId="3574513803" sldId="591"/>
            <ac:spMk id="251" creationId="{5EDB9ABF-60E7-A2A2-EB1D-9DD0C638F49A}"/>
          </ac:spMkLst>
        </pc:spChg>
        <pc:spChg chg="del">
          <ac:chgData name="Bullinger, Marvin" userId="5b54ce5a-dc89-476f-af33-5abd75d5b1e8" providerId="ADAL" clId="{265A6489-94A2-4E64-A25F-E64F69B0C2C1}" dt="2024-03-05T20:07:14.823" v="576" actId="478"/>
          <ac:spMkLst>
            <pc:docMk/>
            <pc:sldMk cId="3574513803" sldId="591"/>
            <ac:spMk id="251" creationId="{AE60F588-CCB3-E3AA-82E3-1DA38C4780D6}"/>
          </ac:spMkLst>
        </pc:spChg>
        <pc:spChg chg="del">
          <ac:chgData name="Bullinger, Marvin" userId="5b54ce5a-dc89-476f-af33-5abd75d5b1e8" providerId="ADAL" clId="{265A6489-94A2-4E64-A25F-E64F69B0C2C1}" dt="2024-03-05T20:17:18.369" v="1188" actId="478"/>
          <ac:spMkLst>
            <pc:docMk/>
            <pc:sldMk cId="3574513803" sldId="591"/>
            <ac:spMk id="252" creationId="{AF7CC53A-5947-C960-EB7F-C398D8165866}"/>
          </ac:spMkLst>
        </pc:spChg>
        <pc:spChg chg="del">
          <ac:chgData name="Bullinger, Marvin" userId="5b54ce5a-dc89-476f-af33-5abd75d5b1e8" providerId="ADAL" clId="{265A6489-94A2-4E64-A25F-E64F69B0C2C1}" dt="2024-03-05T20:07:14.823" v="575" actId="478"/>
          <ac:spMkLst>
            <pc:docMk/>
            <pc:sldMk cId="3574513803" sldId="591"/>
            <ac:spMk id="252" creationId="{C5D7DC83-131B-B26F-FC9A-F0157EB69337}"/>
          </ac:spMkLst>
        </pc:spChg>
        <pc:spChg chg="del">
          <ac:chgData name="Bullinger, Marvin" userId="5b54ce5a-dc89-476f-af33-5abd75d5b1e8" providerId="ADAL" clId="{265A6489-94A2-4E64-A25F-E64F69B0C2C1}" dt="2024-03-05T20:07:14.817" v="567" actId="478"/>
          <ac:spMkLst>
            <pc:docMk/>
            <pc:sldMk cId="3574513803" sldId="591"/>
            <ac:spMk id="253" creationId="{31E48B2E-C337-7C55-B598-F3F15470524B}"/>
          </ac:spMkLst>
        </pc:spChg>
        <pc:spChg chg="del">
          <ac:chgData name="Bullinger, Marvin" userId="5b54ce5a-dc89-476f-af33-5abd75d5b1e8" providerId="ADAL" clId="{265A6489-94A2-4E64-A25F-E64F69B0C2C1}" dt="2024-03-05T20:17:18.369" v="1187" actId="478"/>
          <ac:spMkLst>
            <pc:docMk/>
            <pc:sldMk cId="3574513803" sldId="591"/>
            <ac:spMk id="253" creationId="{ECA597A7-A059-7D8D-2875-337267883AAD}"/>
          </ac:spMkLst>
        </pc:spChg>
        <pc:spChg chg="del">
          <ac:chgData name="Bullinger, Marvin" userId="5b54ce5a-dc89-476f-af33-5abd75d5b1e8" providerId="ADAL" clId="{265A6489-94A2-4E64-A25F-E64F69B0C2C1}" dt="2024-03-05T20:17:18.368" v="1186" actId="478"/>
          <ac:spMkLst>
            <pc:docMk/>
            <pc:sldMk cId="3574513803" sldId="591"/>
            <ac:spMk id="254" creationId="{5FC7C189-8373-05B1-6C95-E4C4138B301B}"/>
          </ac:spMkLst>
        </pc:spChg>
        <pc:spChg chg="del">
          <ac:chgData name="Bullinger, Marvin" userId="5b54ce5a-dc89-476f-af33-5abd75d5b1e8" providerId="ADAL" clId="{265A6489-94A2-4E64-A25F-E64F69B0C2C1}" dt="2024-03-05T20:07:14.814" v="560" actId="478"/>
          <ac:spMkLst>
            <pc:docMk/>
            <pc:sldMk cId="3574513803" sldId="591"/>
            <ac:spMk id="254" creationId="{AC734A39-9DB8-E5B0-428F-ACB725C072A2}"/>
          </ac:spMkLst>
        </pc:spChg>
        <pc:spChg chg="del">
          <ac:chgData name="Bullinger, Marvin" userId="5b54ce5a-dc89-476f-af33-5abd75d5b1e8" providerId="ADAL" clId="{265A6489-94A2-4E64-A25F-E64F69B0C2C1}" dt="2024-03-05T20:07:14.817" v="568" actId="478"/>
          <ac:spMkLst>
            <pc:docMk/>
            <pc:sldMk cId="3574513803" sldId="591"/>
            <ac:spMk id="255" creationId="{A5FEA8B2-BA34-FE3B-D387-E14848F25C75}"/>
          </ac:spMkLst>
        </pc:spChg>
        <pc:spChg chg="del">
          <ac:chgData name="Bullinger, Marvin" userId="5b54ce5a-dc89-476f-af33-5abd75d5b1e8" providerId="ADAL" clId="{265A6489-94A2-4E64-A25F-E64F69B0C2C1}" dt="2024-03-05T20:17:18.368" v="1185" actId="478"/>
          <ac:spMkLst>
            <pc:docMk/>
            <pc:sldMk cId="3574513803" sldId="591"/>
            <ac:spMk id="255" creationId="{F8AEE529-2D38-4BCB-F5D4-09C92D616FB4}"/>
          </ac:spMkLst>
        </pc:spChg>
        <pc:spChg chg="del">
          <ac:chgData name="Bullinger, Marvin" userId="5b54ce5a-dc89-476f-af33-5abd75d5b1e8" providerId="ADAL" clId="{265A6489-94A2-4E64-A25F-E64F69B0C2C1}" dt="2024-03-05T20:07:14.814" v="559" actId="478"/>
          <ac:spMkLst>
            <pc:docMk/>
            <pc:sldMk cId="3574513803" sldId="591"/>
            <ac:spMk id="256" creationId="{78988C97-CB07-287D-5EA2-5AE6A969BEFB}"/>
          </ac:spMkLst>
        </pc:spChg>
        <pc:spChg chg="del">
          <ac:chgData name="Bullinger, Marvin" userId="5b54ce5a-dc89-476f-af33-5abd75d5b1e8" providerId="ADAL" clId="{265A6489-94A2-4E64-A25F-E64F69B0C2C1}" dt="2024-03-05T20:17:18.368" v="1184" actId="478"/>
          <ac:spMkLst>
            <pc:docMk/>
            <pc:sldMk cId="3574513803" sldId="591"/>
            <ac:spMk id="256" creationId="{D80CCBC7-F918-6BE0-8495-CFA69AFB5A0A}"/>
          </ac:spMkLst>
        </pc:spChg>
        <pc:spChg chg="del">
          <ac:chgData name="Bullinger, Marvin" userId="5b54ce5a-dc89-476f-af33-5abd75d5b1e8" providerId="ADAL" clId="{265A6489-94A2-4E64-A25F-E64F69B0C2C1}" dt="2024-03-05T20:17:18.364" v="1176" actId="478"/>
          <ac:spMkLst>
            <pc:docMk/>
            <pc:sldMk cId="3574513803" sldId="591"/>
            <ac:spMk id="257" creationId="{356E32A0-6010-380F-AA50-E1599AB95E78}"/>
          </ac:spMkLst>
        </pc:spChg>
        <pc:spChg chg="del">
          <ac:chgData name="Bullinger, Marvin" userId="5b54ce5a-dc89-476f-af33-5abd75d5b1e8" providerId="ADAL" clId="{265A6489-94A2-4E64-A25F-E64F69B0C2C1}" dt="2024-03-05T20:07:14.813" v="558" actId="478"/>
          <ac:spMkLst>
            <pc:docMk/>
            <pc:sldMk cId="3574513803" sldId="591"/>
            <ac:spMk id="257" creationId="{62D86405-C537-D5EB-B784-DB76503CF3D3}"/>
          </ac:spMkLst>
        </pc:spChg>
        <pc:spChg chg="del">
          <ac:chgData name="Bullinger, Marvin" userId="5b54ce5a-dc89-476f-af33-5abd75d5b1e8" providerId="ADAL" clId="{265A6489-94A2-4E64-A25F-E64F69B0C2C1}" dt="2024-03-05T20:17:18.362" v="1169" actId="478"/>
          <ac:spMkLst>
            <pc:docMk/>
            <pc:sldMk cId="3574513803" sldId="591"/>
            <ac:spMk id="258" creationId="{19C709B5-451A-740F-D346-99982545AF16}"/>
          </ac:spMkLst>
        </pc:spChg>
        <pc:spChg chg="del">
          <ac:chgData name="Bullinger, Marvin" userId="5b54ce5a-dc89-476f-af33-5abd75d5b1e8" providerId="ADAL" clId="{265A6489-94A2-4E64-A25F-E64F69B0C2C1}" dt="2024-03-05T20:07:14.813" v="557" actId="478"/>
          <ac:spMkLst>
            <pc:docMk/>
            <pc:sldMk cId="3574513803" sldId="591"/>
            <ac:spMk id="258" creationId="{8E461CC6-9096-B3FD-DC82-E3AD98C3EA08}"/>
          </ac:spMkLst>
        </pc:spChg>
        <pc:spChg chg="del">
          <ac:chgData name="Bullinger, Marvin" userId="5b54ce5a-dc89-476f-af33-5abd75d5b1e8" providerId="ADAL" clId="{265A6489-94A2-4E64-A25F-E64F69B0C2C1}" dt="2024-03-05T20:17:18.365" v="1177" actId="478"/>
          <ac:spMkLst>
            <pc:docMk/>
            <pc:sldMk cId="3574513803" sldId="591"/>
            <ac:spMk id="259" creationId="{82C6C335-C481-5179-E402-6CD89431F417}"/>
          </ac:spMkLst>
        </pc:spChg>
        <pc:spChg chg="del">
          <ac:chgData name="Bullinger, Marvin" userId="5b54ce5a-dc89-476f-af33-5abd75d5b1e8" providerId="ADAL" clId="{265A6489-94A2-4E64-A25F-E64F69B0C2C1}" dt="2024-03-05T20:07:14.812" v="556" actId="478"/>
          <ac:spMkLst>
            <pc:docMk/>
            <pc:sldMk cId="3574513803" sldId="591"/>
            <ac:spMk id="259" creationId="{ED7A436B-5CF0-798E-0CAC-FC93D2419FB1}"/>
          </ac:spMkLst>
        </pc:spChg>
        <pc:spChg chg="del">
          <ac:chgData name="Bullinger, Marvin" userId="5b54ce5a-dc89-476f-af33-5abd75d5b1e8" providerId="ADAL" clId="{265A6489-94A2-4E64-A25F-E64F69B0C2C1}" dt="2024-03-05T20:07:14.812" v="555" actId="478"/>
          <ac:spMkLst>
            <pc:docMk/>
            <pc:sldMk cId="3574513803" sldId="591"/>
            <ac:spMk id="260" creationId="{05F9DE49-E2B4-D38E-BE19-B98B6182BE88}"/>
          </ac:spMkLst>
        </pc:spChg>
        <pc:spChg chg="del">
          <ac:chgData name="Bullinger, Marvin" userId="5b54ce5a-dc89-476f-af33-5abd75d5b1e8" providerId="ADAL" clId="{265A6489-94A2-4E64-A25F-E64F69B0C2C1}" dt="2024-03-05T20:17:18.361" v="1168" actId="478"/>
          <ac:spMkLst>
            <pc:docMk/>
            <pc:sldMk cId="3574513803" sldId="591"/>
            <ac:spMk id="260" creationId="{62700D61-657A-0FB8-AE81-AAA78EA865B7}"/>
          </ac:spMkLst>
        </pc:spChg>
        <pc:spChg chg="del">
          <ac:chgData name="Bullinger, Marvin" userId="5b54ce5a-dc89-476f-af33-5abd75d5b1e8" providerId="ADAL" clId="{265A6489-94A2-4E64-A25F-E64F69B0C2C1}" dt="2024-03-05T20:07:14.812" v="554" actId="478"/>
          <ac:spMkLst>
            <pc:docMk/>
            <pc:sldMk cId="3574513803" sldId="591"/>
            <ac:spMk id="261" creationId="{140C5164-0AFB-064D-2965-1B18EF319333}"/>
          </ac:spMkLst>
        </pc:spChg>
        <pc:spChg chg="del">
          <ac:chgData name="Bullinger, Marvin" userId="5b54ce5a-dc89-476f-af33-5abd75d5b1e8" providerId="ADAL" clId="{265A6489-94A2-4E64-A25F-E64F69B0C2C1}" dt="2024-03-05T20:17:18.361" v="1167" actId="478"/>
          <ac:spMkLst>
            <pc:docMk/>
            <pc:sldMk cId="3574513803" sldId="591"/>
            <ac:spMk id="261" creationId="{90CC92E7-C246-6E40-75FA-EDFF9B7E0963}"/>
          </ac:spMkLst>
        </pc:spChg>
        <pc:spChg chg="del">
          <ac:chgData name="Bullinger, Marvin" userId="5b54ce5a-dc89-476f-af33-5abd75d5b1e8" providerId="ADAL" clId="{265A6489-94A2-4E64-A25F-E64F69B0C2C1}" dt="2024-03-05T20:07:14.811" v="553" actId="478"/>
          <ac:spMkLst>
            <pc:docMk/>
            <pc:sldMk cId="3574513803" sldId="591"/>
            <ac:spMk id="262" creationId="{A07805AB-2AEA-9725-6825-53AA0B1B97B1}"/>
          </ac:spMkLst>
        </pc:spChg>
        <pc:spChg chg="del">
          <ac:chgData name="Bullinger, Marvin" userId="5b54ce5a-dc89-476f-af33-5abd75d5b1e8" providerId="ADAL" clId="{265A6489-94A2-4E64-A25F-E64F69B0C2C1}" dt="2024-03-05T20:17:18.360" v="1166" actId="478"/>
          <ac:spMkLst>
            <pc:docMk/>
            <pc:sldMk cId="3574513803" sldId="591"/>
            <ac:spMk id="262" creationId="{AC97A5DD-B3E7-0ED6-19D7-4BF1F0263DD3}"/>
          </ac:spMkLst>
        </pc:spChg>
        <pc:spChg chg="del">
          <ac:chgData name="Bullinger, Marvin" userId="5b54ce5a-dc89-476f-af33-5abd75d5b1e8" providerId="ADAL" clId="{265A6489-94A2-4E64-A25F-E64F69B0C2C1}" dt="2024-03-05T20:17:18.360" v="1165" actId="478"/>
          <ac:spMkLst>
            <pc:docMk/>
            <pc:sldMk cId="3574513803" sldId="591"/>
            <ac:spMk id="263" creationId="{5FD572C4-F226-9A71-8298-9DE7BC00E641}"/>
          </ac:spMkLst>
        </pc:spChg>
        <pc:spChg chg="del">
          <ac:chgData name="Bullinger, Marvin" userId="5b54ce5a-dc89-476f-af33-5abd75d5b1e8" providerId="ADAL" clId="{265A6489-94A2-4E64-A25F-E64F69B0C2C1}" dt="2024-03-05T20:07:14.811" v="552" actId="478"/>
          <ac:spMkLst>
            <pc:docMk/>
            <pc:sldMk cId="3574513803" sldId="591"/>
            <ac:spMk id="263" creationId="{CC6FE392-261C-9B18-C4F3-7B1A29CB2128}"/>
          </ac:spMkLst>
        </pc:spChg>
        <pc:spChg chg="del">
          <ac:chgData name="Bullinger, Marvin" userId="5b54ce5a-dc89-476f-af33-5abd75d5b1e8" providerId="ADAL" clId="{265A6489-94A2-4E64-A25F-E64F69B0C2C1}" dt="2024-03-05T20:17:18.359" v="1164" actId="478"/>
          <ac:spMkLst>
            <pc:docMk/>
            <pc:sldMk cId="3574513803" sldId="591"/>
            <ac:spMk id="264" creationId="{1392BA66-E2E0-1D7A-8AD6-502A484849C8}"/>
          </ac:spMkLst>
        </pc:spChg>
        <pc:spChg chg="del">
          <ac:chgData name="Bullinger, Marvin" userId="5b54ce5a-dc89-476f-af33-5abd75d5b1e8" providerId="ADAL" clId="{265A6489-94A2-4E64-A25F-E64F69B0C2C1}" dt="2024-03-05T20:07:14.810" v="551" actId="478"/>
          <ac:spMkLst>
            <pc:docMk/>
            <pc:sldMk cId="3574513803" sldId="591"/>
            <ac:spMk id="264" creationId="{214724BA-BD3F-6916-7ECD-0EE5AE1A8BA7}"/>
          </ac:spMkLst>
        </pc:spChg>
        <pc:spChg chg="del">
          <ac:chgData name="Bullinger, Marvin" userId="5b54ce5a-dc89-476f-af33-5abd75d5b1e8" providerId="ADAL" clId="{265A6489-94A2-4E64-A25F-E64F69B0C2C1}" dt="2024-03-05T20:07:14.810" v="550" actId="478"/>
          <ac:spMkLst>
            <pc:docMk/>
            <pc:sldMk cId="3574513803" sldId="591"/>
            <ac:spMk id="265" creationId="{430B5BF0-8D8B-E8D3-06DE-1759BB8D0971}"/>
          </ac:spMkLst>
        </pc:spChg>
        <pc:spChg chg="del">
          <ac:chgData name="Bullinger, Marvin" userId="5b54ce5a-dc89-476f-af33-5abd75d5b1e8" providerId="ADAL" clId="{265A6489-94A2-4E64-A25F-E64F69B0C2C1}" dt="2024-03-05T20:17:18.359" v="1163" actId="478"/>
          <ac:spMkLst>
            <pc:docMk/>
            <pc:sldMk cId="3574513803" sldId="591"/>
            <ac:spMk id="265" creationId="{D74519BC-B3BE-A4A2-6092-041F86B4BFFF}"/>
          </ac:spMkLst>
        </pc:spChg>
        <pc:spChg chg="del">
          <ac:chgData name="Bullinger, Marvin" userId="5b54ce5a-dc89-476f-af33-5abd75d5b1e8" providerId="ADAL" clId="{265A6489-94A2-4E64-A25F-E64F69B0C2C1}" dt="2024-03-05T20:07:14.810" v="549" actId="478"/>
          <ac:spMkLst>
            <pc:docMk/>
            <pc:sldMk cId="3574513803" sldId="591"/>
            <ac:spMk id="266" creationId="{51B79020-64A6-CC04-DBEF-260B1F0B72D9}"/>
          </ac:spMkLst>
        </pc:spChg>
        <pc:spChg chg="del">
          <ac:chgData name="Bullinger, Marvin" userId="5b54ce5a-dc89-476f-af33-5abd75d5b1e8" providerId="ADAL" clId="{265A6489-94A2-4E64-A25F-E64F69B0C2C1}" dt="2024-03-05T20:17:18.359" v="1162" actId="478"/>
          <ac:spMkLst>
            <pc:docMk/>
            <pc:sldMk cId="3574513803" sldId="591"/>
            <ac:spMk id="266" creationId="{AF0EC10C-AF4C-5272-BFDA-6D5C351ACA41}"/>
          </ac:spMkLst>
        </pc:spChg>
        <pc:spChg chg="del">
          <ac:chgData name="Bullinger, Marvin" userId="5b54ce5a-dc89-476f-af33-5abd75d5b1e8" providerId="ADAL" clId="{265A6489-94A2-4E64-A25F-E64F69B0C2C1}" dt="2024-03-05T20:07:14.809" v="548" actId="478"/>
          <ac:spMkLst>
            <pc:docMk/>
            <pc:sldMk cId="3574513803" sldId="591"/>
            <ac:spMk id="267" creationId="{6B556842-5489-1653-2C25-5303625827C0}"/>
          </ac:spMkLst>
        </pc:spChg>
        <pc:spChg chg="del">
          <ac:chgData name="Bullinger, Marvin" userId="5b54ce5a-dc89-476f-af33-5abd75d5b1e8" providerId="ADAL" clId="{265A6489-94A2-4E64-A25F-E64F69B0C2C1}" dt="2024-03-05T20:17:18.358" v="1161" actId="478"/>
          <ac:spMkLst>
            <pc:docMk/>
            <pc:sldMk cId="3574513803" sldId="591"/>
            <ac:spMk id="267" creationId="{D190A57F-A8FC-430E-99E4-2ED0BA00F2D6}"/>
          </ac:spMkLst>
        </pc:spChg>
        <pc:spChg chg="del">
          <ac:chgData name="Bullinger, Marvin" userId="5b54ce5a-dc89-476f-af33-5abd75d5b1e8" providerId="ADAL" clId="{265A6489-94A2-4E64-A25F-E64F69B0C2C1}" dt="2024-03-05T20:07:14.809" v="547" actId="478"/>
          <ac:spMkLst>
            <pc:docMk/>
            <pc:sldMk cId="3574513803" sldId="591"/>
            <ac:spMk id="268" creationId="{02595081-15D5-B6C2-11C0-6F83019FB62D}"/>
          </ac:spMkLst>
        </pc:spChg>
        <pc:spChg chg="del">
          <ac:chgData name="Bullinger, Marvin" userId="5b54ce5a-dc89-476f-af33-5abd75d5b1e8" providerId="ADAL" clId="{265A6489-94A2-4E64-A25F-E64F69B0C2C1}" dt="2024-03-05T20:17:18.358" v="1160" actId="478"/>
          <ac:spMkLst>
            <pc:docMk/>
            <pc:sldMk cId="3574513803" sldId="591"/>
            <ac:spMk id="268" creationId="{A682D895-3FBE-02AF-AE76-D6B490A4EC65}"/>
          </ac:spMkLst>
        </pc:spChg>
        <pc:spChg chg="del">
          <ac:chgData name="Bullinger, Marvin" userId="5b54ce5a-dc89-476f-af33-5abd75d5b1e8" providerId="ADAL" clId="{265A6489-94A2-4E64-A25F-E64F69B0C2C1}" dt="2024-03-05T20:07:14.808" v="546" actId="478"/>
          <ac:spMkLst>
            <pc:docMk/>
            <pc:sldMk cId="3574513803" sldId="591"/>
            <ac:spMk id="269" creationId="{27530BAE-C66F-4150-3A48-085B94929422}"/>
          </ac:spMkLst>
        </pc:spChg>
        <pc:spChg chg="del">
          <ac:chgData name="Bullinger, Marvin" userId="5b54ce5a-dc89-476f-af33-5abd75d5b1e8" providerId="ADAL" clId="{265A6489-94A2-4E64-A25F-E64F69B0C2C1}" dt="2024-03-05T20:17:18.357" v="1159" actId="478"/>
          <ac:spMkLst>
            <pc:docMk/>
            <pc:sldMk cId="3574513803" sldId="591"/>
            <ac:spMk id="269" creationId="{B21638F5-9953-5F1C-92E1-55E1DAA413B1}"/>
          </ac:spMkLst>
        </pc:spChg>
        <pc:spChg chg="del">
          <ac:chgData name="Bullinger, Marvin" userId="5b54ce5a-dc89-476f-af33-5abd75d5b1e8" providerId="ADAL" clId="{265A6489-94A2-4E64-A25F-E64F69B0C2C1}" dt="2024-03-05T20:17:18.357" v="1158" actId="478"/>
          <ac:spMkLst>
            <pc:docMk/>
            <pc:sldMk cId="3574513803" sldId="591"/>
            <ac:spMk id="270" creationId="{3C66CF10-C59E-BD28-8B1C-CB6A4A707595}"/>
          </ac:spMkLst>
        </pc:spChg>
        <pc:spChg chg="add mod">
          <ac:chgData name="Bullinger, Marvin" userId="5b54ce5a-dc89-476f-af33-5abd75d5b1e8" providerId="ADAL" clId="{265A6489-94A2-4E64-A25F-E64F69B0C2C1}" dt="2024-03-05T20:07:14.821" v="573" actId="478"/>
          <ac:spMkLst>
            <pc:docMk/>
            <pc:sldMk cId="3574513803" sldId="591"/>
            <ac:spMk id="271" creationId="{E4BACA85-C7D5-0C15-04B7-99307F2F98D2}"/>
          </ac:spMkLst>
        </pc:spChg>
        <pc:spChg chg="del">
          <ac:chgData name="Bullinger, Marvin" userId="5b54ce5a-dc89-476f-af33-5abd75d5b1e8" providerId="ADAL" clId="{265A6489-94A2-4E64-A25F-E64F69B0C2C1}" dt="2024-03-05T20:17:18.357" v="1157" actId="478"/>
          <ac:spMkLst>
            <pc:docMk/>
            <pc:sldMk cId="3574513803" sldId="591"/>
            <ac:spMk id="272" creationId="{05BB78D6-DA64-91BD-CE97-AC4C0AC9DFB7}"/>
          </ac:spMkLst>
        </pc:spChg>
        <pc:spChg chg="add mod">
          <ac:chgData name="Bullinger, Marvin" userId="5b54ce5a-dc89-476f-af33-5abd75d5b1e8" providerId="ADAL" clId="{265A6489-94A2-4E64-A25F-E64F69B0C2C1}" dt="2024-03-05T20:07:14.822" v="574" actId="478"/>
          <ac:spMkLst>
            <pc:docMk/>
            <pc:sldMk cId="3574513803" sldId="591"/>
            <ac:spMk id="273" creationId="{562984BA-FCDA-9C4B-46A4-D608C7B3C838}"/>
          </ac:spMkLst>
        </pc:spChg>
        <pc:spChg chg="del">
          <ac:chgData name="Bullinger, Marvin" userId="5b54ce5a-dc89-476f-af33-5abd75d5b1e8" providerId="ADAL" clId="{265A6489-94A2-4E64-A25F-E64F69B0C2C1}" dt="2024-03-05T20:17:18.356" v="1156" actId="478"/>
          <ac:spMkLst>
            <pc:docMk/>
            <pc:sldMk cId="3574513803" sldId="591"/>
            <ac:spMk id="274" creationId="{0D352ECB-D734-509B-D6F0-D4E4B0671185}"/>
          </ac:spMkLst>
        </pc:spChg>
        <pc:spChg chg="del">
          <ac:chgData name="Bullinger, Marvin" userId="5b54ce5a-dc89-476f-af33-5abd75d5b1e8" providerId="ADAL" clId="{265A6489-94A2-4E64-A25F-E64F69B0C2C1}" dt="2024-03-05T20:07:14.822" v="574" actId="478"/>
          <ac:spMkLst>
            <pc:docMk/>
            <pc:sldMk cId="3574513803" sldId="591"/>
            <ac:spMk id="274" creationId="{83BEA039-D8F9-B9EF-850B-688BFECE6787}"/>
          </ac:spMkLst>
        </pc:spChg>
        <pc:spChg chg="del">
          <ac:chgData name="Bullinger, Marvin" userId="5b54ce5a-dc89-476f-af33-5abd75d5b1e8" providerId="ADAL" clId="{265A6489-94A2-4E64-A25F-E64F69B0C2C1}" dt="2024-03-05T20:17:18.356" v="1155" actId="478"/>
          <ac:spMkLst>
            <pc:docMk/>
            <pc:sldMk cId="3574513803" sldId="591"/>
            <ac:spMk id="275" creationId="{357F8627-8F1D-9BDB-37D0-ED43BEC05700}"/>
          </ac:spMkLst>
        </pc:spChg>
        <pc:spChg chg="del">
          <ac:chgData name="Bullinger, Marvin" userId="5b54ce5a-dc89-476f-af33-5abd75d5b1e8" providerId="ADAL" clId="{265A6489-94A2-4E64-A25F-E64F69B0C2C1}" dt="2024-03-05T20:07:14.821" v="573" actId="478"/>
          <ac:spMkLst>
            <pc:docMk/>
            <pc:sldMk cId="3574513803" sldId="591"/>
            <ac:spMk id="275" creationId="{6D9901DD-E46A-CC8E-AD78-8ABFC334A0D5}"/>
          </ac:spMkLst>
        </pc:spChg>
      </pc:sldChg>
      <pc:sldChg chg="addSp delSp modSp mod">
        <pc:chgData name="Bullinger, Marvin" userId="5b54ce5a-dc89-476f-af33-5abd75d5b1e8" providerId="ADAL" clId="{265A6489-94A2-4E64-A25F-E64F69B0C2C1}" dt="2024-03-06T14:03:18.102" v="5404" actId="20577"/>
        <pc:sldMkLst>
          <pc:docMk/>
          <pc:sldMk cId="4264639648" sldId="595"/>
        </pc:sldMkLst>
        <pc:spChg chg="add mod">
          <ac:chgData name="Bullinger, Marvin" userId="5b54ce5a-dc89-476f-af33-5abd75d5b1e8" providerId="ADAL" clId="{265A6489-94A2-4E64-A25F-E64F69B0C2C1}" dt="2024-03-05T20:07:14.463" v="272" actId="478"/>
          <ac:spMkLst>
            <pc:docMk/>
            <pc:sldMk cId="4264639648" sldId="595"/>
            <ac:spMk id="234" creationId="{103C411E-100A-B3E5-3507-FBAABF9E2559}"/>
          </ac:spMkLst>
        </pc:spChg>
        <pc:spChg chg="add mod">
          <ac:chgData name="Bullinger, Marvin" userId="5b54ce5a-dc89-476f-af33-5abd75d5b1e8" providerId="ADAL" clId="{265A6489-94A2-4E64-A25F-E64F69B0C2C1}" dt="2024-03-05T20:17:17.882" v="801" actId="478"/>
          <ac:spMkLst>
            <pc:docMk/>
            <pc:sldMk cId="4264639648" sldId="595"/>
            <ac:spMk id="234" creationId="{764BE46C-19EA-0DFD-83C0-32DB28BCCB5A}"/>
          </ac:spMkLst>
        </pc:spChg>
        <pc:spChg chg="del mod ord replST">
          <ac:chgData name="Bullinger, Marvin" userId="5b54ce5a-dc89-476f-af33-5abd75d5b1e8" providerId="ADAL" clId="{265A6489-94A2-4E64-A25F-E64F69B0C2C1}" dt="2024-03-05T20:17:17.882" v="801" actId="478"/>
          <ac:spMkLst>
            <pc:docMk/>
            <pc:sldMk cId="4264639648" sldId="595"/>
            <ac:spMk id="235" creationId="{CC6A3168-6485-FE82-B6C9-AD1DB7842FE2}"/>
          </ac:spMkLst>
        </pc:spChg>
        <pc:spChg chg="del">
          <ac:chgData name="Bullinger, Marvin" userId="5b54ce5a-dc89-476f-af33-5abd75d5b1e8" providerId="ADAL" clId="{265A6489-94A2-4E64-A25F-E64F69B0C2C1}" dt="2024-03-05T20:07:14.463" v="272" actId="478"/>
          <ac:spMkLst>
            <pc:docMk/>
            <pc:sldMk cId="4264639648" sldId="595"/>
            <ac:spMk id="236" creationId="{2B4E7D65-769E-F27A-51F0-89AF517EFA47}"/>
          </ac:spMkLst>
        </pc:spChg>
        <pc:spChg chg="del mod ord replST">
          <ac:chgData name="Bullinger, Marvin" userId="5b54ce5a-dc89-476f-af33-5abd75d5b1e8" providerId="ADAL" clId="{265A6489-94A2-4E64-A25F-E64F69B0C2C1}" dt="2024-03-05T22:19:10.268" v="4511" actId="478"/>
          <ac:spMkLst>
            <pc:docMk/>
            <pc:sldMk cId="4264639648" sldId="595"/>
            <ac:spMk id="236" creationId="{5BD9AC92-2C69-A6BB-4998-BB6E0FBBCC46}"/>
          </ac:spMkLst>
        </pc:spChg>
        <pc:spChg chg="del">
          <ac:chgData name="Bullinger, Marvin" userId="5b54ce5a-dc89-476f-af33-5abd75d5b1e8" providerId="ADAL" clId="{265A6489-94A2-4E64-A25F-E64F69B0C2C1}" dt="2024-03-05T20:07:14.486" v="308" actId="478"/>
          <ac:spMkLst>
            <pc:docMk/>
            <pc:sldMk cId="4264639648" sldId="595"/>
            <ac:spMk id="237" creationId="{1C612E17-297C-21AA-77B8-A69A8A4ED814}"/>
          </ac:spMkLst>
        </pc:spChg>
        <pc:spChg chg="del">
          <ac:chgData name="Bullinger, Marvin" userId="5b54ce5a-dc89-476f-af33-5abd75d5b1e8" providerId="ADAL" clId="{265A6489-94A2-4E64-A25F-E64F69B0C2C1}" dt="2024-03-05T20:17:17.904" v="835" actId="478"/>
          <ac:spMkLst>
            <pc:docMk/>
            <pc:sldMk cId="4264639648" sldId="595"/>
            <ac:spMk id="237" creationId="{4C982FAF-66D5-D42D-84E3-F1F4CAB204E0}"/>
          </ac:spMkLst>
        </pc:spChg>
        <pc:spChg chg="del">
          <ac:chgData name="Bullinger, Marvin" userId="5b54ce5a-dc89-476f-af33-5abd75d5b1e8" providerId="ADAL" clId="{265A6489-94A2-4E64-A25F-E64F69B0C2C1}" dt="2024-03-05T20:17:17.903" v="834" actId="478"/>
          <ac:spMkLst>
            <pc:docMk/>
            <pc:sldMk cId="4264639648" sldId="595"/>
            <ac:spMk id="238" creationId="{058B9184-38CF-D138-4B25-77B42A68A582}"/>
          </ac:spMkLst>
        </pc:spChg>
        <pc:spChg chg="del">
          <ac:chgData name="Bullinger, Marvin" userId="5b54ce5a-dc89-476f-af33-5abd75d5b1e8" providerId="ADAL" clId="{265A6489-94A2-4E64-A25F-E64F69B0C2C1}" dt="2024-03-05T20:07:14.486" v="307" actId="478"/>
          <ac:spMkLst>
            <pc:docMk/>
            <pc:sldMk cId="4264639648" sldId="595"/>
            <ac:spMk id="238" creationId="{FCF45A53-F6C7-2754-9602-C57B19FE6B73}"/>
          </ac:spMkLst>
        </pc:spChg>
        <pc:spChg chg="del">
          <ac:chgData name="Bullinger, Marvin" userId="5b54ce5a-dc89-476f-af33-5abd75d5b1e8" providerId="ADAL" clId="{265A6489-94A2-4E64-A25F-E64F69B0C2C1}" dt="2024-03-05T20:17:17.903" v="833" actId="478"/>
          <ac:spMkLst>
            <pc:docMk/>
            <pc:sldMk cId="4264639648" sldId="595"/>
            <ac:spMk id="239" creationId="{52D8DE6F-CEF7-6FC6-E372-77082D2C36AF}"/>
          </ac:spMkLst>
        </pc:spChg>
        <pc:spChg chg="del">
          <ac:chgData name="Bullinger, Marvin" userId="5b54ce5a-dc89-476f-af33-5abd75d5b1e8" providerId="ADAL" clId="{265A6489-94A2-4E64-A25F-E64F69B0C2C1}" dt="2024-03-05T20:07:14.485" v="306" actId="478"/>
          <ac:spMkLst>
            <pc:docMk/>
            <pc:sldMk cId="4264639648" sldId="595"/>
            <ac:spMk id="239" creationId="{E5E2DF05-1423-499F-4760-701DB0E09D83}"/>
          </ac:spMkLst>
        </pc:spChg>
        <pc:spChg chg="del">
          <ac:chgData name="Bullinger, Marvin" userId="5b54ce5a-dc89-476f-af33-5abd75d5b1e8" providerId="ADAL" clId="{265A6489-94A2-4E64-A25F-E64F69B0C2C1}" dt="2024-03-05T20:07:14.485" v="305" actId="478"/>
          <ac:spMkLst>
            <pc:docMk/>
            <pc:sldMk cId="4264639648" sldId="595"/>
            <ac:spMk id="240" creationId="{13FBA35B-2285-A2D8-E1B9-4C09FC995E15}"/>
          </ac:spMkLst>
        </pc:spChg>
        <pc:spChg chg="del">
          <ac:chgData name="Bullinger, Marvin" userId="5b54ce5a-dc89-476f-af33-5abd75d5b1e8" providerId="ADAL" clId="{265A6489-94A2-4E64-A25F-E64F69B0C2C1}" dt="2024-03-05T20:17:17.903" v="832" actId="478"/>
          <ac:spMkLst>
            <pc:docMk/>
            <pc:sldMk cId="4264639648" sldId="595"/>
            <ac:spMk id="240" creationId="{32F92B68-AA9D-F424-A7AE-815D2FDA69B1}"/>
          </ac:spMkLst>
        </pc:spChg>
        <pc:spChg chg="del">
          <ac:chgData name="Bullinger, Marvin" userId="5b54ce5a-dc89-476f-af33-5abd75d5b1e8" providerId="ADAL" clId="{265A6489-94A2-4E64-A25F-E64F69B0C2C1}" dt="2024-03-05T20:17:17.902" v="831" actId="478"/>
          <ac:spMkLst>
            <pc:docMk/>
            <pc:sldMk cId="4264639648" sldId="595"/>
            <ac:spMk id="241" creationId="{60AE780B-EFF3-051C-45FB-24C5E6FDC996}"/>
          </ac:spMkLst>
        </pc:spChg>
        <pc:spChg chg="del">
          <ac:chgData name="Bullinger, Marvin" userId="5b54ce5a-dc89-476f-af33-5abd75d5b1e8" providerId="ADAL" clId="{265A6489-94A2-4E64-A25F-E64F69B0C2C1}" dt="2024-03-05T20:07:14.485" v="304" actId="478"/>
          <ac:spMkLst>
            <pc:docMk/>
            <pc:sldMk cId="4264639648" sldId="595"/>
            <ac:spMk id="241" creationId="{9991FA30-A62D-051F-253D-48C608CAF453}"/>
          </ac:spMkLst>
        </pc:spChg>
        <pc:spChg chg="del">
          <ac:chgData name="Bullinger, Marvin" userId="5b54ce5a-dc89-476f-af33-5abd75d5b1e8" providerId="ADAL" clId="{265A6489-94A2-4E64-A25F-E64F69B0C2C1}" dt="2024-03-05T20:17:17.902" v="830" actId="478"/>
          <ac:spMkLst>
            <pc:docMk/>
            <pc:sldMk cId="4264639648" sldId="595"/>
            <ac:spMk id="242" creationId="{35F48A56-9685-75F3-22BC-A33F173E4D09}"/>
          </ac:spMkLst>
        </pc:spChg>
        <pc:spChg chg="del">
          <ac:chgData name="Bullinger, Marvin" userId="5b54ce5a-dc89-476f-af33-5abd75d5b1e8" providerId="ADAL" clId="{265A6489-94A2-4E64-A25F-E64F69B0C2C1}" dt="2024-03-05T20:07:14.484" v="303" actId="478"/>
          <ac:spMkLst>
            <pc:docMk/>
            <pc:sldMk cId="4264639648" sldId="595"/>
            <ac:spMk id="242" creationId="{91842648-5E64-9460-85FB-369A2DB9CD2E}"/>
          </ac:spMkLst>
        </pc:spChg>
        <pc:spChg chg="del">
          <ac:chgData name="Bullinger, Marvin" userId="5b54ce5a-dc89-476f-af33-5abd75d5b1e8" providerId="ADAL" clId="{265A6489-94A2-4E64-A25F-E64F69B0C2C1}" dt="2024-03-05T20:17:17.901" v="827" actId="478"/>
          <ac:spMkLst>
            <pc:docMk/>
            <pc:sldMk cId="4264639648" sldId="595"/>
            <ac:spMk id="243" creationId="{170B3A91-01D6-B0E8-5C68-0FDABA3588FA}"/>
          </ac:spMkLst>
        </pc:spChg>
        <pc:spChg chg="del">
          <ac:chgData name="Bullinger, Marvin" userId="5b54ce5a-dc89-476f-af33-5abd75d5b1e8" providerId="ADAL" clId="{265A6489-94A2-4E64-A25F-E64F69B0C2C1}" dt="2024-03-05T20:07:14.483" v="300" actId="478"/>
          <ac:spMkLst>
            <pc:docMk/>
            <pc:sldMk cId="4264639648" sldId="595"/>
            <ac:spMk id="243" creationId="{D8DAD141-41F3-0F42-0ED6-8675CA883E69}"/>
          </ac:spMkLst>
        </pc:spChg>
        <pc:spChg chg="del">
          <ac:chgData name="Bullinger, Marvin" userId="5b54ce5a-dc89-476f-af33-5abd75d5b1e8" providerId="ADAL" clId="{265A6489-94A2-4E64-A25F-E64F69B0C2C1}" dt="2024-03-05T20:17:17.901" v="826" actId="478"/>
          <ac:spMkLst>
            <pc:docMk/>
            <pc:sldMk cId="4264639648" sldId="595"/>
            <ac:spMk id="244" creationId="{17463920-6C20-88CD-8A39-58FDE92C9847}"/>
          </ac:spMkLst>
        </pc:spChg>
        <pc:spChg chg="del">
          <ac:chgData name="Bullinger, Marvin" userId="5b54ce5a-dc89-476f-af33-5abd75d5b1e8" providerId="ADAL" clId="{265A6489-94A2-4E64-A25F-E64F69B0C2C1}" dt="2024-03-05T20:07:14.483" v="299" actId="478"/>
          <ac:spMkLst>
            <pc:docMk/>
            <pc:sldMk cId="4264639648" sldId="595"/>
            <ac:spMk id="244" creationId="{2A770EDE-3B06-AEAF-6BED-37502D53DBBF}"/>
          </ac:spMkLst>
        </pc:spChg>
        <pc:spChg chg="del">
          <ac:chgData name="Bullinger, Marvin" userId="5b54ce5a-dc89-476f-af33-5abd75d5b1e8" providerId="ADAL" clId="{265A6489-94A2-4E64-A25F-E64F69B0C2C1}" dt="2024-03-05T20:07:14.483" v="298" actId="478"/>
          <ac:spMkLst>
            <pc:docMk/>
            <pc:sldMk cId="4264639648" sldId="595"/>
            <ac:spMk id="245" creationId="{5605B9EF-4202-E03D-F656-A87827E37DC4}"/>
          </ac:spMkLst>
        </pc:spChg>
        <pc:spChg chg="del">
          <ac:chgData name="Bullinger, Marvin" userId="5b54ce5a-dc89-476f-af33-5abd75d5b1e8" providerId="ADAL" clId="{265A6489-94A2-4E64-A25F-E64F69B0C2C1}" dt="2024-03-05T20:17:17.900" v="825" actId="478"/>
          <ac:spMkLst>
            <pc:docMk/>
            <pc:sldMk cId="4264639648" sldId="595"/>
            <ac:spMk id="245" creationId="{C00D4C6A-CBC7-50B2-249D-2BAD26280E7B}"/>
          </ac:spMkLst>
        </pc:spChg>
        <pc:spChg chg="del">
          <ac:chgData name="Bullinger, Marvin" userId="5b54ce5a-dc89-476f-af33-5abd75d5b1e8" providerId="ADAL" clId="{265A6489-94A2-4E64-A25F-E64F69B0C2C1}" dt="2024-03-05T20:07:14.482" v="297" actId="478"/>
          <ac:spMkLst>
            <pc:docMk/>
            <pc:sldMk cId="4264639648" sldId="595"/>
            <ac:spMk id="246" creationId="{5C56C488-6931-5858-E442-68824C9A7891}"/>
          </ac:spMkLst>
        </pc:spChg>
        <pc:spChg chg="del">
          <ac:chgData name="Bullinger, Marvin" userId="5b54ce5a-dc89-476f-af33-5abd75d5b1e8" providerId="ADAL" clId="{265A6489-94A2-4E64-A25F-E64F69B0C2C1}" dt="2024-03-05T20:17:17.900" v="824" actId="478"/>
          <ac:spMkLst>
            <pc:docMk/>
            <pc:sldMk cId="4264639648" sldId="595"/>
            <ac:spMk id="246" creationId="{AD2A9296-570A-9686-2633-AF0391DF1996}"/>
          </ac:spMkLst>
        </pc:spChg>
        <pc:spChg chg="del">
          <ac:chgData name="Bullinger, Marvin" userId="5b54ce5a-dc89-476f-af33-5abd75d5b1e8" providerId="ADAL" clId="{265A6489-94A2-4E64-A25F-E64F69B0C2C1}" dt="2024-03-05T20:07:14.482" v="296" actId="478"/>
          <ac:spMkLst>
            <pc:docMk/>
            <pc:sldMk cId="4264639648" sldId="595"/>
            <ac:spMk id="247" creationId="{06E05A64-B297-1D04-3DEC-588A353D3F5C}"/>
          </ac:spMkLst>
        </pc:spChg>
        <pc:spChg chg="del">
          <ac:chgData name="Bullinger, Marvin" userId="5b54ce5a-dc89-476f-af33-5abd75d5b1e8" providerId="ADAL" clId="{265A6489-94A2-4E64-A25F-E64F69B0C2C1}" dt="2024-03-05T20:17:17.899" v="823" actId="478"/>
          <ac:spMkLst>
            <pc:docMk/>
            <pc:sldMk cId="4264639648" sldId="595"/>
            <ac:spMk id="247" creationId="{FEF20036-E44C-C2ED-D168-F5652296DF8E}"/>
          </ac:spMkLst>
        </pc:spChg>
        <pc:spChg chg="del">
          <ac:chgData name="Bullinger, Marvin" userId="5b54ce5a-dc89-476f-af33-5abd75d5b1e8" providerId="ADAL" clId="{265A6489-94A2-4E64-A25F-E64F69B0C2C1}" dt="2024-03-05T20:17:17.899" v="822" actId="478"/>
          <ac:spMkLst>
            <pc:docMk/>
            <pc:sldMk cId="4264639648" sldId="595"/>
            <ac:spMk id="248" creationId="{08DB7CCB-E722-6C91-A301-ABEE3A052555}"/>
          </ac:spMkLst>
        </pc:spChg>
        <pc:spChg chg="del">
          <ac:chgData name="Bullinger, Marvin" userId="5b54ce5a-dc89-476f-af33-5abd75d5b1e8" providerId="ADAL" clId="{265A6489-94A2-4E64-A25F-E64F69B0C2C1}" dt="2024-03-05T20:07:14.481" v="295" actId="478"/>
          <ac:spMkLst>
            <pc:docMk/>
            <pc:sldMk cId="4264639648" sldId="595"/>
            <ac:spMk id="248" creationId="{D22B10CE-8826-D4F1-40B7-451DD957F4F4}"/>
          </ac:spMkLst>
        </pc:spChg>
        <pc:spChg chg="del">
          <ac:chgData name="Bullinger, Marvin" userId="5b54ce5a-dc89-476f-af33-5abd75d5b1e8" providerId="ADAL" clId="{265A6489-94A2-4E64-A25F-E64F69B0C2C1}" dt="2024-03-05T20:07:14.489" v="316" actId="478"/>
          <ac:spMkLst>
            <pc:docMk/>
            <pc:sldMk cId="4264639648" sldId="595"/>
            <ac:spMk id="249" creationId="{0C9C62A4-7ED2-BCE1-CC2E-8AB094D468F5}"/>
          </ac:spMkLst>
        </pc:spChg>
        <pc:spChg chg="del">
          <ac:chgData name="Bullinger, Marvin" userId="5b54ce5a-dc89-476f-af33-5abd75d5b1e8" providerId="ADAL" clId="{265A6489-94A2-4E64-A25F-E64F69B0C2C1}" dt="2024-03-05T20:17:17.907" v="843" actId="478"/>
          <ac:spMkLst>
            <pc:docMk/>
            <pc:sldMk cId="4264639648" sldId="595"/>
            <ac:spMk id="249" creationId="{57A2EBEF-5B14-86C7-434E-D00067F8A09D}"/>
          </ac:spMkLst>
        </pc:spChg>
        <pc:spChg chg="del">
          <ac:chgData name="Bullinger, Marvin" userId="5b54ce5a-dc89-476f-af33-5abd75d5b1e8" providerId="ADAL" clId="{265A6489-94A2-4E64-A25F-E64F69B0C2C1}" dt="2024-03-05T20:17:17.906" v="842" actId="478"/>
          <ac:spMkLst>
            <pc:docMk/>
            <pc:sldMk cId="4264639648" sldId="595"/>
            <ac:spMk id="250" creationId="{264B81D2-9E6C-BDD7-0141-8EF3FD4CD1FB}"/>
          </ac:spMkLst>
        </pc:spChg>
        <pc:spChg chg="del">
          <ac:chgData name="Bullinger, Marvin" userId="5b54ce5a-dc89-476f-af33-5abd75d5b1e8" providerId="ADAL" clId="{265A6489-94A2-4E64-A25F-E64F69B0C2C1}" dt="2024-03-05T20:07:14.489" v="315" actId="478"/>
          <ac:spMkLst>
            <pc:docMk/>
            <pc:sldMk cId="4264639648" sldId="595"/>
            <ac:spMk id="250" creationId="{CB1EED0F-6BCC-39DD-46C5-A7A77F1C756C}"/>
          </ac:spMkLst>
        </pc:spChg>
        <pc:spChg chg="del">
          <ac:chgData name="Bullinger, Marvin" userId="5b54ce5a-dc89-476f-af33-5abd75d5b1e8" providerId="ADAL" clId="{265A6489-94A2-4E64-A25F-E64F69B0C2C1}" dt="2024-03-05T20:17:17.906" v="841" actId="478"/>
          <ac:spMkLst>
            <pc:docMk/>
            <pc:sldMk cId="4264639648" sldId="595"/>
            <ac:spMk id="251" creationId="{12E84B25-4E4D-0713-0C48-366A987E339C}"/>
          </ac:spMkLst>
        </pc:spChg>
        <pc:spChg chg="del">
          <ac:chgData name="Bullinger, Marvin" userId="5b54ce5a-dc89-476f-af33-5abd75d5b1e8" providerId="ADAL" clId="{265A6489-94A2-4E64-A25F-E64F69B0C2C1}" dt="2024-03-05T20:07:14.488" v="314" actId="478"/>
          <ac:spMkLst>
            <pc:docMk/>
            <pc:sldMk cId="4264639648" sldId="595"/>
            <ac:spMk id="251" creationId="{617B7CBB-D72C-9E8F-7592-6D1D75E69566}"/>
          </ac:spMkLst>
        </pc:spChg>
        <pc:spChg chg="del">
          <ac:chgData name="Bullinger, Marvin" userId="5b54ce5a-dc89-476f-af33-5abd75d5b1e8" providerId="ADAL" clId="{265A6489-94A2-4E64-A25F-E64F69B0C2C1}" dt="2024-03-05T20:07:14.488" v="313" actId="478"/>
          <ac:spMkLst>
            <pc:docMk/>
            <pc:sldMk cId="4264639648" sldId="595"/>
            <ac:spMk id="252" creationId="{166F8E25-88B8-394C-2FE2-FE76FEC4F955}"/>
          </ac:spMkLst>
        </pc:spChg>
        <pc:spChg chg="del">
          <ac:chgData name="Bullinger, Marvin" userId="5b54ce5a-dc89-476f-af33-5abd75d5b1e8" providerId="ADAL" clId="{265A6489-94A2-4E64-A25F-E64F69B0C2C1}" dt="2024-03-05T20:17:17.906" v="840" actId="478"/>
          <ac:spMkLst>
            <pc:docMk/>
            <pc:sldMk cId="4264639648" sldId="595"/>
            <ac:spMk id="252" creationId="{E7629E19-D52E-6004-153E-C431755FDCE9}"/>
          </ac:spMkLst>
        </pc:spChg>
        <pc:spChg chg="del">
          <ac:chgData name="Bullinger, Marvin" userId="5b54ce5a-dc89-476f-af33-5abd75d5b1e8" providerId="ADAL" clId="{265A6489-94A2-4E64-A25F-E64F69B0C2C1}" dt="2024-03-05T20:07:14.487" v="312" actId="478"/>
          <ac:spMkLst>
            <pc:docMk/>
            <pc:sldMk cId="4264639648" sldId="595"/>
            <ac:spMk id="253" creationId="{23C5EA5D-DC6A-C8DF-198B-FA9616CB2F22}"/>
          </ac:spMkLst>
        </pc:spChg>
        <pc:spChg chg="del">
          <ac:chgData name="Bullinger, Marvin" userId="5b54ce5a-dc89-476f-af33-5abd75d5b1e8" providerId="ADAL" clId="{265A6489-94A2-4E64-A25F-E64F69B0C2C1}" dt="2024-03-05T20:17:17.905" v="839" actId="478"/>
          <ac:spMkLst>
            <pc:docMk/>
            <pc:sldMk cId="4264639648" sldId="595"/>
            <ac:spMk id="253" creationId="{A98297F0-99C8-B6A5-31BA-BE054FB57193}"/>
          </ac:spMkLst>
        </pc:spChg>
        <pc:spChg chg="del">
          <ac:chgData name="Bullinger, Marvin" userId="5b54ce5a-dc89-476f-af33-5abd75d5b1e8" providerId="ADAL" clId="{265A6489-94A2-4E64-A25F-E64F69B0C2C1}" dt="2024-03-05T20:07:14.487" v="311" actId="478"/>
          <ac:spMkLst>
            <pc:docMk/>
            <pc:sldMk cId="4264639648" sldId="595"/>
            <ac:spMk id="254" creationId="{B473F2AF-E5B8-CEAA-FB59-C90B9A6B57A1}"/>
          </ac:spMkLst>
        </pc:spChg>
        <pc:spChg chg="del">
          <ac:chgData name="Bullinger, Marvin" userId="5b54ce5a-dc89-476f-af33-5abd75d5b1e8" providerId="ADAL" clId="{265A6489-94A2-4E64-A25F-E64F69B0C2C1}" dt="2024-03-05T20:17:17.905" v="838" actId="478"/>
          <ac:spMkLst>
            <pc:docMk/>
            <pc:sldMk cId="4264639648" sldId="595"/>
            <ac:spMk id="254" creationId="{D6A4713C-6399-9FDF-A453-15FD7DAC8772}"/>
          </ac:spMkLst>
        </pc:spChg>
        <pc:spChg chg="del">
          <ac:chgData name="Bullinger, Marvin" userId="5b54ce5a-dc89-476f-af33-5abd75d5b1e8" providerId="ADAL" clId="{265A6489-94A2-4E64-A25F-E64F69B0C2C1}" dt="2024-03-05T20:17:17.904" v="837" actId="478"/>
          <ac:spMkLst>
            <pc:docMk/>
            <pc:sldMk cId="4264639648" sldId="595"/>
            <ac:spMk id="255" creationId="{38FD3A8D-C9E6-7B8B-2741-39422005C2E4}"/>
          </ac:spMkLst>
        </pc:spChg>
        <pc:spChg chg="del">
          <ac:chgData name="Bullinger, Marvin" userId="5b54ce5a-dc89-476f-af33-5abd75d5b1e8" providerId="ADAL" clId="{265A6489-94A2-4E64-A25F-E64F69B0C2C1}" dt="2024-03-05T20:07:14.487" v="310" actId="478"/>
          <ac:spMkLst>
            <pc:docMk/>
            <pc:sldMk cId="4264639648" sldId="595"/>
            <ac:spMk id="255" creationId="{68921F1F-8D17-C5EA-3DD1-532536AAB643}"/>
          </ac:spMkLst>
        </pc:spChg>
        <pc:spChg chg="del">
          <ac:chgData name="Bullinger, Marvin" userId="5b54ce5a-dc89-476f-af33-5abd75d5b1e8" providerId="ADAL" clId="{265A6489-94A2-4E64-A25F-E64F69B0C2C1}" dt="2024-03-05T20:07:14.486" v="309" actId="478"/>
          <ac:spMkLst>
            <pc:docMk/>
            <pc:sldMk cId="4264639648" sldId="595"/>
            <ac:spMk id="256" creationId="{C51BA277-06AB-209D-4BAD-4FA7D758DEBD}"/>
          </ac:spMkLst>
        </pc:spChg>
        <pc:spChg chg="del">
          <ac:chgData name="Bullinger, Marvin" userId="5b54ce5a-dc89-476f-af33-5abd75d5b1e8" providerId="ADAL" clId="{265A6489-94A2-4E64-A25F-E64F69B0C2C1}" dt="2024-03-05T20:07:14.484" v="301" actId="478"/>
          <ac:spMkLst>
            <pc:docMk/>
            <pc:sldMk cId="4264639648" sldId="595"/>
            <ac:spMk id="257" creationId="{42ABFC73-59E8-EDA4-41F3-FE91AEA9BD59}"/>
          </ac:spMkLst>
        </pc:spChg>
        <pc:spChg chg="del">
          <ac:chgData name="Bullinger, Marvin" userId="5b54ce5a-dc89-476f-af33-5abd75d5b1e8" providerId="ADAL" clId="{265A6489-94A2-4E64-A25F-E64F69B0C2C1}" dt="2024-03-05T20:07:14.481" v="294" actId="478"/>
          <ac:spMkLst>
            <pc:docMk/>
            <pc:sldMk cId="4264639648" sldId="595"/>
            <ac:spMk id="258" creationId="{6D113C27-B9CD-4F71-AD70-07EC7EC0D2CE}"/>
          </ac:spMkLst>
        </pc:spChg>
        <pc:spChg chg="del">
          <ac:chgData name="Bullinger, Marvin" userId="5b54ce5a-dc89-476f-af33-5abd75d5b1e8" providerId="ADAL" clId="{265A6489-94A2-4E64-A25F-E64F69B0C2C1}" dt="2024-03-05T20:07:14.484" v="302" actId="478"/>
          <ac:spMkLst>
            <pc:docMk/>
            <pc:sldMk cId="4264639648" sldId="595"/>
            <ac:spMk id="259" creationId="{FFF1C419-9356-98E2-EF78-693DC931B50C}"/>
          </ac:spMkLst>
        </pc:spChg>
        <pc:spChg chg="del">
          <ac:chgData name="Bullinger, Marvin" userId="5b54ce5a-dc89-476f-af33-5abd75d5b1e8" providerId="ADAL" clId="{265A6489-94A2-4E64-A25F-E64F69B0C2C1}" dt="2024-03-05T20:07:14.481" v="293" actId="478"/>
          <ac:spMkLst>
            <pc:docMk/>
            <pc:sldMk cId="4264639648" sldId="595"/>
            <ac:spMk id="260" creationId="{4A98FF88-701F-F63D-AF87-F76CB06B06CE}"/>
          </ac:spMkLst>
        </pc:spChg>
        <pc:spChg chg="del">
          <ac:chgData name="Bullinger, Marvin" userId="5b54ce5a-dc89-476f-af33-5abd75d5b1e8" providerId="ADAL" clId="{265A6489-94A2-4E64-A25F-E64F69B0C2C1}" dt="2024-03-05T20:07:14.480" v="292" actId="478"/>
          <ac:spMkLst>
            <pc:docMk/>
            <pc:sldMk cId="4264639648" sldId="595"/>
            <ac:spMk id="261" creationId="{61414EBF-3416-E363-3353-9BE839D6470C}"/>
          </ac:spMkLst>
        </pc:spChg>
        <pc:spChg chg="del">
          <ac:chgData name="Bullinger, Marvin" userId="5b54ce5a-dc89-476f-af33-5abd75d5b1e8" providerId="ADAL" clId="{265A6489-94A2-4E64-A25F-E64F69B0C2C1}" dt="2024-03-05T20:07:14.480" v="291" actId="478"/>
          <ac:spMkLst>
            <pc:docMk/>
            <pc:sldMk cId="4264639648" sldId="595"/>
            <ac:spMk id="262" creationId="{9C6B5E74-D2FF-D9C1-8F08-7F3B12EE5F55}"/>
          </ac:spMkLst>
        </pc:spChg>
        <pc:spChg chg="del">
          <ac:chgData name="Bullinger, Marvin" userId="5b54ce5a-dc89-476f-af33-5abd75d5b1e8" providerId="ADAL" clId="{265A6489-94A2-4E64-A25F-E64F69B0C2C1}" dt="2024-03-05T20:07:14.480" v="290" actId="478"/>
          <ac:spMkLst>
            <pc:docMk/>
            <pc:sldMk cId="4264639648" sldId="595"/>
            <ac:spMk id="263" creationId="{FF53A0D5-2F0B-DEE7-1752-B87CEAB3DC22}"/>
          </ac:spMkLst>
        </pc:spChg>
        <pc:spChg chg="del">
          <ac:chgData name="Bullinger, Marvin" userId="5b54ce5a-dc89-476f-af33-5abd75d5b1e8" providerId="ADAL" clId="{265A6489-94A2-4E64-A25F-E64F69B0C2C1}" dt="2024-03-05T20:07:14.465" v="275" actId="478"/>
          <ac:spMkLst>
            <pc:docMk/>
            <pc:sldMk cId="4264639648" sldId="595"/>
            <ac:spMk id="272" creationId="{7ECC14A2-B1BB-D4FE-72DB-98481F4195EA}"/>
          </ac:spMkLst>
        </pc:spChg>
        <pc:spChg chg="del">
          <ac:chgData name="Bullinger, Marvin" userId="5b54ce5a-dc89-476f-af33-5abd75d5b1e8" providerId="ADAL" clId="{265A6489-94A2-4E64-A25F-E64F69B0C2C1}" dt="2024-03-05T20:07:14.479" v="289" actId="478"/>
          <ac:spMkLst>
            <pc:docMk/>
            <pc:sldMk cId="4264639648" sldId="595"/>
            <ac:spMk id="283" creationId="{F8F21A72-0D08-9DF1-F105-19176E90445C}"/>
          </ac:spMkLst>
        </pc:spChg>
        <pc:spChg chg="del">
          <ac:chgData name="Bullinger, Marvin" userId="5b54ce5a-dc89-476f-af33-5abd75d5b1e8" providerId="ADAL" clId="{265A6489-94A2-4E64-A25F-E64F69B0C2C1}" dt="2024-03-05T20:07:14.479" v="288" actId="478"/>
          <ac:spMkLst>
            <pc:docMk/>
            <pc:sldMk cId="4264639648" sldId="595"/>
            <ac:spMk id="284" creationId="{506C52CF-BD3F-B397-CAB6-5A65E03D6E86}"/>
          </ac:spMkLst>
        </pc:spChg>
        <pc:spChg chg="del">
          <ac:chgData name="Bullinger, Marvin" userId="5b54ce5a-dc89-476f-af33-5abd75d5b1e8" providerId="ADAL" clId="{265A6489-94A2-4E64-A25F-E64F69B0C2C1}" dt="2024-03-05T20:07:14.479" v="287" actId="478"/>
          <ac:spMkLst>
            <pc:docMk/>
            <pc:sldMk cId="4264639648" sldId="595"/>
            <ac:spMk id="285" creationId="{5A469A7C-5CE2-D8C3-2EE7-2A09380623FE}"/>
          </ac:spMkLst>
        </pc:spChg>
        <pc:spChg chg="del">
          <ac:chgData name="Bullinger, Marvin" userId="5b54ce5a-dc89-476f-af33-5abd75d5b1e8" providerId="ADAL" clId="{265A6489-94A2-4E64-A25F-E64F69B0C2C1}" dt="2024-03-05T20:07:14.478" v="286" actId="478"/>
          <ac:spMkLst>
            <pc:docMk/>
            <pc:sldMk cId="4264639648" sldId="595"/>
            <ac:spMk id="286" creationId="{7528C237-11F3-9E5D-DED9-08EC10BCE890}"/>
          </ac:spMkLst>
        </pc:spChg>
        <pc:spChg chg="del">
          <ac:chgData name="Bullinger, Marvin" userId="5b54ce5a-dc89-476f-af33-5abd75d5b1e8" providerId="ADAL" clId="{265A6489-94A2-4E64-A25F-E64F69B0C2C1}" dt="2024-03-05T20:07:14.478" v="285" actId="478"/>
          <ac:spMkLst>
            <pc:docMk/>
            <pc:sldMk cId="4264639648" sldId="595"/>
            <ac:spMk id="287" creationId="{1B425251-7790-041E-8463-E343CD7C97CD}"/>
          </ac:spMkLst>
        </pc:spChg>
        <pc:spChg chg="del">
          <ac:chgData name="Bullinger, Marvin" userId="5b54ce5a-dc89-476f-af33-5abd75d5b1e8" providerId="ADAL" clId="{265A6489-94A2-4E64-A25F-E64F69B0C2C1}" dt="2024-03-05T20:07:14.477" v="284" actId="478"/>
          <ac:spMkLst>
            <pc:docMk/>
            <pc:sldMk cId="4264639648" sldId="595"/>
            <ac:spMk id="288" creationId="{1F08FA7B-D7CD-6E04-5C7B-169042EAC7E5}"/>
          </ac:spMkLst>
        </pc:spChg>
        <pc:spChg chg="del">
          <ac:chgData name="Bullinger, Marvin" userId="5b54ce5a-dc89-476f-af33-5abd75d5b1e8" providerId="ADAL" clId="{265A6489-94A2-4E64-A25F-E64F69B0C2C1}" dt="2024-03-05T20:17:17.904" v="836" actId="478"/>
          <ac:spMkLst>
            <pc:docMk/>
            <pc:sldMk cId="4264639648" sldId="595"/>
            <ac:spMk id="288" creationId="{B78DB144-FB8F-B822-6F39-491ABF3ED077}"/>
          </ac:spMkLst>
        </pc:spChg>
        <pc:spChg chg="del">
          <ac:chgData name="Bullinger, Marvin" userId="5b54ce5a-dc89-476f-af33-5abd75d5b1e8" providerId="ADAL" clId="{265A6489-94A2-4E64-A25F-E64F69B0C2C1}" dt="2024-03-05T20:07:14.477" v="283" actId="478"/>
          <ac:spMkLst>
            <pc:docMk/>
            <pc:sldMk cId="4264639648" sldId="595"/>
            <ac:spMk id="289" creationId="{00427644-0B69-DBFE-D915-CBED2B23A4CC}"/>
          </ac:spMkLst>
        </pc:spChg>
        <pc:spChg chg="del">
          <ac:chgData name="Bullinger, Marvin" userId="5b54ce5a-dc89-476f-af33-5abd75d5b1e8" providerId="ADAL" clId="{265A6489-94A2-4E64-A25F-E64F69B0C2C1}" dt="2024-03-05T20:17:17.901" v="828" actId="478"/>
          <ac:spMkLst>
            <pc:docMk/>
            <pc:sldMk cId="4264639648" sldId="595"/>
            <ac:spMk id="289" creationId="{92BD0451-FE9E-9EAC-710A-DA585ADF7049}"/>
          </ac:spMkLst>
        </pc:spChg>
        <pc:spChg chg="del">
          <ac:chgData name="Bullinger, Marvin" userId="5b54ce5a-dc89-476f-af33-5abd75d5b1e8" providerId="ADAL" clId="{265A6489-94A2-4E64-A25F-E64F69B0C2C1}" dt="2024-03-05T20:17:17.899" v="821" actId="478"/>
          <ac:spMkLst>
            <pc:docMk/>
            <pc:sldMk cId="4264639648" sldId="595"/>
            <ac:spMk id="290" creationId="{6110BB22-0614-940B-5475-185EF1581A36}"/>
          </ac:spMkLst>
        </pc:spChg>
        <pc:spChg chg="del">
          <ac:chgData name="Bullinger, Marvin" userId="5b54ce5a-dc89-476f-af33-5abd75d5b1e8" providerId="ADAL" clId="{265A6489-94A2-4E64-A25F-E64F69B0C2C1}" dt="2024-03-05T20:07:14.477" v="282" actId="478"/>
          <ac:spMkLst>
            <pc:docMk/>
            <pc:sldMk cId="4264639648" sldId="595"/>
            <ac:spMk id="290" creationId="{7D25DDC1-46DF-6359-866D-5BD94C4B7757}"/>
          </ac:spMkLst>
        </pc:spChg>
        <pc:spChg chg="del">
          <ac:chgData name="Bullinger, Marvin" userId="5b54ce5a-dc89-476f-af33-5abd75d5b1e8" providerId="ADAL" clId="{265A6489-94A2-4E64-A25F-E64F69B0C2C1}" dt="2024-03-05T20:07:14.476" v="281" actId="478"/>
          <ac:spMkLst>
            <pc:docMk/>
            <pc:sldMk cId="4264639648" sldId="595"/>
            <ac:spMk id="291" creationId="{3B936BF7-BB7D-8F05-EE6B-EBAE785D5BAA}"/>
          </ac:spMkLst>
        </pc:spChg>
        <pc:spChg chg="del">
          <ac:chgData name="Bullinger, Marvin" userId="5b54ce5a-dc89-476f-af33-5abd75d5b1e8" providerId="ADAL" clId="{265A6489-94A2-4E64-A25F-E64F69B0C2C1}" dt="2024-03-05T20:17:17.902" v="829" actId="478"/>
          <ac:spMkLst>
            <pc:docMk/>
            <pc:sldMk cId="4264639648" sldId="595"/>
            <ac:spMk id="291" creationId="{C54DED54-7CA7-A831-DFDF-A80500AD0381}"/>
          </ac:spMkLst>
        </pc:spChg>
        <pc:spChg chg="del">
          <ac:chgData name="Bullinger, Marvin" userId="5b54ce5a-dc89-476f-af33-5abd75d5b1e8" providerId="ADAL" clId="{265A6489-94A2-4E64-A25F-E64F69B0C2C1}" dt="2024-03-05T20:07:14.476" v="280" actId="478"/>
          <ac:spMkLst>
            <pc:docMk/>
            <pc:sldMk cId="4264639648" sldId="595"/>
            <ac:spMk id="292" creationId="{9ADA8711-6A59-4F8C-F9B9-52B48EEA0538}"/>
          </ac:spMkLst>
        </pc:spChg>
        <pc:spChg chg="del">
          <ac:chgData name="Bullinger, Marvin" userId="5b54ce5a-dc89-476f-af33-5abd75d5b1e8" providerId="ADAL" clId="{265A6489-94A2-4E64-A25F-E64F69B0C2C1}" dt="2024-03-05T20:17:17.898" v="820" actId="478"/>
          <ac:spMkLst>
            <pc:docMk/>
            <pc:sldMk cId="4264639648" sldId="595"/>
            <ac:spMk id="292" creationId="{DF72B629-18AE-3EFA-25A8-DEF20575D365}"/>
          </ac:spMkLst>
        </pc:spChg>
        <pc:spChg chg="replST">
          <ac:chgData name="Bullinger, Marvin" userId="5b54ce5a-dc89-476f-af33-5abd75d5b1e8" providerId="ADAL" clId="{265A6489-94A2-4E64-A25F-E64F69B0C2C1}" dt="2024-03-05T20:07:14.714" v="477"/>
          <ac:spMkLst>
            <pc:docMk/>
            <pc:sldMk cId="4264639648" sldId="595"/>
            <ac:spMk id="293" creationId="{91AED29B-2889-CC55-4E29-074242373E7C}"/>
          </ac:spMkLst>
        </pc:spChg>
        <pc:spChg chg="replST">
          <ac:chgData name="Bullinger, Marvin" userId="5b54ce5a-dc89-476f-af33-5abd75d5b1e8" providerId="ADAL" clId="{265A6489-94A2-4E64-A25F-E64F69B0C2C1}" dt="2024-03-05T20:07:14.718" v="480"/>
          <ac:spMkLst>
            <pc:docMk/>
            <pc:sldMk cId="4264639648" sldId="595"/>
            <ac:spMk id="294" creationId="{0252828C-54F3-0304-DBE0-0294A6764964}"/>
          </ac:spMkLst>
        </pc:spChg>
        <pc:spChg chg="replST">
          <ac:chgData name="Bullinger, Marvin" userId="5b54ce5a-dc89-476f-af33-5abd75d5b1e8" providerId="ADAL" clId="{265A6489-94A2-4E64-A25F-E64F69B0C2C1}" dt="2024-03-05T20:07:14.722" v="484"/>
          <ac:spMkLst>
            <pc:docMk/>
            <pc:sldMk cId="4264639648" sldId="595"/>
            <ac:spMk id="296" creationId="{A96B3E93-9B17-58C3-8854-06AC3F758307}"/>
          </ac:spMkLst>
        </pc:spChg>
        <pc:spChg chg="replST">
          <ac:chgData name="Bullinger, Marvin" userId="5b54ce5a-dc89-476f-af33-5abd75d5b1e8" providerId="ADAL" clId="{265A6489-94A2-4E64-A25F-E64F69B0C2C1}" dt="2024-03-05T20:07:14.726" v="487"/>
          <ac:spMkLst>
            <pc:docMk/>
            <pc:sldMk cId="4264639648" sldId="595"/>
            <ac:spMk id="297" creationId="{E65EE55B-D814-4F3A-6C73-3D7E193CA58F}"/>
          </ac:spMkLst>
        </pc:spChg>
        <pc:spChg chg="replST">
          <ac:chgData name="Bullinger, Marvin" userId="5b54ce5a-dc89-476f-af33-5abd75d5b1e8" providerId="ADAL" clId="{265A6489-94A2-4E64-A25F-E64F69B0C2C1}" dt="2024-03-05T20:07:14.730" v="491"/>
          <ac:spMkLst>
            <pc:docMk/>
            <pc:sldMk cId="4264639648" sldId="595"/>
            <ac:spMk id="299" creationId="{186DF02A-FB45-483A-A301-E7829A4072A7}"/>
          </ac:spMkLst>
        </pc:spChg>
        <pc:spChg chg="replST">
          <ac:chgData name="Bullinger, Marvin" userId="5b54ce5a-dc89-476f-af33-5abd75d5b1e8" providerId="ADAL" clId="{265A6489-94A2-4E64-A25F-E64F69B0C2C1}" dt="2024-03-05T20:07:14.733" v="494"/>
          <ac:spMkLst>
            <pc:docMk/>
            <pc:sldMk cId="4264639648" sldId="595"/>
            <ac:spMk id="300" creationId="{7D08F622-4154-9186-4828-77769EB28480}"/>
          </ac:spMkLst>
        </pc:spChg>
        <pc:spChg chg="del ord replST">
          <ac:chgData name="Bullinger, Marvin" userId="5b54ce5a-dc89-476f-af33-5abd75d5b1e8" providerId="ADAL" clId="{265A6489-94A2-4E64-A25F-E64F69B0C2C1}" dt="2024-03-05T20:17:17.885" v="804" actId="478"/>
          <ac:spMkLst>
            <pc:docMk/>
            <pc:sldMk cId="4264639648" sldId="595"/>
            <ac:spMk id="301" creationId="{8B33D843-C5A6-5AE2-2CE1-A2436560DCE4}"/>
          </ac:spMkLst>
        </pc:spChg>
        <pc:spChg chg="replST">
          <ac:chgData name="Bullinger, Marvin" userId="5b54ce5a-dc89-476f-af33-5abd75d5b1e8" providerId="ADAL" clId="{265A6489-94A2-4E64-A25F-E64F69B0C2C1}" dt="2024-03-05T20:07:14.737" v="498"/>
          <ac:spMkLst>
            <pc:docMk/>
            <pc:sldMk cId="4264639648" sldId="595"/>
            <ac:spMk id="302" creationId="{9017EB98-5CF9-8541-7C81-8070C86E236E}"/>
          </ac:spMkLst>
        </pc:spChg>
        <pc:spChg chg="replST">
          <ac:chgData name="Bullinger, Marvin" userId="5b54ce5a-dc89-476f-af33-5abd75d5b1e8" providerId="ADAL" clId="{265A6489-94A2-4E64-A25F-E64F69B0C2C1}" dt="2024-03-05T20:07:14.741" v="501"/>
          <ac:spMkLst>
            <pc:docMk/>
            <pc:sldMk cId="4264639648" sldId="595"/>
            <ac:spMk id="303" creationId="{E0C31320-F289-D60D-BA22-A3B81314F269}"/>
          </ac:spMkLst>
        </pc:spChg>
        <pc:spChg chg="del">
          <ac:chgData name="Bullinger, Marvin" userId="5b54ce5a-dc89-476f-af33-5abd75d5b1e8" providerId="ADAL" clId="{265A6489-94A2-4E64-A25F-E64F69B0C2C1}" dt="2024-03-05T20:17:17.898" v="819" actId="478"/>
          <ac:spMkLst>
            <pc:docMk/>
            <pc:sldMk cId="4264639648" sldId="595"/>
            <ac:spMk id="306" creationId="{C60095D5-ED71-7A5C-7730-CB58226D6643}"/>
          </ac:spMkLst>
        </pc:spChg>
        <pc:spChg chg="del">
          <ac:chgData name="Bullinger, Marvin" userId="5b54ce5a-dc89-476f-af33-5abd75d5b1e8" providerId="ADAL" clId="{265A6489-94A2-4E64-A25F-E64F69B0C2C1}" dt="2024-03-05T20:17:17.898" v="818" actId="478"/>
          <ac:spMkLst>
            <pc:docMk/>
            <pc:sldMk cId="4264639648" sldId="595"/>
            <ac:spMk id="307" creationId="{B5B0C706-65A5-0F36-4E0E-9147EB098F04}"/>
          </ac:spMkLst>
        </pc:spChg>
        <pc:spChg chg="del">
          <ac:chgData name="Bullinger, Marvin" userId="5b54ce5a-dc89-476f-af33-5abd75d5b1e8" providerId="ADAL" clId="{265A6489-94A2-4E64-A25F-E64F69B0C2C1}" dt="2024-03-05T20:17:17.897" v="817" actId="478"/>
          <ac:spMkLst>
            <pc:docMk/>
            <pc:sldMk cId="4264639648" sldId="595"/>
            <ac:spMk id="308" creationId="{05300FB2-0FD6-CCD0-8228-26835A2EC515}"/>
          </ac:spMkLst>
        </pc:spChg>
        <pc:spChg chg="del">
          <ac:chgData name="Bullinger, Marvin" userId="5b54ce5a-dc89-476f-af33-5abd75d5b1e8" providerId="ADAL" clId="{265A6489-94A2-4E64-A25F-E64F69B0C2C1}" dt="2024-03-05T20:17:17.897" v="816" actId="478"/>
          <ac:spMkLst>
            <pc:docMk/>
            <pc:sldMk cId="4264639648" sldId="595"/>
            <ac:spMk id="309" creationId="{5FFA2C5D-4C3B-6001-FA53-9BC52F0B709E}"/>
          </ac:spMkLst>
        </pc:spChg>
        <pc:spChg chg="del">
          <ac:chgData name="Bullinger, Marvin" userId="5b54ce5a-dc89-476f-af33-5abd75d5b1e8" providerId="ADAL" clId="{265A6489-94A2-4E64-A25F-E64F69B0C2C1}" dt="2024-03-05T20:17:17.897" v="815" actId="478"/>
          <ac:spMkLst>
            <pc:docMk/>
            <pc:sldMk cId="4264639648" sldId="595"/>
            <ac:spMk id="310" creationId="{F274336D-C155-1466-6AF1-86BD75A998BF}"/>
          </ac:spMkLst>
        </pc:spChg>
        <pc:spChg chg="del">
          <ac:chgData name="Bullinger, Marvin" userId="5b54ce5a-dc89-476f-af33-5abd75d5b1e8" providerId="ADAL" clId="{265A6489-94A2-4E64-A25F-E64F69B0C2C1}" dt="2024-03-05T20:17:17.896" v="814" actId="478"/>
          <ac:spMkLst>
            <pc:docMk/>
            <pc:sldMk cId="4264639648" sldId="595"/>
            <ac:spMk id="311" creationId="{EDBD3880-9026-16E7-6A5F-3844D1A1AF40}"/>
          </ac:spMkLst>
        </pc:spChg>
        <pc:spChg chg="del">
          <ac:chgData name="Bullinger, Marvin" userId="5b54ce5a-dc89-476f-af33-5abd75d5b1e8" providerId="ADAL" clId="{265A6489-94A2-4E64-A25F-E64F69B0C2C1}" dt="2024-03-05T20:17:17.896" v="813" actId="478"/>
          <ac:spMkLst>
            <pc:docMk/>
            <pc:sldMk cId="4264639648" sldId="595"/>
            <ac:spMk id="312" creationId="{23A36204-6D77-DCD4-1C3A-2C28A569DB91}"/>
          </ac:spMkLst>
        </pc:spChg>
        <pc:spChg chg="del">
          <ac:chgData name="Bullinger, Marvin" userId="5b54ce5a-dc89-476f-af33-5abd75d5b1e8" providerId="ADAL" clId="{265A6489-94A2-4E64-A25F-E64F69B0C2C1}" dt="2024-03-05T20:17:17.896" v="812" actId="478"/>
          <ac:spMkLst>
            <pc:docMk/>
            <pc:sldMk cId="4264639648" sldId="595"/>
            <ac:spMk id="313" creationId="{3494FCA4-4ED3-930A-2313-32EB02E94678}"/>
          </ac:spMkLst>
        </pc:spChg>
        <pc:spChg chg="del">
          <ac:chgData name="Bullinger, Marvin" userId="5b54ce5a-dc89-476f-af33-5abd75d5b1e8" providerId="ADAL" clId="{265A6489-94A2-4E64-A25F-E64F69B0C2C1}" dt="2024-03-05T20:17:17.895" v="811" actId="478"/>
          <ac:spMkLst>
            <pc:docMk/>
            <pc:sldMk cId="4264639648" sldId="595"/>
            <ac:spMk id="314" creationId="{A4056D86-D3CC-6444-C153-DDDA854575E9}"/>
          </ac:spMkLst>
        </pc:spChg>
        <pc:spChg chg="del">
          <ac:chgData name="Bullinger, Marvin" userId="5b54ce5a-dc89-476f-af33-5abd75d5b1e8" providerId="ADAL" clId="{265A6489-94A2-4E64-A25F-E64F69B0C2C1}" dt="2024-03-05T20:17:17.895" v="810" actId="478"/>
          <ac:spMkLst>
            <pc:docMk/>
            <pc:sldMk cId="4264639648" sldId="595"/>
            <ac:spMk id="315" creationId="{F42D339D-50CB-E352-B215-0AFF38EB5AC2}"/>
          </ac:spMkLst>
        </pc:spChg>
        <pc:spChg chg="del">
          <ac:chgData name="Bullinger, Marvin" userId="5b54ce5a-dc89-476f-af33-5abd75d5b1e8" providerId="ADAL" clId="{265A6489-94A2-4E64-A25F-E64F69B0C2C1}" dt="2024-03-05T20:17:17.895" v="809" actId="478"/>
          <ac:spMkLst>
            <pc:docMk/>
            <pc:sldMk cId="4264639648" sldId="595"/>
            <ac:spMk id="316" creationId="{38983865-E2AA-FCBE-1E57-CBE647ED9CD4}"/>
          </ac:spMkLst>
        </pc:spChg>
        <pc:spChg chg="del">
          <ac:chgData name="Bullinger, Marvin" userId="5b54ce5a-dc89-476f-af33-5abd75d5b1e8" providerId="ADAL" clId="{265A6489-94A2-4E64-A25F-E64F69B0C2C1}" dt="2024-03-05T20:17:17.894" v="808" actId="478"/>
          <ac:spMkLst>
            <pc:docMk/>
            <pc:sldMk cId="4264639648" sldId="595"/>
            <ac:spMk id="317" creationId="{77C4F627-C88B-DD7C-54A3-4206C673718A}"/>
          </ac:spMkLst>
        </pc:spChg>
        <pc:spChg chg="del">
          <ac:chgData name="Bullinger, Marvin" userId="5b54ce5a-dc89-476f-af33-5abd75d5b1e8" providerId="ADAL" clId="{265A6489-94A2-4E64-A25F-E64F69B0C2C1}" dt="2024-03-05T20:17:17.894" v="807" actId="478"/>
          <ac:spMkLst>
            <pc:docMk/>
            <pc:sldMk cId="4264639648" sldId="595"/>
            <ac:spMk id="318" creationId="{93323B95-440B-686D-3558-DF3A0D616A24}"/>
          </ac:spMkLst>
        </pc:spChg>
        <pc:spChg chg="replST">
          <ac:chgData name="Bullinger, Marvin" userId="5b54ce5a-dc89-476f-af33-5abd75d5b1e8" providerId="ADAL" clId="{265A6489-94A2-4E64-A25F-E64F69B0C2C1}" dt="2024-03-05T20:17:18.227" v="1070"/>
          <ac:spMkLst>
            <pc:docMk/>
            <pc:sldMk cId="4264639648" sldId="595"/>
            <ac:spMk id="319" creationId="{8F924620-A2BA-6C88-3AB6-265651FEBB68}"/>
          </ac:spMkLst>
        </pc:spChg>
        <pc:spChg chg="replST">
          <ac:chgData name="Bullinger, Marvin" userId="5b54ce5a-dc89-476f-af33-5abd75d5b1e8" providerId="ADAL" clId="{265A6489-94A2-4E64-A25F-E64F69B0C2C1}" dt="2024-03-05T20:17:18.231" v="1073"/>
          <ac:spMkLst>
            <pc:docMk/>
            <pc:sldMk cId="4264639648" sldId="595"/>
            <ac:spMk id="320" creationId="{D2B26E2E-729A-4F7F-5204-E92CFF7476CD}"/>
          </ac:spMkLst>
        </pc:spChg>
        <pc:spChg chg="replST">
          <ac:chgData name="Bullinger, Marvin" userId="5b54ce5a-dc89-476f-af33-5abd75d5b1e8" providerId="ADAL" clId="{265A6489-94A2-4E64-A25F-E64F69B0C2C1}" dt="2024-03-05T20:17:18.235" v="1077"/>
          <ac:spMkLst>
            <pc:docMk/>
            <pc:sldMk cId="4264639648" sldId="595"/>
            <ac:spMk id="322" creationId="{B0110DFA-848E-D7A1-2F4A-14198865C7D6}"/>
          </ac:spMkLst>
        </pc:spChg>
        <pc:spChg chg="replST">
          <ac:chgData name="Bullinger, Marvin" userId="5b54ce5a-dc89-476f-af33-5abd75d5b1e8" providerId="ADAL" clId="{265A6489-94A2-4E64-A25F-E64F69B0C2C1}" dt="2024-03-05T20:17:18.238" v="1080"/>
          <ac:spMkLst>
            <pc:docMk/>
            <pc:sldMk cId="4264639648" sldId="595"/>
            <ac:spMk id="323" creationId="{7EC99AFA-B06B-2F06-2BD4-098C288AAE3B}"/>
          </ac:spMkLst>
        </pc:spChg>
        <pc:spChg chg="replST">
          <ac:chgData name="Bullinger, Marvin" userId="5b54ce5a-dc89-476f-af33-5abd75d5b1e8" providerId="ADAL" clId="{265A6489-94A2-4E64-A25F-E64F69B0C2C1}" dt="2024-03-05T20:17:18.243" v="1084"/>
          <ac:spMkLst>
            <pc:docMk/>
            <pc:sldMk cId="4264639648" sldId="595"/>
            <ac:spMk id="325" creationId="{D0A7C501-6232-BFD2-A32D-A153645CC739}"/>
          </ac:spMkLst>
        </pc:spChg>
        <pc:spChg chg="replST">
          <ac:chgData name="Bullinger, Marvin" userId="5b54ce5a-dc89-476f-af33-5abd75d5b1e8" providerId="ADAL" clId="{265A6489-94A2-4E64-A25F-E64F69B0C2C1}" dt="2024-03-05T20:17:18.247" v="1087"/>
          <ac:spMkLst>
            <pc:docMk/>
            <pc:sldMk cId="4264639648" sldId="595"/>
            <ac:spMk id="326" creationId="{334468D3-B3F5-2C3C-A3D6-BEDA76203D48}"/>
          </ac:spMkLst>
        </pc:spChg>
        <pc:spChg chg="replST">
          <ac:chgData name="Bullinger, Marvin" userId="5b54ce5a-dc89-476f-af33-5abd75d5b1e8" providerId="ADAL" clId="{265A6489-94A2-4E64-A25F-E64F69B0C2C1}" dt="2024-03-05T20:17:18.251" v="1091"/>
          <ac:spMkLst>
            <pc:docMk/>
            <pc:sldMk cId="4264639648" sldId="595"/>
            <ac:spMk id="328" creationId="{F5DA7C03-2AED-55B5-74C7-77FC2DC4A560}"/>
          </ac:spMkLst>
        </pc:spChg>
        <pc:spChg chg="replST">
          <ac:chgData name="Bullinger, Marvin" userId="5b54ce5a-dc89-476f-af33-5abd75d5b1e8" providerId="ADAL" clId="{265A6489-94A2-4E64-A25F-E64F69B0C2C1}" dt="2024-03-05T20:17:18.255" v="1094"/>
          <ac:spMkLst>
            <pc:docMk/>
            <pc:sldMk cId="4264639648" sldId="595"/>
            <ac:spMk id="329" creationId="{B8B63144-9EC0-1BDF-354D-8509726DAAC6}"/>
          </ac:spMkLst>
        </pc:spChg>
        <pc:spChg chg="del ord replST">
          <ac:chgData name="Bullinger, Marvin" userId="5b54ce5a-dc89-476f-af33-5abd75d5b1e8" providerId="ADAL" clId="{265A6489-94A2-4E64-A25F-E64F69B0C2C1}" dt="2024-03-05T22:19:10.273" v="4515" actId="478"/>
          <ac:spMkLst>
            <pc:docMk/>
            <pc:sldMk cId="4264639648" sldId="595"/>
            <ac:spMk id="330" creationId="{9D8413F1-7475-2927-AA7F-0660835970B1}"/>
          </ac:spMkLst>
        </pc:spChg>
        <pc:spChg chg="replST">
          <ac:chgData name="Bullinger, Marvin" userId="5b54ce5a-dc89-476f-af33-5abd75d5b1e8" providerId="ADAL" clId="{265A6489-94A2-4E64-A25F-E64F69B0C2C1}" dt="2024-03-05T20:17:18.259" v="1098"/>
          <ac:spMkLst>
            <pc:docMk/>
            <pc:sldMk cId="4264639648" sldId="595"/>
            <ac:spMk id="331" creationId="{DDD4A183-38D5-CB9D-BD0D-AA24CB6D9538}"/>
          </ac:spMkLst>
        </pc:spChg>
        <pc:spChg chg="replST">
          <ac:chgData name="Bullinger, Marvin" userId="5b54ce5a-dc89-476f-af33-5abd75d5b1e8" providerId="ADAL" clId="{265A6489-94A2-4E64-A25F-E64F69B0C2C1}" dt="2024-03-05T20:17:18.263" v="1101"/>
          <ac:spMkLst>
            <pc:docMk/>
            <pc:sldMk cId="4264639648" sldId="595"/>
            <ac:spMk id="332" creationId="{A5EFDC39-1FA5-B471-FB7B-76B197D1D0B5}"/>
          </ac:spMkLst>
        </pc:spChg>
        <pc:spChg chg="add mod">
          <ac:chgData name="Bullinger, Marvin" userId="5b54ce5a-dc89-476f-af33-5abd75d5b1e8" providerId="ADAL" clId="{265A6489-94A2-4E64-A25F-E64F69B0C2C1}" dt="2024-03-05T22:19:10.268" v="4511" actId="478"/>
          <ac:spMkLst>
            <pc:docMk/>
            <pc:sldMk cId="4264639648" sldId="595"/>
            <ac:spMk id="373" creationId="{8B70EEF1-58C5-A4B3-0F2E-BE90D68E80F9}"/>
          </ac:spMkLst>
        </pc:spChg>
        <pc:spChg chg="mod ord replST">
          <ac:chgData name="Bullinger, Marvin" userId="5b54ce5a-dc89-476f-af33-5abd75d5b1e8" providerId="ADAL" clId="{265A6489-94A2-4E64-A25F-E64F69B0C2C1}" dt="2024-03-05T22:19:11.178" v="4908"/>
          <ac:spMkLst>
            <pc:docMk/>
            <pc:sldMk cId="4264639648" sldId="595"/>
            <ac:spMk id="374" creationId="{CC1EC0CC-65BF-4ADC-C35F-E0CE74D14BAD}"/>
          </ac:spMkLst>
        </pc:spChg>
        <pc:spChg chg="del">
          <ac:chgData name="Bullinger, Marvin" userId="5b54ce5a-dc89-476f-af33-5abd75d5b1e8" providerId="ADAL" clId="{265A6489-94A2-4E64-A25F-E64F69B0C2C1}" dt="2024-03-05T22:19:10.306" v="4546" actId="478"/>
          <ac:spMkLst>
            <pc:docMk/>
            <pc:sldMk cId="4264639648" sldId="595"/>
            <ac:spMk id="375" creationId="{E2DD7610-6CEE-2B70-B20E-5C1FF819F73E}"/>
          </ac:spMkLst>
        </pc:spChg>
        <pc:spChg chg="del">
          <ac:chgData name="Bullinger, Marvin" userId="5b54ce5a-dc89-476f-af33-5abd75d5b1e8" providerId="ADAL" clId="{265A6489-94A2-4E64-A25F-E64F69B0C2C1}" dt="2024-03-05T22:19:10.305" v="4545" actId="478"/>
          <ac:spMkLst>
            <pc:docMk/>
            <pc:sldMk cId="4264639648" sldId="595"/>
            <ac:spMk id="376" creationId="{6966D814-DD8E-2A8A-290C-AEC2834B1661}"/>
          </ac:spMkLst>
        </pc:spChg>
        <pc:spChg chg="del">
          <ac:chgData name="Bullinger, Marvin" userId="5b54ce5a-dc89-476f-af33-5abd75d5b1e8" providerId="ADAL" clId="{265A6489-94A2-4E64-A25F-E64F69B0C2C1}" dt="2024-03-05T22:19:10.305" v="4544" actId="478"/>
          <ac:spMkLst>
            <pc:docMk/>
            <pc:sldMk cId="4264639648" sldId="595"/>
            <ac:spMk id="377" creationId="{D9EEAE0A-F5AF-36BF-ED89-AF916FAA01BC}"/>
          </ac:spMkLst>
        </pc:spChg>
        <pc:spChg chg="del">
          <ac:chgData name="Bullinger, Marvin" userId="5b54ce5a-dc89-476f-af33-5abd75d5b1e8" providerId="ADAL" clId="{265A6489-94A2-4E64-A25F-E64F69B0C2C1}" dt="2024-03-05T22:19:10.304" v="4543" actId="478"/>
          <ac:spMkLst>
            <pc:docMk/>
            <pc:sldMk cId="4264639648" sldId="595"/>
            <ac:spMk id="378" creationId="{102DFCA5-3E74-E493-5D9E-52A965E2DFA8}"/>
          </ac:spMkLst>
        </pc:spChg>
        <pc:spChg chg="del">
          <ac:chgData name="Bullinger, Marvin" userId="5b54ce5a-dc89-476f-af33-5abd75d5b1e8" providerId="ADAL" clId="{265A6489-94A2-4E64-A25F-E64F69B0C2C1}" dt="2024-03-05T22:19:10.304" v="4542" actId="478"/>
          <ac:spMkLst>
            <pc:docMk/>
            <pc:sldMk cId="4264639648" sldId="595"/>
            <ac:spMk id="379" creationId="{5BCD77D5-C6D1-9BBB-66B9-434007FD4073}"/>
          </ac:spMkLst>
        </pc:spChg>
        <pc:spChg chg="del">
          <ac:chgData name="Bullinger, Marvin" userId="5b54ce5a-dc89-476f-af33-5abd75d5b1e8" providerId="ADAL" clId="{265A6489-94A2-4E64-A25F-E64F69B0C2C1}" dt="2024-03-05T22:19:10.303" v="4541" actId="478"/>
          <ac:spMkLst>
            <pc:docMk/>
            <pc:sldMk cId="4264639648" sldId="595"/>
            <ac:spMk id="380" creationId="{BAD066CC-358E-9D09-4FEA-C00E81B7CDE3}"/>
          </ac:spMkLst>
        </pc:spChg>
        <pc:spChg chg="del">
          <ac:chgData name="Bullinger, Marvin" userId="5b54ce5a-dc89-476f-af33-5abd75d5b1e8" providerId="ADAL" clId="{265A6489-94A2-4E64-A25F-E64F69B0C2C1}" dt="2024-03-05T22:19:10.301" v="4538" actId="478"/>
          <ac:spMkLst>
            <pc:docMk/>
            <pc:sldMk cId="4264639648" sldId="595"/>
            <ac:spMk id="381" creationId="{DF17883F-CDA9-149B-B2FB-AE608107C220}"/>
          </ac:spMkLst>
        </pc:spChg>
        <pc:spChg chg="del">
          <ac:chgData name="Bullinger, Marvin" userId="5b54ce5a-dc89-476f-af33-5abd75d5b1e8" providerId="ADAL" clId="{265A6489-94A2-4E64-A25F-E64F69B0C2C1}" dt="2024-03-05T22:19:10.301" v="4537" actId="478"/>
          <ac:spMkLst>
            <pc:docMk/>
            <pc:sldMk cId="4264639648" sldId="595"/>
            <ac:spMk id="382" creationId="{699E04D0-9FAC-1BCE-0246-00A0F3EA63FF}"/>
          </ac:spMkLst>
        </pc:spChg>
        <pc:spChg chg="del">
          <ac:chgData name="Bullinger, Marvin" userId="5b54ce5a-dc89-476f-af33-5abd75d5b1e8" providerId="ADAL" clId="{265A6489-94A2-4E64-A25F-E64F69B0C2C1}" dt="2024-03-05T22:19:10.300" v="4536" actId="478"/>
          <ac:spMkLst>
            <pc:docMk/>
            <pc:sldMk cId="4264639648" sldId="595"/>
            <ac:spMk id="383" creationId="{DAE1849E-4078-42A2-516D-35863BBD4BD6}"/>
          </ac:spMkLst>
        </pc:spChg>
        <pc:spChg chg="del">
          <ac:chgData name="Bullinger, Marvin" userId="5b54ce5a-dc89-476f-af33-5abd75d5b1e8" providerId="ADAL" clId="{265A6489-94A2-4E64-A25F-E64F69B0C2C1}" dt="2024-03-05T22:19:10.299" v="4535" actId="478"/>
          <ac:spMkLst>
            <pc:docMk/>
            <pc:sldMk cId="4264639648" sldId="595"/>
            <ac:spMk id="384" creationId="{D8683394-1E41-F3EC-BB16-CD5B6D75289B}"/>
          </ac:spMkLst>
        </pc:spChg>
        <pc:spChg chg="del">
          <ac:chgData name="Bullinger, Marvin" userId="5b54ce5a-dc89-476f-af33-5abd75d5b1e8" providerId="ADAL" clId="{265A6489-94A2-4E64-A25F-E64F69B0C2C1}" dt="2024-03-05T22:19:10.299" v="4534" actId="478"/>
          <ac:spMkLst>
            <pc:docMk/>
            <pc:sldMk cId="4264639648" sldId="595"/>
            <ac:spMk id="385" creationId="{CA8BA8AD-5FDF-2820-37DB-61A58EC59B22}"/>
          </ac:spMkLst>
        </pc:spChg>
        <pc:spChg chg="del">
          <ac:chgData name="Bullinger, Marvin" userId="5b54ce5a-dc89-476f-af33-5abd75d5b1e8" providerId="ADAL" clId="{265A6489-94A2-4E64-A25F-E64F69B0C2C1}" dt="2024-03-05T22:19:10.298" v="4533" actId="478"/>
          <ac:spMkLst>
            <pc:docMk/>
            <pc:sldMk cId="4264639648" sldId="595"/>
            <ac:spMk id="386" creationId="{5FEF59EA-6129-37D1-638A-E2B4106279B8}"/>
          </ac:spMkLst>
        </pc:spChg>
        <pc:spChg chg="del">
          <ac:chgData name="Bullinger, Marvin" userId="5b54ce5a-dc89-476f-af33-5abd75d5b1e8" providerId="ADAL" clId="{265A6489-94A2-4E64-A25F-E64F69B0C2C1}" dt="2024-03-05T22:19:10.312" v="4554" actId="478"/>
          <ac:spMkLst>
            <pc:docMk/>
            <pc:sldMk cId="4264639648" sldId="595"/>
            <ac:spMk id="387" creationId="{1BF90551-6FA4-2F93-7756-9A5F074AF521}"/>
          </ac:spMkLst>
        </pc:spChg>
        <pc:spChg chg="del">
          <ac:chgData name="Bullinger, Marvin" userId="5b54ce5a-dc89-476f-af33-5abd75d5b1e8" providerId="ADAL" clId="{265A6489-94A2-4E64-A25F-E64F69B0C2C1}" dt="2024-03-05T22:19:10.312" v="4553" actId="478"/>
          <ac:spMkLst>
            <pc:docMk/>
            <pc:sldMk cId="4264639648" sldId="595"/>
            <ac:spMk id="388" creationId="{27C61219-35A0-916B-DBA3-59029CE7F9DF}"/>
          </ac:spMkLst>
        </pc:spChg>
        <pc:spChg chg="del">
          <ac:chgData name="Bullinger, Marvin" userId="5b54ce5a-dc89-476f-af33-5abd75d5b1e8" providerId="ADAL" clId="{265A6489-94A2-4E64-A25F-E64F69B0C2C1}" dt="2024-03-05T22:19:10.311" v="4552" actId="478"/>
          <ac:spMkLst>
            <pc:docMk/>
            <pc:sldMk cId="4264639648" sldId="595"/>
            <ac:spMk id="389" creationId="{5D52EA80-691B-D389-7249-55E45D2C39EF}"/>
          </ac:spMkLst>
        </pc:spChg>
        <pc:spChg chg="del">
          <ac:chgData name="Bullinger, Marvin" userId="5b54ce5a-dc89-476f-af33-5abd75d5b1e8" providerId="ADAL" clId="{265A6489-94A2-4E64-A25F-E64F69B0C2C1}" dt="2024-03-05T22:19:10.311" v="4551" actId="478"/>
          <ac:spMkLst>
            <pc:docMk/>
            <pc:sldMk cId="4264639648" sldId="595"/>
            <ac:spMk id="390" creationId="{F1105278-3B0D-D60D-75A6-1C29669AECDB}"/>
          </ac:spMkLst>
        </pc:spChg>
        <pc:spChg chg="del">
          <ac:chgData name="Bullinger, Marvin" userId="5b54ce5a-dc89-476f-af33-5abd75d5b1e8" providerId="ADAL" clId="{265A6489-94A2-4E64-A25F-E64F69B0C2C1}" dt="2024-03-05T22:19:10.310" v="4550" actId="478"/>
          <ac:spMkLst>
            <pc:docMk/>
            <pc:sldMk cId="4264639648" sldId="595"/>
            <ac:spMk id="391" creationId="{8EC9956A-30C9-9B1F-93ED-E78FF857B67D}"/>
          </ac:spMkLst>
        </pc:spChg>
        <pc:spChg chg="del">
          <ac:chgData name="Bullinger, Marvin" userId="5b54ce5a-dc89-476f-af33-5abd75d5b1e8" providerId="ADAL" clId="{265A6489-94A2-4E64-A25F-E64F69B0C2C1}" dt="2024-03-05T22:19:10.309" v="4549" actId="478"/>
          <ac:spMkLst>
            <pc:docMk/>
            <pc:sldMk cId="4264639648" sldId="595"/>
            <ac:spMk id="392" creationId="{3D74AF4C-CC01-15B5-0A6B-2CAA5A25C1A1}"/>
          </ac:spMkLst>
        </pc:spChg>
        <pc:spChg chg="del">
          <ac:chgData name="Bullinger, Marvin" userId="5b54ce5a-dc89-476f-af33-5abd75d5b1e8" providerId="ADAL" clId="{265A6489-94A2-4E64-A25F-E64F69B0C2C1}" dt="2024-03-05T22:19:10.308" v="4548" actId="478"/>
          <ac:spMkLst>
            <pc:docMk/>
            <pc:sldMk cId="4264639648" sldId="595"/>
            <ac:spMk id="393" creationId="{F14153D0-CFEC-C322-92AD-D24E56F40BFB}"/>
          </ac:spMkLst>
        </pc:spChg>
        <pc:spChg chg="del">
          <ac:chgData name="Bullinger, Marvin" userId="5b54ce5a-dc89-476f-af33-5abd75d5b1e8" providerId="ADAL" clId="{265A6489-94A2-4E64-A25F-E64F69B0C2C1}" dt="2024-03-05T22:19:10.307" v="4547" actId="478"/>
          <ac:spMkLst>
            <pc:docMk/>
            <pc:sldMk cId="4264639648" sldId="595"/>
            <ac:spMk id="394" creationId="{234F9B4D-7832-D2A2-8F9C-A12D71E29785}"/>
          </ac:spMkLst>
        </pc:spChg>
        <pc:spChg chg="del">
          <ac:chgData name="Bullinger, Marvin" userId="5b54ce5a-dc89-476f-af33-5abd75d5b1e8" providerId="ADAL" clId="{265A6489-94A2-4E64-A25F-E64F69B0C2C1}" dt="2024-03-05T22:19:10.302" v="4539" actId="478"/>
          <ac:spMkLst>
            <pc:docMk/>
            <pc:sldMk cId="4264639648" sldId="595"/>
            <ac:spMk id="395" creationId="{C2933867-BB95-645B-7B2E-164A80F6B943}"/>
          </ac:spMkLst>
        </pc:spChg>
        <pc:spChg chg="del">
          <ac:chgData name="Bullinger, Marvin" userId="5b54ce5a-dc89-476f-af33-5abd75d5b1e8" providerId="ADAL" clId="{265A6489-94A2-4E64-A25F-E64F69B0C2C1}" dt="2024-03-05T22:19:10.298" v="4532" actId="478"/>
          <ac:spMkLst>
            <pc:docMk/>
            <pc:sldMk cId="4264639648" sldId="595"/>
            <ac:spMk id="396" creationId="{5B1DB5A8-5769-7A5F-CC74-60F5358DCD95}"/>
          </ac:spMkLst>
        </pc:spChg>
        <pc:spChg chg="del">
          <ac:chgData name="Bullinger, Marvin" userId="5b54ce5a-dc89-476f-af33-5abd75d5b1e8" providerId="ADAL" clId="{265A6489-94A2-4E64-A25F-E64F69B0C2C1}" dt="2024-03-05T22:19:10.302" v="4540" actId="478"/>
          <ac:spMkLst>
            <pc:docMk/>
            <pc:sldMk cId="4264639648" sldId="595"/>
            <ac:spMk id="397" creationId="{37840DA4-B6B1-1E09-C9FF-136664D78CD8}"/>
          </ac:spMkLst>
        </pc:spChg>
        <pc:spChg chg="del">
          <ac:chgData name="Bullinger, Marvin" userId="5b54ce5a-dc89-476f-af33-5abd75d5b1e8" providerId="ADAL" clId="{265A6489-94A2-4E64-A25F-E64F69B0C2C1}" dt="2024-03-05T22:19:10.297" v="4531" actId="478"/>
          <ac:spMkLst>
            <pc:docMk/>
            <pc:sldMk cId="4264639648" sldId="595"/>
            <ac:spMk id="398" creationId="{BEA22221-FEF5-6E65-A265-D40C92C7D284}"/>
          </ac:spMkLst>
        </pc:spChg>
        <pc:spChg chg="del">
          <ac:chgData name="Bullinger, Marvin" userId="5b54ce5a-dc89-476f-af33-5abd75d5b1e8" providerId="ADAL" clId="{265A6489-94A2-4E64-A25F-E64F69B0C2C1}" dt="2024-03-05T22:19:10.296" v="4530" actId="478"/>
          <ac:spMkLst>
            <pc:docMk/>
            <pc:sldMk cId="4264639648" sldId="595"/>
            <ac:spMk id="399" creationId="{72E76AC5-9B80-CC2E-A62A-93E187752958}"/>
          </ac:spMkLst>
        </pc:spChg>
        <pc:spChg chg="del">
          <ac:chgData name="Bullinger, Marvin" userId="5b54ce5a-dc89-476f-af33-5abd75d5b1e8" providerId="ADAL" clId="{265A6489-94A2-4E64-A25F-E64F69B0C2C1}" dt="2024-03-05T22:19:10.296" v="4529" actId="478"/>
          <ac:spMkLst>
            <pc:docMk/>
            <pc:sldMk cId="4264639648" sldId="595"/>
            <ac:spMk id="400" creationId="{6C5CEE23-11FD-406F-A130-7394B0FB3047}"/>
          </ac:spMkLst>
        </pc:spChg>
        <pc:spChg chg="del">
          <ac:chgData name="Bullinger, Marvin" userId="5b54ce5a-dc89-476f-af33-5abd75d5b1e8" providerId="ADAL" clId="{265A6489-94A2-4E64-A25F-E64F69B0C2C1}" dt="2024-03-05T22:19:10.295" v="4528" actId="478"/>
          <ac:spMkLst>
            <pc:docMk/>
            <pc:sldMk cId="4264639648" sldId="595"/>
            <ac:spMk id="401" creationId="{D43C4E7B-EC69-1D77-9469-040A0664DF09}"/>
          </ac:spMkLst>
        </pc:spChg>
        <pc:spChg chg="del">
          <ac:chgData name="Bullinger, Marvin" userId="5b54ce5a-dc89-476f-af33-5abd75d5b1e8" providerId="ADAL" clId="{265A6489-94A2-4E64-A25F-E64F69B0C2C1}" dt="2024-03-05T22:19:10.295" v="4527" actId="478"/>
          <ac:spMkLst>
            <pc:docMk/>
            <pc:sldMk cId="4264639648" sldId="595"/>
            <ac:spMk id="402" creationId="{E0F85424-21F4-EBDE-37EE-5FDCCE6EAF28}"/>
          </ac:spMkLst>
        </pc:spChg>
        <pc:spChg chg="del">
          <ac:chgData name="Bullinger, Marvin" userId="5b54ce5a-dc89-476f-af33-5abd75d5b1e8" providerId="ADAL" clId="{265A6489-94A2-4E64-A25F-E64F69B0C2C1}" dt="2024-03-05T22:19:10.294" v="4526" actId="478"/>
          <ac:spMkLst>
            <pc:docMk/>
            <pc:sldMk cId="4264639648" sldId="595"/>
            <ac:spMk id="403" creationId="{21995E12-C4C7-6DB4-4246-6E70220D163B}"/>
          </ac:spMkLst>
        </pc:spChg>
        <pc:spChg chg="del">
          <ac:chgData name="Bullinger, Marvin" userId="5b54ce5a-dc89-476f-af33-5abd75d5b1e8" providerId="ADAL" clId="{265A6489-94A2-4E64-A25F-E64F69B0C2C1}" dt="2024-03-05T22:19:10.293" v="4525" actId="478"/>
          <ac:spMkLst>
            <pc:docMk/>
            <pc:sldMk cId="4264639648" sldId="595"/>
            <ac:spMk id="404" creationId="{D85C31A9-9C80-2937-E968-55F162498C3D}"/>
          </ac:spMkLst>
        </pc:spChg>
        <pc:spChg chg="del">
          <ac:chgData name="Bullinger, Marvin" userId="5b54ce5a-dc89-476f-af33-5abd75d5b1e8" providerId="ADAL" clId="{265A6489-94A2-4E64-A25F-E64F69B0C2C1}" dt="2024-03-05T22:19:10.293" v="4524" actId="478"/>
          <ac:spMkLst>
            <pc:docMk/>
            <pc:sldMk cId="4264639648" sldId="595"/>
            <ac:spMk id="405" creationId="{585BC27E-E50E-5C84-8600-155FCDC5F0AA}"/>
          </ac:spMkLst>
        </pc:spChg>
        <pc:spChg chg="del">
          <ac:chgData name="Bullinger, Marvin" userId="5b54ce5a-dc89-476f-af33-5abd75d5b1e8" providerId="ADAL" clId="{265A6489-94A2-4E64-A25F-E64F69B0C2C1}" dt="2024-03-05T22:19:10.292" v="4523" actId="478"/>
          <ac:spMkLst>
            <pc:docMk/>
            <pc:sldMk cId="4264639648" sldId="595"/>
            <ac:spMk id="406" creationId="{674500DB-5EC4-8E4B-6A95-9D1E025C8C20}"/>
          </ac:spMkLst>
        </pc:spChg>
        <pc:spChg chg="del">
          <ac:chgData name="Bullinger, Marvin" userId="5b54ce5a-dc89-476f-af33-5abd75d5b1e8" providerId="ADAL" clId="{265A6489-94A2-4E64-A25F-E64F69B0C2C1}" dt="2024-03-05T22:19:10.291" v="4522" actId="478"/>
          <ac:spMkLst>
            <pc:docMk/>
            <pc:sldMk cId="4264639648" sldId="595"/>
            <ac:spMk id="407" creationId="{B6E32D8A-E262-B86E-4352-9DA3F839EB63}"/>
          </ac:spMkLst>
        </pc:spChg>
        <pc:spChg chg="del">
          <ac:chgData name="Bullinger, Marvin" userId="5b54ce5a-dc89-476f-af33-5abd75d5b1e8" providerId="ADAL" clId="{265A6489-94A2-4E64-A25F-E64F69B0C2C1}" dt="2024-03-05T22:19:10.291" v="4521" actId="478"/>
          <ac:spMkLst>
            <pc:docMk/>
            <pc:sldMk cId="4264639648" sldId="595"/>
            <ac:spMk id="408" creationId="{256AE82A-629C-37DC-40CD-BD65BCE0099C}"/>
          </ac:spMkLst>
        </pc:spChg>
        <pc:spChg chg="del">
          <ac:chgData name="Bullinger, Marvin" userId="5b54ce5a-dc89-476f-af33-5abd75d5b1e8" providerId="ADAL" clId="{265A6489-94A2-4E64-A25F-E64F69B0C2C1}" dt="2024-03-05T22:19:10.290" v="4520" actId="478"/>
          <ac:spMkLst>
            <pc:docMk/>
            <pc:sldMk cId="4264639648" sldId="595"/>
            <ac:spMk id="409" creationId="{C72839C5-A655-20DD-5919-5AD3A3719C3E}"/>
          </ac:spMkLst>
        </pc:spChg>
        <pc:spChg chg="del">
          <ac:chgData name="Bullinger, Marvin" userId="5b54ce5a-dc89-476f-af33-5abd75d5b1e8" providerId="ADAL" clId="{265A6489-94A2-4E64-A25F-E64F69B0C2C1}" dt="2024-03-05T22:19:10.289" v="4519" actId="478"/>
          <ac:spMkLst>
            <pc:docMk/>
            <pc:sldMk cId="4264639648" sldId="595"/>
            <ac:spMk id="410" creationId="{895BC65A-F646-A65F-2340-4C730FB31702}"/>
          </ac:spMkLst>
        </pc:spChg>
        <pc:spChg chg="del">
          <ac:chgData name="Bullinger, Marvin" userId="5b54ce5a-dc89-476f-af33-5abd75d5b1e8" providerId="ADAL" clId="{265A6489-94A2-4E64-A25F-E64F69B0C2C1}" dt="2024-03-05T22:19:10.289" v="4518" actId="478"/>
          <ac:spMkLst>
            <pc:docMk/>
            <pc:sldMk cId="4264639648" sldId="595"/>
            <ac:spMk id="411" creationId="{D3E85C01-5479-68FE-689E-D26410C9C59E}"/>
          </ac:spMkLst>
        </pc:spChg>
        <pc:spChg chg="mod replST">
          <ac:chgData name="Bullinger, Marvin" userId="5b54ce5a-dc89-476f-af33-5abd75d5b1e8" providerId="ADAL" clId="{265A6489-94A2-4E64-A25F-E64F69B0C2C1}" dt="2024-03-05T22:34:24.159" v="5077" actId="207"/>
          <ac:spMkLst>
            <pc:docMk/>
            <pc:sldMk cId="4264639648" sldId="595"/>
            <ac:spMk id="412" creationId="{237670FE-D0A3-E138-117C-27C4DFED1966}"/>
          </ac:spMkLst>
        </pc:spChg>
        <pc:spChg chg="replST">
          <ac:chgData name="Bullinger, Marvin" userId="5b54ce5a-dc89-476f-af33-5abd75d5b1e8" providerId="ADAL" clId="{265A6489-94A2-4E64-A25F-E64F69B0C2C1}" dt="2024-03-05T22:19:11.105" v="4870"/>
          <ac:spMkLst>
            <pc:docMk/>
            <pc:sldMk cId="4264639648" sldId="595"/>
            <ac:spMk id="413" creationId="{CFE7E4F0-B7B7-8652-E74C-B4770C902526}"/>
          </ac:spMkLst>
        </pc:spChg>
        <pc:spChg chg="mod replST">
          <ac:chgData name="Bullinger, Marvin" userId="5b54ce5a-dc89-476f-af33-5abd75d5b1e8" providerId="ADAL" clId="{265A6489-94A2-4E64-A25F-E64F69B0C2C1}" dt="2024-03-05T22:34:24.159" v="5077" actId="207"/>
          <ac:spMkLst>
            <pc:docMk/>
            <pc:sldMk cId="4264639648" sldId="595"/>
            <ac:spMk id="415" creationId="{3A2234E3-2273-927C-68C1-0ED99DD31F3E}"/>
          </ac:spMkLst>
        </pc:spChg>
        <pc:spChg chg="replST">
          <ac:chgData name="Bullinger, Marvin" userId="5b54ce5a-dc89-476f-af33-5abd75d5b1e8" providerId="ADAL" clId="{265A6489-94A2-4E64-A25F-E64F69B0C2C1}" dt="2024-03-05T22:19:11.120" v="4877"/>
          <ac:spMkLst>
            <pc:docMk/>
            <pc:sldMk cId="4264639648" sldId="595"/>
            <ac:spMk id="416" creationId="{5A3DCA80-0F65-0C85-3058-7B3244630977}"/>
          </ac:spMkLst>
        </pc:spChg>
        <pc:spChg chg="mod replST">
          <ac:chgData name="Bullinger, Marvin" userId="5b54ce5a-dc89-476f-af33-5abd75d5b1e8" providerId="ADAL" clId="{265A6489-94A2-4E64-A25F-E64F69B0C2C1}" dt="2024-03-05T22:34:24.159" v="5077" actId="207"/>
          <ac:spMkLst>
            <pc:docMk/>
            <pc:sldMk cId="4264639648" sldId="595"/>
            <ac:spMk id="418" creationId="{1E3E34BE-6328-6A37-4AAC-98E5C9D8B95E}"/>
          </ac:spMkLst>
        </pc:spChg>
        <pc:spChg chg="mod replST">
          <ac:chgData name="Bullinger, Marvin" userId="5b54ce5a-dc89-476f-af33-5abd75d5b1e8" providerId="ADAL" clId="{265A6489-94A2-4E64-A25F-E64F69B0C2C1}" dt="2024-03-06T14:03:18.102" v="5404" actId="20577"/>
          <ac:spMkLst>
            <pc:docMk/>
            <pc:sldMk cId="4264639648" sldId="595"/>
            <ac:spMk id="419" creationId="{CB04C738-C21F-B781-A0CE-33D2A426E3AC}"/>
          </ac:spMkLst>
        </pc:spChg>
        <pc:spChg chg="mod replST">
          <ac:chgData name="Bullinger, Marvin" userId="5b54ce5a-dc89-476f-af33-5abd75d5b1e8" providerId="ADAL" clId="{265A6489-94A2-4E64-A25F-E64F69B0C2C1}" dt="2024-03-05T22:34:24.159" v="5077" actId="207"/>
          <ac:spMkLst>
            <pc:docMk/>
            <pc:sldMk cId="4264639648" sldId="595"/>
            <ac:spMk id="421" creationId="{8A22E0BB-4771-1594-8034-867B69644D14}"/>
          </ac:spMkLst>
        </pc:spChg>
        <pc:spChg chg="replST">
          <ac:chgData name="Bullinger, Marvin" userId="5b54ce5a-dc89-476f-af33-5abd75d5b1e8" providerId="ADAL" clId="{265A6489-94A2-4E64-A25F-E64F69B0C2C1}" dt="2024-03-05T22:19:11.144" v="4891"/>
          <ac:spMkLst>
            <pc:docMk/>
            <pc:sldMk cId="4264639648" sldId="595"/>
            <ac:spMk id="422" creationId="{3360F43B-47A5-88D2-E948-10D2B0C0C309}"/>
          </ac:spMkLst>
        </pc:spChg>
        <pc:spChg chg="mod replST">
          <ac:chgData name="Bullinger, Marvin" userId="5b54ce5a-dc89-476f-af33-5abd75d5b1e8" providerId="ADAL" clId="{265A6489-94A2-4E64-A25F-E64F69B0C2C1}" dt="2024-03-05T22:34:16.639" v="5075" actId="20577"/>
          <ac:spMkLst>
            <pc:docMk/>
            <pc:sldMk cId="4264639648" sldId="595"/>
            <ac:spMk id="424" creationId="{FE722DA8-05AF-048E-8C55-895F9554DEAB}"/>
          </ac:spMkLst>
        </pc:spChg>
        <pc:spChg chg="replST">
          <ac:chgData name="Bullinger, Marvin" userId="5b54ce5a-dc89-476f-af33-5abd75d5b1e8" providerId="ADAL" clId="{265A6489-94A2-4E64-A25F-E64F69B0C2C1}" dt="2024-03-05T22:19:11.158" v="4898"/>
          <ac:spMkLst>
            <pc:docMk/>
            <pc:sldMk cId="4264639648" sldId="595"/>
            <ac:spMk id="425" creationId="{3F6A75FF-6D46-EBD5-4014-DE459BE5F594}"/>
          </ac:spMkLst>
        </pc:spChg>
        <pc:spChg chg="mod ord replST">
          <ac:chgData name="Bullinger, Marvin" userId="5b54ce5a-dc89-476f-af33-5abd75d5b1e8" providerId="ADAL" clId="{265A6489-94A2-4E64-A25F-E64F69B0C2C1}" dt="2024-03-05T22:34:29.197" v="5078" actId="207"/>
          <ac:spMkLst>
            <pc:docMk/>
            <pc:sldMk cId="4264639648" sldId="595"/>
            <ac:spMk id="426" creationId="{29A17045-8EF8-4407-73F7-824BFEC56D9E}"/>
          </ac:spMkLst>
        </pc:spChg>
        <pc:spChg chg="mod replST">
          <ac:chgData name="Bullinger, Marvin" userId="5b54ce5a-dc89-476f-af33-5abd75d5b1e8" providerId="ADAL" clId="{265A6489-94A2-4E64-A25F-E64F69B0C2C1}" dt="2024-03-05T22:34:24.159" v="5077" actId="207"/>
          <ac:spMkLst>
            <pc:docMk/>
            <pc:sldMk cId="4264639648" sldId="595"/>
            <ac:spMk id="427" creationId="{3F2E6421-02B1-2684-A9BD-3AE34CFF6C4D}"/>
          </ac:spMkLst>
        </pc:spChg>
        <pc:spChg chg="replST">
          <ac:chgData name="Bullinger, Marvin" userId="5b54ce5a-dc89-476f-af33-5abd75d5b1e8" providerId="ADAL" clId="{265A6489-94A2-4E64-A25F-E64F69B0C2C1}" dt="2024-03-05T22:19:11.170" v="4905"/>
          <ac:spMkLst>
            <pc:docMk/>
            <pc:sldMk cId="4264639648" sldId="595"/>
            <ac:spMk id="428" creationId="{03751722-2368-C13C-AC56-DA4C9B82E5AD}"/>
          </ac:spMkLst>
        </pc:spChg>
        <pc:cxnChg chg="del">
          <ac:chgData name="Bullinger, Marvin" userId="5b54ce5a-dc89-476f-af33-5abd75d5b1e8" providerId="ADAL" clId="{265A6489-94A2-4E64-A25F-E64F69B0C2C1}" dt="2024-03-05T20:07:14.464" v="273" actId="478"/>
          <ac:cxnSpMkLst>
            <pc:docMk/>
            <pc:sldMk cId="4264639648" sldId="595"/>
            <ac:cxnSpMk id="266" creationId="{5C8509D3-DF9C-625B-5DFD-F4A44E0278F9}"/>
          </ac:cxnSpMkLst>
        </pc:cxnChg>
        <pc:cxnChg chg="del">
          <ac:chgData name="Bullinger, Marvin" userId="5b54ce5a-dc89-476f-af33-5abd75d5b1e8" providerId="ADAL" clId="{265A6489-94A2-4E64-A25F-E64F69B0C2C1}" dt="2024-03-05T20:07:14.465" v="274" actId="478"/>
          <ac:cxnSpMkLst>
            <pc:docMk/>
            <pc:sldMk cId="4264639648" sldId="595"/>
            <ac:cxnSpMk id="269" creationId="{6E591E73-C5BF-E758-EC6D-D4D98C415E80}"/>
          </ac:cxnSpMkLst>
        </pc:cxnChg>
        <pc:cxnChg chg="del">
          <ac:chgData name="Bullinger, Marvin" userId="5b54ce5a-dc89-476f-af33-5abd75d5b1e8" providerId="ADAL" clId="{265A6489-94A2-4E64-A25F-E64F69B0C2C1}" dt="2024-03-05T20:07:14.466" v="276" actId="478"/>
          <ac:cxnSpMkLst>
            <pc:docMk/>
            <pc:sldMk cId="4264639648" sldId="595"/>
            <ac:cxnSpMk id="275" creationId="{2998FB03-1515-C485-E5E8-C75A26F7EE2B}"/>
          </ac:cxnSpMkLst>
        </pc:cxnChg>
        <pc:cxnChg chg="del">
          <ac:chgData name="Bullinger, Marvin" userId="5b54ce5a-dc89-476f-af33-5abd75d5b1e8" providerId="ADAL" clId="{265A6489-94A2-4E64-A25F-E64F69B0C2C1}" dt="2024-03-05T20:07:14.467" v="277" actId="478"/>
          <ac:cxnSpMkLst>
            <pc:docMk/>
            <pc:sldMk cId="4264639648" sldId="595"/>
            <ac:cxnSpMk id="278" creationId="{3E9DF369-3251-318C-D1D2-98B33C5D69B6}"/>
          </ac:cxnSpMkLst>
        </pc:cxnChg>
        <pc:cxnChg chg="del">
          <ac:chgData name="Bullinger, Marvin" userId="5b54ce5a-dc89-476f-af33-5abd75d5b1e8" providerId="ADAL" clId="{265A6489-94A2-4E64-A25F-E64F69B0C2C1}" dt="2024-03-05T20:07:14.467" v="278" actId="478"/>
          <ac:cxnSpMkLst>
            <pc:docMk/>
            <pc:sldMk cId="4264639648" sldId="595"/>
            <ac:cxnSpMk id="281" creationId="{5A462173-6420-6321-60D7-8B43F791AD90}"/>
          </ac:cxnSpMkLst>
        </pc:cxnChg>
        <pc:cxnChg chg="del">
          <ac:chgData name="Bullinger, Marvin" userId="5b54ce5a-dc89-476f-af33-5abd75d5b1e8" providerId="ADAL" clId="{265A6489-94A2-4E64-A25F-E64F69B0C2C1}" dt="2024-03-05T20:07:14.468" v="279" actId="478"/>
          <ac:cxnSpMkLst>
            <pc:docMk/>
            <pc:sldMk cId="4264639648" sldId="595"/>
            <ac:cxnSpMk id="282" creationId="{8F669F36-23E1-1BE9-BC7B-C0560F4F656E}"/>
          </ac:cxnSpMkLst>
        </pc:cxnChg>
        <pc:cxnChg chg="del ord replST">
          <ac:chgData name="Bullinger, Marvin" userId="5b54ce5a-dc89-476f-af33-5abd75d5b1e8" providerId="ADAL" clId="{265A6489-94A2-4E64-A25F-E64F69B0C2C1}" dt="2024-03-05T20:17:17.883" v="802" actId="478"/>
          <ac:cxnSpMkLst>
            <pc:docMk/>
            <pc:sldMk cId="4264639648" sldId="595"/>
            <ac:cxnSpMk id="295" creationId="{1B28AE25-E521-3B42-498E-E6076A4CA5E6}"/>
          </ac:cxnSpMkLst>
        </pc:cxnChg>
        <pc:cxnChg chg="del ord replST">
          <ac:chgData name="Bullinger, Marvin" userId="5b54ce5a-dc89-476f-af33-5abd75d5b1e8" providerId="ADAL" clId="{265A6489-94A2-4E64-A25F-E64F69B0C2C1}" dt="2024-03-05T20:17:17.884" v="803" actId="478"/>
          <ac:cxnSpMkLst>
            <pc:docMk/>
            <pc:sldMk cId="4264639648" sldId="595"/>
            <ac:cxnSpMk id="298" creationId="{4B90A84C-1C19-EEC7-47CE-736A57E8FBDF}"/>
          </ac:cxnSpMkLst>
        </pc:cxnChg>
        <pc:cxnChg chg="del ord replST">
          <ac:chgData name="Bullinger, Marvin" userId="5b54ce5a-dc89-476f-af33-5abd75d5b1e8" providerId="ADAL" clId="{265A6489-94A2-4E64-A25F-E64F69B0C2C1}" dt="2024-03-05T20:17:17.885" v="805" actId="478"/>
          <ac:cxnSpMkLst>
            <pc:docMk/>
            <pc:sldMk cId="4264639648" sldId="595"/>
            <ac:cxnSpMk id="304" creationId="{8BBE57F7-D538-6EAE-0C8D-C58894208298}"/>
          </ac:cxnSpMkLst>
        </pc:cxnChg>
        <pc:cxnChg chg="del ord replST">
          <ac:chgData name="Bullinger, Marvin" userId="5b54ce5a-dc89-476f-af33-5abd75d5b1e8" providerId="ADAL" clId="{265A6489-94A2-4E64-A25F-E64F69B0C2C1}" dt="2024-03-05T20:17:17.886" v="806" actId="478"/>
          <ac:cxnSpMkLst>
            <pc:docMk/>
            <pc:sldMk cId="4264639648" sldId="595"/>
            <ac:cxnSpMk id="305" creationId="{7BCE3441-F21C-2F9F-BC62-87D517DB120A}"/>
          </ac:cxnSpMkLst>
        </pc:cxnChg>
        <pc:cxnChg chg="del ord replST">
          <ac:chgData name="Bullinger, Marvin" userId="5b54ce5a-dc89-476f-af33-5abd75d5b1e8" providerId="ADAL" clId="{265A6489-94A2-4E64-A25F-E64F69B0C2C1}" dt="2024-03-05T22:19:10.270" v="4512" actId="478"/>
          <ac:cxnSpMkLst>
            <pc:docMk/>
            <pc:sldMk cId="4264639648" sldId="595"/>
            <ac:cxnSpMk id="321" creationId="{4CC2B471-B2AE-FD79-267C-A179FD26C726}"/>
          </ac:cxnSpMkLst>
        </pc:cxnChg>
        <pc:cxnChg chg="del ord replST">
          <ac:chgData name="Bullinger, Marvin" userId="5b54ce5a-dc89-476f-af33-5abd75d5b1e8" providerId="ADAL" clId="{265A6489-94A2-4E64-A25F-E64F69B0C2C1}" dt="2024-03-05T22:19:10.271" v="4513" actId="478"/>
          <ac:cxnSpMkLst>
            <pc:docMk/>
            <pc:sldMk cId="4264639648" sldId="595"/>
            <ac:cxnSpMk id="324" creationId="{A1BB0D6A-79A6-8947-F75E-E7F5E00C60EE}"/>
          </ac:cxnSpMkLst>
        </pc:cxnChg>
        <pc:cxnChg chg="del ord replST">
          <ac:chgData name="Bullinger, Marvin" userId="5b54ce5a-dc89-476f-af33-5abd75d5b1e8" providerId="ADAL" clId="{265A6489-94A2-4E64-A25F-E64F69B0C2C1}" dt="2024-03-05T22:19:10.272" v="4514" actId="478"/>
          <ac:cxnSpMkLst>
            <pc:docMk/>
            <pc:sldMk cId="4264639648" sldId="595"/>
            <ac:cxnSpMk id="327" creationId="{AA9A1221-32A7-A2A7-A8EB-AFB028751C47}"/>
          </ac:cxnSpMkLst>
        </pc:cxnChg>
        <pc:cxnChg chg="del ord replST">
          <ac:chgData name="Bullinger, Marvin" userId="5b54ce5a-dc89-476f-af33-5abd75d5b1e8" providerId="ADAL" clId="{265A6489-94A2-4E64-A25F-E64F69B0C2C1}" dt="2024-03-05T22:19:10.275" v="4516" actId="478"/>
          <ac:cxnSpMkLst>
            <pc:docMk/>
            <pc:sldMk cId="4264639648" sldId="595"/>
            <ac:cxnSpMk id="333" creationId="{FF264470-D621-6DC0-19DF-68C95D4D5854}"/>
          </ac:cxnSpMkLst>
        </pc:cxnChg>
        <pc:cxnChg chg="del ord replST">
          <ac:chgData name="Bullinger, Marvin" userId="5b54ce5a-dc89-476f-af33-5abd75d5b1e8" providerId="ADAL" clId="{265A6489-94A2-4E64-A25F-E64F69B0C2C1}" dt="2024-03-05T22:19:10.275" v="4517" actId="478"/>
          <ac:cxnSpMkLst>
            <pc:docMk/>
            <pc:sldMk cId="4264639648" sldId="595"/>
            <ac:cxnSpMk id="334" creationId="{E8EBF20D-2D02-98F9-35E8-A4FD304F8D01}"/>
          </ac:cxnSpMkLst>
        </pc:cxnChg>
        <pc:cxnChg chg="ord replST">
          <ac:chgData name="Bullinger, Marvin" userId="5b54ce5a-dc89-476f-af33-5abd75d5b1e8" providerId="ADAL" clId="{265A6489-94A2-4E64-A25F-E64F69B0C2C1}" dt="2024-03-05T22:19:11.179" v="4909"/>
          <ac:cxnSpMkLst>
            <pc:docMk/>
            <pc:sldMk cId="4264639648" sldId="595"/>
            <ac:cxnSpMk id="414" creationId="{AE944282-5DD2-53F4-C9E0-1009E0211E10}"/>
          </ac:cxnSpMkLst>
        </pc:cxnChg>
        <pc:cxnChg chg="ord replST">
          <ac:chgData name="Bullinger, Marvin" userId="5b54ce5a-dc89-476f-af33-5abd75d5b1e8" providerId="ADAL" clId="{265A6489-94A2-4E64-A25F-E64F69B0C2C1}" dt="2024-03-05T22:19:11.180" v="4910"/>
          <ac:cxnSpMkLst>
            <pc:docMk/>
            <pc:sldMk cId="4264639648" sldId="595"/>
            <ac:cxnSpMk id="417" creationId="{8B065923-BEDD-316F-3961-724673B83D80}"/>
          </ac:cxnSpMkLst>
        </pc:cxnChg>
        <pc:cxnChg chg="ord replST">
          <ac:chgData name="Bullinger, Marvin" userId="5b54ce5a-dc89-476f-af33-5abd75d5b1e8" providerId="ADAL" clId="{265A6489-94A2-4E64-A25F-E64F69B0C2C1}" dt="2024-03-05T22:19:11.182" v="4911"/>
          <ac:cxnSpMkLst>
            <pc:docMk/>
            <pc:sldMk cId="4264639648" sldId="595"/>
            <ac:cxnSpMk id="420" creationId="{DE593499-7E2E-1E8E-4231-C656E94F75EF}"/>
          </ac:cxnSpMkLst>
        </pc:cxnChg>
        <pc:cxnChg chg="ord replST">
          <ac:chgData name="Bullinger, Marvin" userId="5b54ce5a-dc89-476f-af33-5abd75d5b1e8" providerId="ADAL" clId="{265A6489-94A2-4E64-A25F-E64F69B0C2C1}" dt="2024-03-05T22:19:11.184" v="4912"/>
          <ac:cxnSpMkLst>
            <pc:docMk/>
            <pc:sldMk cId="4264639648" sldId="595"/>
            <ac:cxnSpMk id="423" creationId="{9B80A7D2-C79D-1067-EB1C-607B826EF22B}"/>
          </ac:cxnSpMkLst>
        </pc:cxnChg>
        <pc:cxnChg chg="ord replST">
          <ac:chgData name="Bullinger, Marvin" userId="5b54ce5a-dc89-476f-af33-5abd75d5b1e8" providerId="ADAL" clId="{265A6489-94A2-4E64-A25F-E64F69B0C2C1}" dt="2024-03-05T22:19:11.189" v="4914"/>
          <ac:cxnSpMkLst>
            <pc:docMk/>
            <pc:sldMk cId="4264639648" sldId="595"/>
            <ac:cxnSpMk id="429" creationId="{58C776ED-9C37-BBC5-3CA3-7475ECFE3ACB}"/>
          </ac:cxnSpMkLst>
        </pc:cxnChg>
        <pc:cxnChg chg="ord replST">
          <ac:chgData name="Bullinger, Marvin" userId="5b54ce5a-dc89-476f-af33-5abd75d5b1e8" providerId="ADAL" clId="{265A6489-94A2-4E64-A25F-E64F69B0C2C1}" dt="2024-03-05T22:19:11.191" v="4915"/>
          <ac:cxnSpMkLst>
            <pc:docMk/>
            <pc:sldMk cId="4264639648" sldId="595"/>
            <ac:cxnSpMk id="430" creationId="{A5234AC8-E01B-0FD7-7297-2B40FCF07B43}"/>
          </ac:cxnSpMkLst>
        </pc:cxnChg>
      </pc:sldChg>
      <pc:sldChg chg="del">
        <pc:chgData name="Bullinger, Marvin" userId="5b54ce5a-dc89-476f-af33-5abd75d5b1e8" providerId="ADAL" clId="{265A6489-94A2-4E64-A25F-E64F69B0C2C1}" dt="2024-03-05T20:19:13.890" v="1209" actId="47"/>
        <pc:sldMkLst>
          <pc:docMk/>
          <pc:sldMk cId="2284291004" sldId="596"/>
        </pc:sldMkLst>
      </pc:sldChg>
      <pc:sldChg chg="del">
        <pc:chgData name="Bullinger, Marvin" userId="5b54ce5a-dc89-476f-af33-5abd75d5b1e8" providerId="ADAL" clId="{265A6489-94A2-4E64-A25F-E64F69B0C2C1}" dt="2024-03-05T20:19:12.921" v="1208" actId="47"/>
        <pc:sldMkLst>
          <pc:docMk/>
          <pc:sldMk cId="473444533" sldId="598"/>
        </pc:sldMkLst>
      </pc:sldChg>
      <pc:sldChg chg="del">
        <pc:chgData name="Bullinger, Marvin" userId="5b54ce5a-dc89-476f-af33-5abd75d5b1e8" providerId="ADAL" clId="{265A6489-94A2-4E64-A25F-E64F69B0C2C1}" dt="2024-03-05T22:13:19.988" v="4238" actId="47"/>
        <pc:sldMkLst>
          <pc:docMk/>
          <pc:sldMk cId="3696754893" sldId="599"/>
        </pc:sldMkLst>
      </pc:sldChg>
      <pc:sldChg chg="addSp delSp modSp mod modAnim">
        <pc:chgData name="Bullinger, Marvin" userId="5b54ce5a-dc89-476f-af33-5abd75d5b1e8" providerId="ADAL" clId="{265A6489-94A2-4E64-A25F-E64F69B0C2C1}" dt="2024-03-08T14:14:48.234" v="5459"/>
        <pc:sldMkLst>
          <pc:docMk/>
          <pc:sldMk cId="1733906716" sldId="600"/>
        </pc:sldMkLst>
        <pc:spChg chg="mod">
          <ac:chgData name="Bullinger, Marvin" userId="5b54ce5a-dc89-476f-af33-5abd75d5b1e8" providerId="ADAL" clId="{265A6489-94A2-4E64-A25F-E64F69B0C2C1}" dt="2024-03-05T20:49:52.213" v="2381" actId="113"/>
          <ac:spMkLst>
            <pc:docMk/>
            <pc:sldMk cId="1733906716" sldId="600"/>
            <ac:spMk id="2" creationId="{F036CB7C-3D01-4FD0-973E-827329166DED}"/>
          </ac:spMkLst>
        </pc:spChg>
        <pc:spChg chg="add mod">
          <ac:chgData name="Bullinger, Marvin" userId="5b54ce5a-dc89-476f-af33-5abd75d5b1e8" providerId="ADAL" clId="{265A6489-94A2-4E64-A25F-E64F69B0C2C1}" dt="2024-03-05T20:52:50.884" v="2382" actId="1076"/>
          <ac:spMkLst>
            <pc:docMk/>
            <pc:sldMk cId="1733906716" sldId="600"/>
            <ac:spMk id="4" creationId="{D680C008-9009-9960-CDA4-8C89244CA424}"/>
          </ac:spMkLst>
        </pc:spChg>
        <pc:spChg chg="add mod">
          <ac:chgData name="Bullinger, Marvin" userId="5b54ce5a-dc89-476f-af33-5abd75d5b1e8" providerId="ADAL" clId="{265A6489-94A2-4E64-A25F-E64F69B0C2C1}" dt="2024-03-06T13:52:11.910" v="5116" actId="20577"/>
          <ac:spMkLst>
            <pc:docMk/>
            <pc:sldMk cId="1733906716" sldId="600"/>
            <ac:spMk id="5" creationId="{1249D918-6D16-4B51-5DCD-8802501E8B9E}"/>
          </ac:spMkLst>
        </pc:spChg>
        <pc:spChg chg="mod">
          <ac:chgData name="Bullinger, Marvin" userId="5b54ce5a-dc89-476f-af33-5abd75d5b1e8" providerId="ADAL" clId="{265A6489-94A2-4E64-A25F-E64F69B0C2C1}" dt="2024-03-05T20:53:03.234" v="2387" actId="1076"/>
          <ac:spMkLst>
            <pc:docMk/>
            <pc:sldMk cId="1733906716" sldId="600"/>
            <ac:spMk id="6" creationId="{345B8639-77C8-47BD-AF0C-3EE118B433CA}"/>
          </ac:spMkLst>
        </pc:spChg>
        <pc:spChg chg="add del">
          <ac:chgData name="Bullinger, Marvin" userId="5b54ce5a-dc89-476f-af33-5abd75d5b1e8" providerId="ADAL" clId="{265A6489-94A2-4E64-A25F-E64F69B0C2C1}" dt="2024-03-05T20:40:05.863" v="1891" actId="478"/>
          <ac:spMkLst>
            <pc:docMk/>
            <pc:sldMk cId="1733906716" sldId="600"/>
            <ac:spMk id="7" creationId="{0CB4FA70-3826-CC49-D3AA-5EBB6BA40766}"/>
          </ac:spMkLst>
        </pc:spChg>
        <pc:spChg chg="add del">
          <ac:chgData name="Bullinger, Marvin" userId="5b54ce5a-dc89-476f-af33-5abd75d5b1e8" providerId="ADAL" clId="{265A6489-94A2-4E64-A25F-E64F69B0C2C1}" dt="2024-03-05T20:39:58.907" v="1888" actId="478"/>
          <ac:spMkLst>
            <pc:docMk/>
            <pc:sldMk cId="1733906716" sldId="600"/>
            <ac:spMk id="8" creationId="{F04833D1-2A54-EAC8-A287-3E3888A4C1D4}"/>
          </ac:spMkLst>
        </pc:spChg>
        <pc:spChg chg="add del">
          <ac:chgData name="Bullinger, Marvin" userId="5b54ce5a-dc89-476f-af33-5abd75d5b1e8" providerId="ADAL" clId="{265A6489-94A2-4E64-A25F-E64F69B0C2C1}" dt="2024-03-05T20:39:54.636" v="1887" actId="478"/>
          <ac:spMkLst>
            <pc:docMk/>
            <pc:sldMk cId="1733906716" sldId="600"/>
            <ac:spMk id="9" creationId="{EF633A16-58A8-3080-7E30-461C09D41D9B}"/>
          </ac:spMkLst>
        </pc:spChg>
        <pc:spChg chg="add del mod">
          <ac:chgData name="Bullinger, Marvin" userId="5b54ce5a-dc89-476f-af33-5abd75d5b1e8" providerId="ADAL" clId="{265A6489-94A2-4E64-A25F-E64F69B0C2C1}" dt="2024-03-05T20:53:17.903" v="2390" actId="1076"/>
          <ac:spMkLst>
            <pc:docMk/>
            <pc:sldMk cId="1733906716" sldId="600"/>
            <ac:spMk id="10" creationId="{42035EA0-1C79-9EAC-D477-752FCF1797F8}"/>
          </ac:spMkLst>
        </pc:spChg>
        <pc:spChg chg="add del mod">
          <ac:chgData name="Bullinger, Marvin" userId="5b54ce5a-dc89-476f-af33-5abd75d5b1e8" providerId="ADAL" clId="{265A6489-94A2-4E64-A25F-E64F69B0C2C1}" dt="2024-03-05T20:53:17.903" v="2390" actId="1076"/>
          <ac:spMkLst>
            <pc:docMk/>
            <pc:sldMk cId="1733906716" sldId="600"/>
            <ac:spMk id="11" creationId="{885AB151-DBBF-C316-9D31-8056D96079BC}"/>
          </ac:spMkLst>
        </pc:spChg>
        <pc:spChg chg="add del">
          <ac:chgData name="Bullinger, Marvin" userId="5b54ce5a-dc89-476f-af33-5abd75d5b1e8" providerId="ADAL" clId="{265A6489-94A2-4E64-A25F-E64F69B0C2C1}" dt="2024-03-05T20:40:03.065" v="1890" actId="478"/>
          <ac:spMkLst>
            <pc:docMk/>
            <pc:sldMk cId="1733906716" sldId="600"/>
            <ac:spMk id="12" creationId="{17892B7D-5509-BD04-F831-1EE457D120A8}"/>
          </ac:spMkLst>
        </pc:spChg>
        <pc:spChg chg="add mod">
          <ac:chgData name="Bullinger, Marvin" userId="5b54ce5a-dc89-476f-af33-5abd75d5b1e8" providerId="ADAL" clId="{265A6489-94A2-4E64-A25F-E64F69B0C2C1}" dt="2024-03-06T13:52:42.779" v="5121" actId="1076"/>
          <ac:spMkLst>
            <pc:docMk/>
            <pc:sldMk cId="1733906716" sldId="600"/>
            <ac:spMk id="24" creationId="{84E2FE63-BEED-909E-6D3E-DCD851A0BD7B}"/>
          </ac:spMkLst>
        </pc:spChg>
        <pc:picChg chg="add mod">
          <ac:chgData name="Bullinger, Marvin" userId="5b54ce5a-dc89-476f-af33-5abd75d5b1e8" providerId="ADAL" clId="{265A6489-94A2-4E64-A25F-E64F69B0C2C1}" dt="2024-03-05T20:52:50.884" v="2382" actId="1076"/>
          <ac:picMkLst>
            <pc:docMk/>
            <pc:sldMk cId="1733906716" sldId="600"/>
            <ac:picMk id="3" creationId="{04F08180-F5F2-5A0C-1F3B-4E506516A914}"/>
          </ac:picMkLst>
        </pc:picChg>
        <pc:picChg chg="add mod">
          <ac:chgData name="Bullinger, Marvin" userId="5b54ce5a-dc89-476f-af33-5abd75d5b1e8" providerId="ADAL" clId="{265A6489-94A2-4E64-A25F-E64F69B0C2C1}" dt="2024-03-05T20:44:08.343" v="2201" actId="1076"/>
          <ac:picMkLst>
            <pc:docMk/>
            <pc:sldMk cId="1733906716" sldId="600"/>
            <ac:picMk id="13" creationId="{AFDA3AE4-A94E-926A-9581-9FD4B831B3AC}"/>
          </ac:picMkLst>
        </pc:picChg>
        <pc:picChg chg="add mod">
          <ac:chgData name="Bullinger, Marvin" userId="5b54ce5a-dc89-476f-af33-5abd75d5b1e8" providerId="ADAL" clId="{265A6489-94A2-4E64-A25F-E64F69B0C2C1}" dt="2024-03-05T20:44:08.343" v="2201" actId="1076"/>
          <ac:picMkLst>
            <pc:docMk/>
            <pc:sldMk cId="1733906716" sldId="600"/>
            <ac:picMk id="14" creationId="{C5B35A35-B02A-696B-98ED-147FBDABB6ED}"/>
          </ac:picMkLst>
        </pc:picChg>
        <pc:picChg chg="add mod">
          <ac:chgData name="Bullinger, Marvin" userId="5b54ce5a-dc89-476f-af33-5abd75d5b1e8" providerId="ADAL" clId="{265A6489-94A2-4E64-A25F-E64F69B0C2C1}" dt="2024-03-05T20:44:08.343" v="2201" actId="1076"/>
          <ac:picMkLst>
            <pc:docMk/>
            <pc:sldMk cId="1733906716" sldId="600"/>
            <ac:picMk id="15" creationId="{E91A9643-1963-2247-F5F7-035A0FA8D8F7}"/>
          </ac:picMkLst>
        </pc:picChg>
        <pc:picChg chg="add mod">
          <ac:chgData name="Bullinger, Marvin" userId="5b54ce5a-dc89-476f-af33-5abd75d5b1e8" providerId="ADAL" clId="{265A6489-94A2-4E64-A25F-E64F69B0C2C1}" dt="2024-03-05T20:44:08.343" v="2201" actId="1076"/>
          <ac:picMkLst>
            <pc:docMk/>
            <pc:sldMk cId="1733906716" sldId="600"/>
            <ac:picMk id="16" creationId="{352C7CEF-533B-777B-ADFD-CD922BD8C5F0}"/>
          </ac:picMkLst>
        </pc:picChg>
        <pc:picChg chg="add mod">
          <ac:chgData name="Bullinger, Marvin" userId="5b54ce5a-dc89-476f-af33-5abd75d5b1e8" providerId="ADAL" clId="{265A6489-94A2-4E64-A25F-E64F69B0C2C1}" dt="2024-03-05T20:44:08.343" v="2201" actId="1076"/>
          <ac:picMkLst>
            <pc:docMk/>
            <pc:sldMk cId="1733906716" sldId="600"/>
            <ac:picMk id="17" creationId="{01FC87DD-2EA1-D1B7-A756-1F26C2D372DE}"/>
          </ac:picMkLst>
        </pc:picChg>
        <pc:picChg chg="add mod">
          <ac:chgData name="Bullinger, Marvin" userId="5b54ce5a-dc89-476f-af33-5abd75d5b1e8" providerId="ADAL" clId="{265A6489-94A2-4E64-A25F-E64F69B0C2C1}" dt="2024-03-05T20:44:08.343" v="2201" actId="1076"/>
          <ac:picMkLst>
            <pc:docMk/>
            <pc:sldMk cId="1733906716" sldId="600"/>
            <ac:picMk id="18" creationId="{BEAB1D3E-0AEA-8BB2-EEC1-E87AA964E668}"/>
          </ac:picMkLst>
        </pc:picChg>
        <pc:picChg chg="add del">
          <ac:chgData name="Bullinger, Marvin" userId="5b54ce5a-dc89-476f-af33-5abd75d5b1e8" providerId="ADAL" clId="{265A6489-94A2-4E64-A25F-E64F69B0C2C1}" dt="2024-03-05T20:40:00.216" v="1889" actId="478"/>
          <ac:picMkLst>
            <pc:docMk/>
            <pc:sldMk cId="1733906716" sldId="600"/>
            <ac:picMk id="1032" creationId="{6824DC8B-BDDD-58DB-A407-C62BE3F82E13}"/>
          </ac:picMkLst>
        </pc:picChg>
        <pc:picChg chg="add del mod">
          <ac:chgData name="Bullinger, Marvin" userId="5b54ce5a-dc89-476f-af33-5abd75d5b1e8" providerId="ADAL" clId="{265A6489-94A2-4E64-A25F-E64F69B0C2C1}" dt="2024-03-05T20:53:17.903" v="2390" actId="1076"/>
          <ac:picMkLst>
            <pc:docMk/>
            <pc:sldMk cId="1733906716" sldId="600"/>
            <ac:picMk id="1034" creationId="{D47E58D7-5EC2-B771-44BA-7B5C61757179}"/>
          </ac:picMkLst>
        </pc:picChg>
        <pc:cxnChg chg="add mod">
          <ac:chgData name="Bullinger, Marvin" userId="5b54ce5a-dc89-476f-af33-5abd75d5b1e8" providerId="ADAL" clId="{265A6489-94A2-4E64-A25F-E64F69B0C2C1}" dt="2024-03-05T20:52:59.345" v="2385" actId="1076"/>
          <ac:cxnSpMkLst>
            <pc:docMk/>
            <pc:sldMk cId="1733906716" sldId="600"/>
            <ac:cxnSpMk id="19" creationId="{6EEBA051-A506-E6F6-6CCE-18C17434A077}"/>
          </ac:cxnSpMkLst>
        </pc:cxnChg>
        <pc:cxnChg chg="add mod">
          <ac:chgData name="Bullinger, Marvin" userId="5b54ce5a-dc89-476f-af33-5abd75d5b1e8" providerId="ADAL" clId="{265A6489-94A2-4E64-A25F-E64F69B0C2C1}" dt="2024-03-05T20:53:02.729" v="2386" actId="14100"/>
          <ac:cxnSpMkLst>
            <pc:docMk/>
            <pc:sldMk cId="1733906716" sldId="600"/>
            <ac:cxnSpMk id="21" creationId="{BD49AFCD-C012-6D22-95B7-D69F7E0671B3}"/>
          </ac:cxnSpMkLst>
        </pc:cxnChg>
      </pc:sldChg>
      <pc:sldChg chg="delSp modSp del mod">
        <pc:chgData name="Bullinger, Marvin" userId="5b54ce5a-dc89-476f-af33-5abd75d5b1e8" providerId="ADAL" clId="{265A6489-94A2-4E64-A25F-E64F69B0C2C1}" dt="2024-03-05T20:07:14.835" v="589" actId="2696"/>
        <pc:sldMkLst>
          <pc:docMk/>
          <pc:sldMk cId="3719439900" sldId="601"/>
        </pc:sldMkLst>
        <pc:spChg chg="del">
          <ac:chgData name="Bullinger, Marvin" userId="5b54ce5a-dc89-476f-af33-5abd75d5b1e8" providerId="ADAL" clId="{265A6489-94A2-4E64-A25F-E64F69B0C2C1}" dt="2024-03-05T20:07:14.833" v="587" actId="478"/>
          <ac:spMkLst>
            <pc:docMk/>
            <pc:sldMk cId="3719439900" sldId="601"/>
            <ac:spMk id="42" creationId="{B025C203-8B15-A2FC-0B96-BD818F36D23D}"/>
          </ac:spMkLst>
        </pc:spChg>
        <pc:spChg chg="mod">
          <ac:chgData name="Bullinger, Marvin" userId="5b54ce5a-dc89-476f-af33-5abd75d5b1e8" providerId="ADAL" clId="{265A6489-94A2-4E64-A25F-E64F69B0C2C1}" dt="2024-03-05T20:07:14.058" v="104" actId="207"/>
          <ac:spMkLst>
            <pc:docMk/>
            <pc:sldMk cId="3719439900" sldId="601"/>
            <ac:spMk id="44" creationId="{1120C3C0-FEB5-CF49-519C-CEE530558B13}"/>
          </ac:spMkLst>
        </pc:spChg>
        <pc:spChg chg="mod modVis">
          <ac:chgData name="Bullinger, Marvin" userId="5b54ce5a-dc89-476f-af33-5abd75d5b1e8" providerId="ADAL" clId="{265A6489-94A2-4E64-A25F-E64F69B0C2C1}" dt="2024-03-05T20:07:14.105" v="105" actId="962"/>
          <ac:spMkLst>
            <pc:docMk/>
            <pc:sldMk cId="3719439900" sldId="601"/>
            <ac:spMk id="46" creationId="{46ED8FF4-AFF6-9BFD-66A7-8041FEC99803}"/>
          </ac:spMkLst>
        </pc:spChg>
        <pc:spChg chg="mod modVis">
          <ac:chgData name="Bullinger, Marvin" userId="5b54ce5a-dc89-476f-af33-5abd75d5b1e8" providerId="ADAL" clId="{265A6489-94A2-4E64-A25F-E64F69B0C2C1}" dt="2024-03-05T20:07:14.111" v="106" actId="962"/>
          <ac:spMkLst>
            <pc:docMk/>
            <pc:sldMk cId="3719439900" sldId="601"/>
            <ac:spMk id="47" creationId="{84E89204-78DF-7DB4-6326-87CAE50ACED8}"/>
          </ac:spMkLst>
        </pc:spChg>
        <pc:spChg chg="mod modVis">
          <ac:chgData name="Bullinger, Marvin" userId="5b54ce5a-dc89-476f-af33-5abd75d5b1e8" providerId="ADAL" clId="{265A6489-94A2-4E64-A25F-E64F69B0C2C1}" dt="2024-03-05T20:07:14.118" v="107" actId="962"/>
          <ac:spMkLst>
            <pc:docMk/>
            <pc:sldMk cId="3719439900" sldId="601"/>
            <ac:spMk id="48" creationId="{1F4D5C93-FB95-DA5C-AA25-27AB32E89FAF}"/>
          </ac:spMkLst>
        </pc:spChg>
        <pc:spChg chg="mod modVis">
          <ac:chgData name="Bullinger, Marvin" userId="5b54ce5a-dc89-476f-af33-5abd75d5b1e8" providerId="ADAL" clId="{265A6489-94A2-4E64-A25F-E64F69B0C2C1}" dt="2024-03-05T20:07:14.123" v="108" actId="962"/>
          <ac:spMkLst>
            <pc:docMk/>
            <pc:sldMk cId="3719439900" sldId="601"/>
            <ac:spMk id="49" creationId="{63089EB1-C0F3-E16E-D973-50F46E508414}"/>
          </ac:spMkLst>
        </pc:spChg>
        <pc:spChg chg="mod modVis">
          <ac:chgData name="Bullinger, Marvin" userId="5b54ce5a-dc89-476f-af33-5abd75d5b1e8" providerId="ADAL" clId="{265A6489-94A2-4E64-A25F-E64F69B0C2C1}" dt="2024-03-05T20:07:14.128" v="109" actId="962"/>
          <ac:spMkLst>
            <pc:docMk/>
            <pc:sldMk cId="3719439900" sldId="601"/>
            <ac:spMk id="50" creationId="{A560E1FF-4730-D923-13A0-E432F9746DFF}"/>
          </ac:spMkLst>
        </pc:spChg>
        <pc:spChg chg="mod modVis">
          <ac:chgData name="Bullinger, Marvin" userId="5b54ce5a-dc89-476f-af33-5abd75d5b1e8" providerId="ADAL" clId="{265A6489-94A2-4E64-A25F-E64F69B0C2C1}" dt="2024-03-05T20:07:14.132" v="110" actId="962"/>
          <ac:spMkLst>
            <pc:docMk/>
            <pc:sldMk cId="3719439900" sldId="601"/>
            <ac:spMk id="51" creationId="{AFE4C713-53BF-D304-9BE5-CDC1794D6464}"/>
          </ac:spMkLst>
        </pc:spChg>
        <pc:spChg chg="mod modVis">
          <ac:chgData name="Bullinger, Marvin" userId="5b54ce5a-dc89-476f-af33-5abd75d5b1e8" providerId="ADAL" clId="{265A6489-94A2-4E64-A25F-E64F69B0C2C1}" dt="2024-03-05T20:07:14.136" v="111" actId="962"/>
          <ac:spMkLst>
            <pc:docMk/>
            <pc:sldMk cId="3719439900" sldId="601"/>
            <ac:spMk id="52" creationId="{6C5D83AB-1493-177F-4961-0E042FC5553F}"/>
          </ac:spMkLst>
        </pc:spChg>
        <pc:spChg chg="mod modVis">
          <ac:chgData name="Bullinger, Marvin" userId="5b54ce5a-dc89-476f-af33-5abd75d5b1e8" providerId="ADAL" clId="{265A6489-94A2-4E64-A25F-E64F69B0C2C1}" dt="2024-03-05T20:07:14.140" v="112" actId="962"/>
          <ac:spMkLst>
            <pc:docMk/>
            <pc:sldMk cId="3719439900" sldId="601"/>
            <ac:spMk id="53" creationId="{02ACA346-DB10-917D-464D-44FF5C70E193}"/>
          </ac:spMkLst>
        </pc:spChg>
        <pc:spChg chg="mod modVis">
          <ac:chgData name="Bullinger, Marvin" userId="5b54ce5a-dc89-476f-af33-5abd75d5b1e8" providerId="ADAL" clId="{265A6489-94A2-4E64-A25F-E64F69B0C2C1}" dt="2024-03-05T20:07:14.143" v="113" actId="962"/>
          <ac:spMkLst>
            <pc:docMk/>
            <pc:sldMk cId="3719439900" sldId="601"/>
            <ac:spMk id="54" creationId="{D7BE2D91-453A-FFD2-FA77-50C1B0E924F9}"/>
          </ac:spMkLst>
        </pc:spChg>
        <pc:spChg chg="mod modVis">
          <ac:chgData name="Bullinger, Marvin" userId="5b54ce5a-dc89-476f-af33-5abd75d5b1e8" providerId="ADAL" clId="{265A6489-94A2-4E64-A25F-E64F69B0C2C1}" dt="2024-03-05T20:07:14.148" v="114" actId="962"/>
          <ac:spMkLst>
            <pc:docMk/>
            <pc:sldMk cId="3719439900" sldId="601"/>
            <ac:spMk id="55" creationId="{E3F38DC3-224B-9EB5-3DDD-4FDF3E902582}"/>
          </ac:spMkLst>
        </pc:spChg>
        <pc:spChg chg="mod modVis">
          <ac:chgData name="Bullinger, Marvin" userId="5b54ce5a-dc89-476f-af33-5abd75d5b1e8" providerId="ADAL" clId="{265A6489-94A2-4E64-A25F-E64F69B0C2C1}" dt="2024-03-05T20:07:14.153" v="115" actId="962"/>
          <ac:spMkLst>
            <pc:docMk/>
            <pc:sldMk cId="3719439900" sldId="601"/>
            <ac:spMk id="56" creationId="{AF35783A-CD0F-F099-1066-8F30C0032229}"/>
          </ac:spMkLst>
        </pc:spChg>
        <pc:spChg chg="mod modVis">
          <ac:chgData name="Bullinger, Marvin" userId="5b54ce5a-dc89-476f-af33-5abd75d5b1e8" providerId="ADAL" clId="{265A6489-94A2-4E64-A25F-E64F69B0C2C1}" dt="2024-03-05T20:07:14.158" v="116" actId="962"/>
          <ac:spMkLst>
            <pc:docMk/>
            <pc:sldMk cId="3719439900" sldId="601"/>
            <ac:spMk id="57" creationId="{59E0DDD8-1909-196E-B827-57B53F9965F9}"/>
          </ac:spMkLst>
        </pc:spChg>
        <pc:spChg chg="mod modVis">
          <ac:chgData name="Bullinger, Marvin" userId="5b54ce5a-dc89-476f-af33-5abd75d5b1e8" providerId="ADAL" clId="{265A6489-94A2-4E64-A25F-E64F69B0C2C1}" dt="2024-03-05T20:07:14.163" v="117" actId="962"/>
          <ac:spMkLst>
            <pc:docMk/>
            <pc:sldMk cId="3719439900" sldId="601"/>
            <ac:spMk id="58" creationId="{66BAF205-F813-1C5F-3187-B93D80EF0224}"/>
          </ac:spMkLst>
        </pc:spChg>
        <pc:spChg chg="mod modVis">
          <ac:chgData name="Bullinger, Marvin" userId="5b54ce5a-dc89-476f-af33-5abd75d5b1e8" providerId="ADAL" clId="{265A6489-94A2-4E64-A25F-E64F69B0C2C1}" dt="2024-03-05T20:07:14.172" v="118" actId="962"/>
          <ac:spMkLst>
            <pc:docMk/>
            <pc:sldMk cId="3719439900" sldId="601"/>
            <ac:spMk id="59" creationId="{16219149-D654-3DC2-ACFA-633A8CF3C86C}"/>
          </ac:spMkLst>
        </pc:spChg>
        <pc:spChg chg="mod modVis">
          <ac:chgData name="Bullinger, Marvin" userId="5b54ce5a-dc89-476f-af33-5abd75d5b1e8" providerId="ADAL" clId="{265A6489-94A2-4E64-A25F-E64F69B0C2C1}" dt="2024-03-05T20:07:14.176" v="119" actId="962"/>
          <ac:spMkLst>
            <pc:docMk/>
            <pc:sldMk cId="3719439900" sldId="601"/>
            <ac:spMk id="60" creationId="{E20292AE-A783-9BE5-B607-4AEC05186620}"/>
          </ac:spMkLst>
        </pc:spChg>
        <pc:spChg chg="mod modVis">
          <ac:chgData name="Bullinger, Marvin" userId="5b54ce5a-dc89-476f-af33-5abd75d5b1e8" providerId="ADAL" clId="{265A6489-94A2-4E64-A25F-E64F69B0C2C1}" dt="2024-03-05T20:07:14.180" v="120" actId="962"/>
          <ac:spMkLst>
            <pc:docMk/>
            <pc:sldMk cId="3719439900" sldId="601"/>
            <ac:spMk id="61" creationId="{4AD552CF-A50A-6D00-CAB5-3DEBD336D6E9}"/>
          </ac:spMkLst>
        </pc:spChg>
        <pc:spChg chg="mod modVis">
          <ac:chgData name="Bullinger, Marvin" userId="5b54ce5a-dc89-476f-af33-5abd75d5b1e8" providerId="ADAL" clId="{265A6489-94A2-4E64-A25F-E64F69B0C2C1}" dt="2024-03-05T20:07:14.183" v="121" actId="962"/>
          <ac:spMkLst>
            <pc:docMk/>
            <pc:sldMk cId="3719439900" sldId="601"/>
            <ac:spMk id="62" creationId="{61A588A7-1772-ED78-2074-0A3691572EFA}"/>
          </ac:spMkLst>
        </pc:spChg>
        <pc:spChg chg="mod modVis">
          <ac:chgData name="Bullinger, Marvin" userId="5b54ce5a-dc89-476f-af33-5abd75d5b1e8" providerId="ADAL" clId="{265A6489-94A2-4E64-A25F-E64F69B0C2C1}" dt="2024-03-05T20:07:14.188" v="122" actId="962"/>
          <ac:spMkLst>
            <pc:docMk/>
            <pc:sldMk cId="3719439900" sldId="601"/>
            <ac:spMk id="63" creationId="{0B929AB6-73B2-E4C2-7E0C-407AD966CD9C}"/>
          </ac:spMkLst>
        </pc:spChg>
        <pc:spChg chg="mod modVis">
          <ac:chgData name="Bullinger, Marvin" userId="5b54ce5a-dc89-476f-af33-5abd75d5b1e8" providerId="ADAL" clId="{265A6489-94A2-4E64-A25F-E64F69B0C2C1}" dt="2024-03-05T20:07:14.193" v="123" actId="962"/>
          <ac:spMkLst>
            <pc:docMk/>
            <pc:sldMk cId="3719439900" sldId="601"/>
            <ac:spMk id="64" creationId="{B3DBB5B6-AFD5-0D66-039F-240D1F6F9826}"/>
          </ac:spMkLst>
        </pc:spChg>
        <pc:spChg chg="mod modVis">
          <ac:chgData name="Bullinger, Marvin" userId="5b54ce5a-dc89-476f-af33-5abd75d5b1e8" providerId="ADAL" clId="{265A6489-94A2-4E64-A25F-E64F69B0C2C1}" dt="2024-03-05T20:07:14.199" v="124" actId="962"/>
          <ac:spMkLst>
            <pc:docMk/>
            <pc:sldMk cId="3719439900" sldId="601"/>
            <ac:spMk id="65" creationId="{63C11932-50E2-311B-24A0-8351342B9C38}"/>
          </ac:spMkLst>
        </pc:spChg>
        <pc:spChg chg="mod modVis">
          <ac:chgData name="Bullinger, Marvin" userId="5b54ce5a-dc89-476f-af33-5abd75d5b1e8" providerId="ADAL" clId="{265A6489-94A2-4E64-A25F-E64F69B0C2C1}" dt="2024-03-05T20:07:14.205" v="125" actId="962"/>
          <ac:spMkLst>
            <pc:docMk/>
            <pc:sldMk cId="3719439900" sldId="601"/>
            <ac:spMk id="66" creationId="{4C7C0803-38FB-0FC3-65E5-287FC35AF00E}"/>
          </ac:spMkLst>
        </pc:spChg>
        <pc:spChg chg="mod modVis">
          <ac:chgData name="Bullinger, Marvin" userId="5b54ce5a-dc89-476f-af33-5abd75d5b1e8" providerId="ADAL" clId="{265A6489-94A2-4E64-A25F-E64F69B0C2C1}" dt="2024-03-05T20:07:14.210" v="126" actId="962"/>
          <ac:spMkLst>
            <pc:docMk/>
            <pc:sldMk cId="3719439900" sldId="601"/>
            <ac:spMk id="67" creationId="{49D3FD88-F55C-AE32-591E-312FC2DFEEE5}"/>
          </ac:spMkLst>
        </pc:spChg>
        <pc:spChg chg="mod modVis">
          <ac:chgData name="Bullinger, Marvin" userId="5b54ce5a-dc89-476f-af33-5abd75d5b1e8" providerId="ADAL" clId="{265A6489-94A2-4E64-A25F-E64F69B0C2C1}" dt="2024-03-05T20:07:14.214" v="127" actId="962"/>
          <ac:spMkLst>
            <pc:docMk/>
            <pc:sldMk cId="3719439900" sldId="601"/>
            <ac:spMk id="68" creationId="{6CE6F586-415C-DEB2-910C-87D99D5D2401}"/>
          </ac:spMkLst>
        </pc:spChg>
        <pc:spChg chg="mod modVis">
          <ac:chgData name="Bullinger, Marvin" userId="5b54ce5a-dc89-476f-af33-5abd75d5b1e8" providerId="ADAL" clId="{265A6489-94A2-4E64-A25F-E64F69B0C2C1}" dt="2024-03-05T20:07:14.217" v="128" actId="962"/>
          <ac:spMkLst>
            <pc:docMk/>
            <pc:sldMk cId="3719439900" sldId="601"/>
            <ac:spMk id="69" creationId="{DFAA1E24-CB12-D8B7-483E-A87F72271253}"/>
          </ac:spMkLst>
        </pc:spChg>
        <pc:spChg chg="mod modVis">
          <ac:chgData name="Bullinger, Marvin" userId="5b54ce5a-dc89-476f-af33-5abd75d5b1e8" providerId="ADAL" clId="{265A6489-94A2-4E64-A25F-E64F69B0C2C1}" dt="2024-03-05T20:07:14.221" v="129" actId="962"/>
          <ac:spMkLst>
            <pc:docMk/>
            <pc:sldMk cId="3719439900" sldId="601"/>
            <ac:spMk id="70" creationId="{DCF5A617-9527-8B88-56D9-4BAADC9D6896}"/>
          </ac:spMkLst>
        </pc:spChg>
        <pc:spChg chg="mod modVis">
          <ac:chgData name="Bullinger, Marvin" userId="5b54ce5a-dc89-476f-af33-5abd75d5b1e8" providerId="ADAL" clId="{265A6489-94A2-4E64-A25F-E64F69B0C2C1}" dt="2024-03-05T20:07:14.226" v="130" actId="962"/>
          <ac:spMkLst>
            <pc:docMk/>
            <pc:sldMk cId="3719439900" sldId="601"/>
            <ac:spMk id="71" creationId="{F29BA030-AEC0-7B4D-79E5-26AE6C86E54C}"/>
          </ac:spMkLst>
        </pc:spChg>
        <pc:spChg chg="mod modVis">
          <ac:chgData name="Bullinger, Marvin" userId="5b54ce5a-dc89-476f-af33-5abd75d5b1e8" providerId="ADAL" clId="{265A6489-94A2-4E64-A25F-E64F69B0C2C1}" dt="2024-03-05T20:07:14.231" v="131" actId="962"/>
          <ac:spMkLst>
            <pc:docMk/>
            <pc:sldMk cId="3719439900" sldId="601"/>
            <ac:spMk id="72" creationId="{F0E4D5C8-071C-4C35-50CD-33DCE921081A}"/>
          </ac:spMkLst>
        </pc:spChg>
        <pc:spChg chg="mod modVis">
          <ac:chgData name="Bullinger, Marvin" userId="5b54ce5a-dc89-476f-af33-5abd75d5b1e8" providerId="ADAL" clId="{265A6489-94A2-4E64-A25F-E64F69B0C2C1}" dt="2024-03-05T20:07:14.236" v="132" actId="962"/>
          <ac:spMkLst>
            <pc:docMk/>
            <pc:sldMk cId="3719439900" sldId="601"/>
            <ac:spMk id="73" creationId="{630272F6-7109-FFCB-7547-86DEA4231DDE}"/>
          </ac:spMkLst>
        </pc:spChg>
        <pc:spChg chg="mod modVis">
          <ac:chgData name="Bullinger, Marvin" userId="5b54ce5a-dc89-476f-af33-5abd75d5b1e8" providerId="ADAL" clId="{265A6489-94A2-4E64-A25F-E64F69B0C2C1}" dt="2024-03-05T20:07:14.241" v="133" actId="962"/>
          <ac:spMkLst>
            <pc:docMk/>
            <pc:sldMk cId="3719439900" sldId="601"/>
            <ac:spMk id="74" creationId="{93AF8535-FC33-A49C-9EDA-86A0AFA3F1C2}"/>
          </ac:spMkLst>
        </pc:spChg>
        <pc:spChg chg="mod modVis">
          <ac:chgData name="Bullinger, Marvin" userId="5b54ce5a-dc89-476f-af33-5abd75d5b1e8" providerId="ADAL" clId="{265A6489-94A2-4E64-A25F-E64F69B0C2C1}" dt="2024-03-05T20:07:14.246" v="134" actId="962"/>
          <ac:spMkLst>
            <pc:docMk/>
            <pc:sldMk cId="3719439900" sldId="601"/>
            <ac:spMk id="75" creationId="{7F54D168-ABC9-0993-4ABF-0D1ECEBC4B50}"/>
          </ac:spMkLst>
        </pc:spChg>
        <pc:spChg chg="mod modVis">
          <ac:chgData name="Bullinger, Marvin" userId="5b54ce5a-dc89-476f-af33-5abd75d5b1e8" providerId="ADAL" clId="{265A6489-94A2-4E64-A25F-E64F69B0C2C1}" dt="2024-03-05T20:07:14.251" v="135" actId="962"/>
          <ac:spMkLst>
            <pc:docMk/>
            <pc:sldMk cId="3719439900" sldId="601"/>
            <ac:spMk id="76" creationId="{361AF088-CEE5-6E24-76BA-5CF0C6CADF26}"/>
          </ac:spMkLst>
        </pc:spChg>
        <pc:spChg chg="mod modVis">
          <ac:chgData name="Bullinger, Marvin" userId="5b54ce5a-dc89-476f-af33-5abd75d5b1e8" providerId="ADAL" clId="{265A6489-94A2-4E64-A25F-E64F69B0C2C1}" dt="2024-03-05T20:07:14.254" v="136" actId="962"/>
          <ac:spMkLst>
            <pc:docMk/>
            <pc:sldMk cId="3719439900" sldId="601"/>
            <ac:spMk id="77" creationId="{52BE5F95-772A-A1C6-3E1A-2B80D2EA95DA}"/>
          </ac:spMkLst>
        </pc:spChg>
        <pc:cxnChg chg="del">
          <ac:chgData name="Bullinger, Marvin" userId="5b54ce5a-dc89-476f-af33-5abd75d5b1e8" providerId="ADAL" clId="{265A6489-94A2-4E64-A25F-E64F69B0C2C1}" dt="2024-03-05T20:07:14.834" v="588" actId="478"/>
          <ac:cxnSpMkLst>
            <pc:docMk/>
            <pc:sldMk cId="3719439900" sldId="601"/>
            <ac:cxnSpMk id="43" creationId="{AC5CB3D7-833E-8C64-B2C1-1092043192F6}"/>
          </ac:cxnSpMkLst>
        </pc:cxnChg>
      </pc:sldChg>
      <pc:sldChg chg="delSp modSp del mod">
        <pc:chgData name="Bullinger, Marvin" userId="5b54ce5a-dc89-476f-af33-5abd75d5b1e8" providerId="ADAL" clId="{265A6489-94A2-4E64-A25F-E64F69B0C2C1}" dt="2024-03-05T20:17:18.382" v="1198" actId="2696"/>
        <pc:sldMkLst>
          <pc:docMk/>
          <pc:sldMk cId="4165652465" sldId="601"/>
        </pc:sldMkLst>
        <pc:spChg chg="del">
          <ac:chgData name="Bullinger, Marvin" userId="5b54ce5a-dc89-476f-af33-5abd75d5b1e8" providerId="ADAL" clId="{265A6489-94A2-4E64-A25F-E64F69B0C2C1}" dt="2024-03-05T20:17:18.379" v="1196" actId="478"/>
          <ac:spMkLst>
            <pc:docMk/>
            <pc:sldMk cId="4165652465" sldId="601"/>
            <ac:spMk id="42" creationId="{DB689992-4FC5-8907-2DF5-D9BF63C29663}"/>
          </ac:spMkLst>
        </pc:spChg>
        <pc:spChg chg="mod">
          <ac:chgData name="Bullinger, Marvin" userId="5b54ce5a-dc89-476f-af33-5abd75d5b1e8" providerId="ADAL" clId="{265A6489-94A2-4E64-A25F-E64F69B0C2C1}" dt="2024-03-05T20:17:17.450" v="593" actId="207"/>
          <ac:spMkLst>
            <pc:docMk/>
            <pc:sldMk cId="4165652465" sldId="601"/>
            <ac:spMk id="44" creationId="{49F65AA0-6DD7-CFB8-7C63-3F701BD1A57A}"/>
          </ac:spMkLst>
        </pc:spChg>
        <pc:spChg chg="mod modVis">
          <ac:chgData name="Bullinger, Marvin" userId="5b54ce5a-dc89-476f-af33-5abd75d5b1e8" providerId="ADAL" clId="{265A6489-94A2-4E64-A25F-E64F69B0C2C1}" dt="2024-03-05T20:17:17.490" v="594" actId="962"/>
          <ac:spMkLst>
            <pc:docMk/>
            <pc:sldMk cId="4165652465" sldId="601"/>
            <ac:spMk id="46" creationId="{6909F34C-2CA5-111B-25C5-9B9D840973A2}"/>
          </ac:spMkLst>
        </pc:spChg>
        <pc:spChg chg="mod modVis">
          <ac:chgData name="Bullinger, Marvin" userId="5b54ce5a-dc89-476f-af33-5abd75d5b1e8" providerId="ADAL" clId="{265A6489-94A2-4E64-A25F-E64F69B0C2C1}" dt="2024-03-05T20:17:17.496" v="595" actId="962"/>
          <ac:spMkLst>
            <pc:docMk/>
            <pc:sldMk cId="4165652465" sldId="601"/>
            <ac:spMk id="47" creationId="{9074FEBE-38D5-99BC-F98E-FEACD8032ACC}"/>
          </ac:spMkLst>
        </pc:spChg>
        <pc:spChg chg="mod modVis">
          <ac:chgData name="Bullinger, Marvin" userId="5b54ce5a-dc89-476f-af33-5abd75d5b1e8" providerId="ADAL" clId="{265A6489-94A2-4E64-A25F-E64F69B0C2C1}" dt="2024-03-05T20:17:17.503" v="596" actId="962"/>
          <ac:spMkLst>
            <pc:docMk/>
            <pc:sldMk cId="4165652465" sldId="601"/>
            <ac:spMk id="48" creationId="{846FE808-6CE7-ACA1-991F-451EAD7DD765}"/>
          </ac:spMkLst>
        </pc:spChg>
        <pc:spChg chg="mod modVis">
          <ac:chgData name="Bullinger, Marvin" userId="5b54ce5a-dc89-476f-af33-5abd75d5b1e8" providerId="ADAL" clId="{265A6489-94A2-4E64-A25F-E64F69B0C2C1}" dt="2024-03-05T20:17:17.508" v="597" actId="962"/>
          <ac:spMkLst>
            <pc:docMk/>
            <pc:sldMk cId="4165652465" sldId="601"/>
            <ac:spMk id="49" creationId="{0430D302-66F0-D112-15FA-F5E568118747}"/>
          </ac:spMkLst>
        </pc:spChg>
        <pc:spChg chg="mod modVis">
          <ac:chgData name="Bullinger, Marvin" userId="5b54ce5a-dc89-476f-af33-5abd75d5b1e8" providerId="ADAL" clId="{265A6489-94A2-4E64-A25F-E64F69B0C2C1}" dt="2024-03-05T20:17:17.513" v="598" actId="962"/>
          <ac:spMkLst>
            <pc:docMk/>
            <pc:sldMk cId="4165652465" sldId="601"/>
            <ac:spMk id="50" creationId="{63D59EF6-931F-5145-6A7E-E7A357B386AF}"/>
          </ac:spMkLst>
        </pc:spChg>
        <pc:spChg chg="mod modVis">
          <ac:chgData name="Bullinger, Marvin" userId="5b54ce5a-dc89-476f-af33-5abd75d5b1e8" providerId="ADAL" clId="{265A6489-94A2-4E64-A25F-E64F69B0C2C1}" dt="2024-03-05T20:17:17.518" v="599" actId="962"/>
          <ac:spMkLst>
            <pc:docMk/>
            <pc:sldMk cId="4165652465" sldId="601"/>
            <ac:spMk id="51" creationId="{DF58E741-93D5-2CDD-F0EF-06030801AAAB}"/>
          </ac:spMkLst>
        </pc:spChg>
        <pc:spChg chg="mod modVis">
          <ac:chgData name="Bullinger, Marvin" userId="5b54ce5a-dc89-476f-af33-5abd75d5b1e8" providerId="ADAL" clId="{265A6489-94A2-4E64-A25F-E64F69B0C2C1}" dt="2024-03-05T20:17:17.522" v="600" actId="962"/>
          <ac:spMkLst>
            <pc:docMk/>
            <pc:sldMk cId="4165652465" sldId="601"/>
            <ac:spMk id="52" creationId="{4E732F9F-FB76-2EC8-A263-6F27A9033C20}"/>
          </ac:spMkLst>
        </pc:spChg>
        <pc:spChg chg="mod modVis">
          <ac:chgData name="Bullinger, Marvin" userId="5b54ce5a-dc89-476f-af33-5abd75d5b1e8" providerId="ADAL" clId="{265A6489-94A2-4E64-A25F-E64F69B0C2C1}" dt="2024-03-05T20:17:17.526" v="601" actId="962"/>
          <ac:spMkLst>
            <pc:docMk/>
            <pc:sldMk cId="4165652465" sldId="601"/>
            <ac:spMk id="53" creationId="{873E1418-CE3F-6451-6A9E-0C217455D240}"/>
          </ac:spMkLst>
        </pc:spChg>
        <pc:spChg chg="mod modVis">
          <ac:chgData name="Bullinger, Marvin" userId="5b54ce5a-dc89-476f-af33-5abd75d5b1e8" providerId="ADAL" clId="{265A6489-94A2-4E64-A25F-E64F69B0C2C1}" dt="2024-03-05T20:17:17.529" v="602" actId="962"/>
          <ac:spMkLst>
            <pc:docMk/>
            <pc:sldMk cId="4165652465" sldId="601"/>
            <ac:spMk id="54" creationId="{960C3919-2757-683B-76DE-405EEDA45992}"/>
          </ac:spMkLst>
        </pc:spChg>
        <pc:spChg chg="mod modVis">
          <ac:chgData name="Bullinger, Marvin" userId="5b54ce5a-dc89-476f-af33-5abd75d5b1e8" providerId="ADAL" clId="{265A6489-94A2-4E64-A25F-E64F69B0C2C1}" dt="2024-03-05T20:17:17.534" v="603" actId="962"/>
          <ac:spMkLst>
            <pc:docMk/>
            <pc:sldMk cId="4165652465" sldId="601"/>
            <ac:spMk id="55" creationId="{5789BD27-7869-8A9C-D139-91DC0FDE003F}"/>
          </ac:spMkLst>
        </pc:spChg>
        <pc:spChg chg="mod modVis">
          <ac:chgData name="Bullinger, Marvin" userId="5b54ce5a-dc89-476f-af33-5abd75d5b1e8" providerId="ADAL" clId="{265A6489-94A2-4E64-A25F-E64F69B0C2C1}" dt="2024-03-05T20:17:17.539" v="604" actId="962"/>
          <ac:spMkLst>
            <pc:docMk/>
            <pc:sldMk cId="4165652465" sldId="601"/>
            <ac:spMk id="56" creationId="{65415B6E-E68F-EB28-C683-A64E1C88EBF6}"/>
          </ac:spMkLst>
        </pc:spChg>
        <pc:spChg chg="mod modVis">
          <ac:chgData name="Bullinger, Marvin" userId="5b54ce5a-dc89-476f-af33-5abd75d5b1e8" providerId="ADAL" clId="{265A6489-94A2-4E64-A25F-E64F69B0C2C1}" dt="2024-03-05T20:17:17.544" v="605" actId="962"/>
          <ac:spMkLst>
            <pc:docMk/>
            <pc:sldMk cId="4165652465" sldId="601"/>
            <ac:spMk id="57" creationId="{20A37C93-EB92-E177-A7F8-BE5A787904A8}"/>
          </ac:spMkLst>
        </pc:spChg>
        <pc:spChg chg="mod modVis">
          <ac:chgData name="Bullinger, Marvin" userId="5b54ce5a-dc89-476f-af33-5abd75d5b1e8" providerId="ADAL" clId="{265A6489-94A2-4E64-A25F-E64F69B0C2C1}" dt="2024-03-05T20:17:17.549" v="606" actId="962"/>
          <ac:spMkLst>
            <pc:docMk/>
            <pc:sldMk cId="4165652465" sldId="601"/>
            <ac:spMk id="58" creationId="{E516E615-19AB-1C96-3D93-0030BDCD2537}"/>
          </ac:spMkLst>
        </pc:spChg>
        <pc:spChg chg="mod modVis">
          <ac:chgData name="Bullinger, Marvin" userId="5b54ce5a-dc89-476f-af33-5abd75d5b1e8" providerId="ADAL" clId="{265A6489-94A2-4E64-A25F-E64F69B0C2C1}" dt="2024-03-05T20:17:17.553" v="607" actId="962"/>
          <ac:spMkLst>
            <pc:docMk/>
            <pc:sldMk cId="4165652465" sldId="601"/>
            <ac:spMk id="59" creationId="{DEDFE021-602E-8D26-06B0-7F9FD9B0A85A}"/>
          </ac:spMkLst>
        </pc:spChg>
        <pc:spChg chg="mod modVis">
          <ac:chgData name="Bullinger, Marvin" userId="5b54ce5a-dc89-476f-af33-5abd75d5b1e8" providerId="ADAL" clId="{265A6489-94A2-4E64-A25F-E64F69B0C2C1}" dt="2024-03-05T20:17:17.558" v="608" actId="962"/>
          <ac:spMkLst>
            <pc:docMk/>
            <pc:sldMk cId="4165652465" sldId="601"/>
            <ac:spMk id="60" creationId="{5DB11D1F-210A-C3CF-01DD-C0631F0AF34B}"/>
          </ac:spMkLst>
        </pc:spChg>
        <pc:spChg chg="mod modVis">
          <ac:chgData name="Bullinger, Marvin" userId="5b54ce5a-dc89-476f-af33-5abd75d5b1e8" providerId="ADAL" clId="{265A6489-94A2-4E64-A25F-E64F69B0C2C1}" dt="2024-03-05T20:17:17.561" v="609" actId="962"/>
          <ac:spMkLst>
            <pc:docMk/>
            <pc:sldMk cId="4165652465" sldId="601"/>
            <ac:spMk id="61" creationId="{3855A6A0-1FA7-32A1-C5F1-0DB1179F3BFD}"/>
          </ac:spMkLst>
        </pc:spChg>
        <pc:spChg chg="mod modVis">
          <ac:chgData name="Bullinger, Marvin" userId="5b54ce5a-dc89-476f-af33-5abd75d5b1e8" providerId="ADAL" clId="{265A6489-94A2-4E64-A25F-E64F69B0C2C1}" dt="2024-03-05T20:17:17.564" v="610" actId="962"/>
          <ac:spMkLst>
            <pc:docMk/>
            <pc:sldMk cId="4165652465" sldId="601"/>
            <ac:spMk id="62" creationId="{393116FC-BF24-56C2-035D-B9671D3DB72B}"/>
          </ac:spMkLst>
        </pc:spChg>
        <pc:spChg chg="mod modVis">
          <ac:chgData name="Bullinger, Marvin" userId="5b54ce5a-dc89-476f-af33-5abd75d5b1e8" providerId="ADAL" clId="{265A6489-94A2-4E64-A25F-E64F69B0C2C1}" dt="2024-03-05T20:17:17.569" v="611" actId="962"/>
          <ac:spMkLst>
            <pc:docMk/>
            <pc:sldMk cId="4165652465" sldId="601"/>
            <ac:spMk id="63" creationId="{56AC8714-E41E-05E5-0AFD-DE720FB4ADD2}"/>
          </ac:spMkLst>
        </pc:spChg>
        <pc:spChg chg="mod modVis">
          <ac:chgData name="Bullinger, Marvin" userId="5b54ce5a-dc89-476f-af33-5abd75d5b1e8" providerId="ADAL" clId="{265A6489-94A2-4E64-A25F-E64F69B0C2C1}" dt="2024-03-05T20:17:17.574" v="612" actId="962"/>
          <ac:spMkLst>
            <pc:docMk/>
            <pc:sldMk cId="4165652465" sldId="601"/>
            <ac:spMk id="64" creationId="{32F9B82E-0837-E515-201D-58C4EE942AAA}"/>
          </ac:spMkLst>
        </pc:spChg>
        <pc:spChg chg="mod modVis">
          <ac:chgData name="Bullinger, Marvin" userId="5b54ce5a-dc89-476f-af33-5abd75d5b1e8" providerId="ADAL" clId="{265A6489-94A2-4E64-A25F-E64F69B0C2C1}" dt="2024-03-05T20:17:17.579" v="613" actId="962"/>
          <ac:spMkLst>
            <pc:docMk/>
            <pc:sldMk cId="4165652465" sldId="601"/>
            <ac:spMk id="65" creationId="{4B3765B6-9FC9-D208-2BAC-C1848F36540C}"/>
          </ac:spMkLst>
        </pc:spChg>
        <pc:spChg chg="mod modVis">
          <ac:chgData name="Bullinger, Marvin" userId="5b54ce5a-dc89-476f-af33-5abd75d5b1e8" providerId="ADAL" clId="{265A6489-94A2-4E64-A25F-E64F69B0C2C1}" dt="2024-03-05T20:17:17.584" v="614" actId="962"/>
          <ac:spMkLst>
            <pc:docMk/>
            <pc:sldMk cId="4165652465" sldId="601"/>
            <ac:spMk id="66" creationId="{6A85ABD0-A975-4FF1-98E7-830AA7125A09}"/>
          </ac:spMkLst>
        </pc:spChg>
        <pc:spChg chg="mod modVis">
          <ac:chgData name="Bullinger, Marvin" userId="5b54ce5a-dc89-476f-af33-5abd75d5b1e8" providerId="ADAL" clId="{265A6489-94A2-4E64-A25F-E64F69B0C2C1}" dt="2024-03-05T20:17:17.589" v="615" actId="962"/>
          <ac:spMkLst>
            <pc:docMk/>
            <pc:sldMk cId="4165652465" sldId="601"/>
            <ac:spMk id="67" creationId="{C8542AAB-E61A-8573-5493-E6E901719A7C}"/>
          </ac:spMkLst>
        </pc:spChg>
        <pc:spChg chg="mod modVis">
          <ac:chgData name="Bullinger, Marvin" userId="5b54ce5a-dc89-476f-af33-5abd75d5b1e8" providerId="ADAL" clId="{265A6489-94A2-4E64-A25F-E64F69B0C2C1}" dt="2024-03-05T20:17:17.593" v="616" actId="962"/>
          <ac:spMkLst>
            <pc:docMk/>
            <pc:sldMk cId="4165652465" sldId="601"/>
            <ac:spMk id="68" creationId="{B81B7A17-921E-6AF0-7584-D6D7EF98920A}"/>
          </ac:spMkLst>
        </pc:spChg>
        <pc:spChg chg="mod modVis">
          <ac:chgData name="Bullinger, Marvin" userId="5b54ce5a-dc89-476f-af33-5abd75d5b1e8" providerId="ADAL" clId="{265A6489-94A2-4E64-A25F-E64F69B0C2C1}" dt="2024-03-05T20:17:17.597" v="617" actId="962"/>
          <ac:spMkLst>
            <pc:docMk/>
            <pc:sldMk cId="4165652465" sldId="601"/>
            <ac:spMk id="69" creationId="{091386E1-3077-4892-C338-335809509474}"/>
          </ac:spMkLst>
        </pc:spChg>
        <pc:spChg chg="mod modVis">
          <ac:chgData name="Bullinger, Marvin" userId="5b54ce5a-dc89-476f-af33-5abd75d5b1e8" providerId="ADAL" clId="{265A6489-94A2-4E64-A25F-E64F69B0C2C1}" dt="2024-03-05T20:17:17.600" v="618" actId="962"/>
          <ac:spMkLst>
            <pc:docMk/>
            <pc:sldMk cId="4165652465" sldId="601"/>
            <ac:spMk id="70" creationId="{8560A63E-626D-AC88-BFFE-AB5191567FE5}"/>
          </ac:spMkLst>
        </pc:spChg>
        <pc:spChg chg="mod modVis">
          <ac:chgData name="Bullinger, Marvin" userId="5b54ce5a-dc89-476f-af33-5abd75d5b1e8" providerId="ADAL" clId="{265A6489-94A2-4E64-A25F-E64F69B0C2C1}" dt="2024-03-05T20:17:17.605" v="619" actId="962"/>
          <ac:spMkLst>
            <pc:docMk/>
            <pc:sldMk cId="4165652465" sldId="601"/>
            <ac:spMk id="71" creationId="{7CDB2CF2-281C-1B2A-0EEA-87391BDB9E28}"/>
          </ac:spMkLst>
        </pc:spChg>
        <pc:spChg chg="mod modVis">
          <ac:chgData name="Bullinger, Marvin" userId="5b54ce5a-dc89-476f-af33-5abd75d5b1e8" providerId="ADAL" clId="{265A6489-94A2-4E64-A25F-E64F69B0C2C1}" dt="2024-03-05T20:17:17.610" v="620" actId="962"/>
          <ac:spMkLst>
            <pc:docMk/>
            <pc:sldMk cId="4165652465" sldId="601"/>
            <ac:spMk id="72" creationId="{1706F8FD-FF7B-6988-541B-CAD04337DACB}"/>
          </ac:spMkLst>
        </pc:spChg>
        <pc:spChg chg="mod modVis">
          <ac:chgData name="Bullinger, Marvin" userId="5b54ce5a-dc89-476f-af33-5abd75d5b1e8" providerId="ADAL" clId="{265A6489-94A2-4E64-A25F-E64F69B0C2C1}" dt="2024-03-05T20:17:17.615" v="621" actId="962"/>
          <ac:spMkLst>
            <pc:docMk/>
            <pc:sldMk cId="4165652465" sldId="601"/>
            <ac:spMk id="73" creationId="{928090CB-6C72-5033-5EBA-7E08EA769340}"/>
          </ac:spMkLst>
        </pc:spChg>
        <pc:spChg chg="mod modVis">
          <ac:chgData name="Bullinger, Marvin" userId="5b54ce5a-dc89-476f-af33-5abd75d5b1e8" providerId="ADAL" clId="{265A6489-94A2-4E64-A25F-E64F69B0C2C1}" dt="2024-03-05T20:17:17.620" v="622" actId="962"/>
          <ac:spMkLst>
            <pc:docMk/>
            <pc:sldMk cId="4165652465" sldId="601"/>
            <ac:spMk id="74" creationId="{3CA5F16B-3ADB-4A8E-40F7-067BD987032F}"/>
          </ac:spMkLst>
        </pc:spChg>
        <pc:spChg chg="mod modVis">
          <ac:chgData name="Bullinger, Marvin" userId="5b54ce5a-dc89-476f-af33-5abd75d5b1e8" providerId="ADAL" clId="{265A6489-94A2-4E64-A25F-E64F69B0C2C1}" dt="2024-03-05T20:17:17.625" v="623" actId="962"/>
          <ac:spMkLst>
            <pc:docMk/>
            <pc:sldMk cId="4165652465" sldId="601"/>
            <ac:spMk id="75" creationId="{22432971-3CB9-B658-D9B2-B300645B5DE5}"/>
          </ac:spMkLst>
        </pc:spChg>
        <pc:spChg chg="mod modVis">
          <ac:chgData name="Bullinger, Marvin" userId="5b54ce5a-dc89-476f-af33-5abd75d5b1e8" providerId="ADAL" clId="{265A6489-94A2-4E64-A25F-E64F69B0C2C1}" dt="2024-03-05T20:17:17.629" v="624" actId="962"/>
          <ac:spMkLst>
            <pc:docMk/>
            <pc:sldMk cId="4165652465" sldId="601"/>
            <ac:spMk id="76" creationId="{650DDC33-B555-7EB0-8775-5BDB18645182}"/>
          </ac:spMkLst>
        </pc:spChg>
        <pc:spChg chg="mod modVis">
          <ac:chgData name="Bullinger, Marvin" userId="5b54ce5a-dc89-476f-af33-5abd75d5b1e8" providerId="ADAL" clId="{265A6489-94A2-4E64-A25F-E64F69B0C2C1}" dt="2024-03-05T20:17:17.633" v="625" actId="962"/>
          <ac:spMkLst>
            <pc:docMk/>
            <pc:sldMk cId="4165652465" sldId="601"/>
            <ac:spMk id="77" creationId="{9521BBDB-15F6-83A7-FDCF-146B2F8E3580}"/>
          </ac:spMkLst>
        </pc:spChg>
        <pc:spChg chg="mod modVis">
          <ac:chgData name="Bullinger, Marvin" userId="5b54ce5a-dc89-476f-af33-5abd75d5b1e8" providerId="ADAL" clId="{265A6489-94A2-4E64-A25F-E64F69B0C2C1}" dt="2024-03-05T20:17:17.636" v="626" actId="962"/>
          <ac:spMkLst>
            <pc:docMk/>
            <pc:sldMk cId="4165652465" sldId="601"/>
            <ac:spMk id="78" creationId="{93AC0197-AF79-52BB-28B1-C53D458769AD}"/>
          </ac:spMkLst>
        </pc:spChg>
        <pc:spChg chg="mod modVis">
          <ac:chgData name="Bullinger, Marvin" userId="5b54ce5a-dc89-476f-af33-5abd75d5b1e8" providerId="ADAL" clId="{265A6489-94A2-4E64-A25F-E64F69B0C2C1}" dt="2024-03-05T20:17:17.641" v="627" actId="962"/>
          <ac:spMkLst>
            <pc:docMk/>
            <pc:sldMk cId="4165652465" sldId="601"/>
            <ac:spMk id="79" creationId="{5AC2B3A3-3093-4E54-4528-029AC91B6AC5}"/>
          </ac:spMkLst>
        </pc:spChg>
        <pc:spChg chg="mod modVis">
          <ac:chgData name="Bullinger, Marvin" userId="5b54ce5a-dc89-476f-af33-5abd75d5b1e8" providerId="ADAL" clId="{265A6489-94A2-4E64-A25F-E64F69B0C2C1}" dt="2024-03-05T20:17:17.646" v="628" actId="962"/>
          <ac:spMkLst>
            <pc:docMk/>
            <pc:sldMk cId="4165652465" sldId="601"/>
            <ac:spMk id="80" creationId="{3846F3C2-54A1-79E9-23D3-71209DD42943}"/>
          </ac:spMkLst>
        </pc:spChg>
        <pc:spChg chg="mod modVis">
          <ac:chgData name="Bullinger, Marvin" userId="5b54ce5a-dc89-476f-af33-5abd75d5b1e8" providerId="ADAL" clId="{265A6489-94A2-4E64-A25F-E64F69B0C2C1}" dt="2024-03-05T20:17:17.651" v="629" actId="962"/>
          <ac:spMkLst>
            <pc:docMk/>
            <pc:sldMk cId="4165652465" sldId="601"/>
            <ac:spMk id="81" creationId="{5E75A65A-93ED-B25F-2627-168A32044894}"/>
          </ac:spMkLst>
        </pc:spChg>
        <pc:spChg chg="mod modVis">
          <ac:chgData name="Bullinger, Marvin" userId="5b54ce5a-dc89-476f-af33-5abd75d5b1e8" providerId="ADAL" clId="{265A6489-94A2-4E64-A25F-E64F69B0C2C1}" dt="2024-03-05T20:17:17.657" v="630" actId="962"/>
          <ac:spMkLst>
            <pc:docMk/>
            <pc:sldMk cId="4165652465" sldId="601"/>
            <ac:spMk id="82" creationId="{38C4C3FE-FA6A-D300-C1EC-0FF0D8A61F65}"/>
          </ac:spMkLst>
        </pc:spChg>
        <pc:spChg chg="mod modVis">
          <ac:chgData name="Bullinger, Marvin" userId="5b54ce5a-dc89-476f-af33-5abd75d5b1e8" providerId="ADAL" clId="{265A6489-94A2-4E64-A25F-E64F69B0C2C1}" dt="2024-03-05T20:17:17.662" v="631" actId="962"/>
          <ac:spMkLst>
            <pc:docMk/>
            <pc:sldMk cId="4165652465" sldId="601"/>
            <ac:spMk id="83" creationId="{4C048523-14F1-8253-57A6-902943C7CA14}"/>
          </ac:spMkLst>
        </pc:spChg>
        <pc:spChg chg="mod modVis">
          <ac:chgData name="Bullinger, Marvin" userId="5b54ce5a-dc89-476f-af33-5abd75d5b1e8" providerId="ADAL" clId="{265A6489-94A2-4E64-A25F-E64F69B0C2C1}" dt="2024-03-05T20:17:17.666" v="632" actId="962"/>
          <ac:spMkLst>
            <pc:docMk/>
            <pc:sldMk cId="4165652465" sldId="601"/>
            <ac:spMk id="84" creationId="{9735A218-1AF3-3B80-046B-060CC0BAF1D1}"/>
          </ac:spMkLst>
        </pc:spChg>
        <pc:spChg chg="mod modVis">
          <ac:chgData name="Bullinger, Marvin" userId="5b54ce5a-dc89-476f-af33-5abd75d5b1e8" providerId="ADAL" clId="{265A6489-94A2-4E64-A25F-E64F69B0C2C1}" dt="2024-03-05T20:17:17.670" v="633" actId="962"/>
          <ac:spMkLst>
            <pc:docMk/>
            <pc:sldMk cId="4165652465" sldId="601"/>
            <ac:spMk id="85" creationId="{85D6421F-410E-7BF9-BEBE-60461B330915}"/>
          </ac:spMkLst>
        </pc:spChg>
        <pc:cxnChg chg="del">
          <ac:chgData name="Bullinger, Marvin" userId="5b54ce5a-dc89-476f-af33-5abd75d5b1e8" providerId="ADAL" clId="{265A6489-94A2-4E64-A25F-E64F69B0C2C1}" dt="2024-03-05T20:17:18.380" v="1197" actId="478"/>
          <ac:cxnSpMkLst>
            <pc:docMk/>
            <pc:sldMk cId="4165652465" sldId="601"/>
            <ac:cxnSpMk id="43" creationId="{AC89A511-3F9D-5CB1-9B0E-AB6063C228CF}"/>
          </ac:cxnSpMkLst>
        </pc:cxnChg>
      </pc:sldChg>
      <pc:sldChg chg="del">
        <pc:chgData name="Bullinger, Marvin" userId="5b54ce5a-dc89-476f-af33-5abd75d5b1e8" providerId="ADAL" clId="{265A6489-94A2-4E64-A25F-E64F69B0C2C1}" dt="2024-03-05T20:07:14.832" v="586" actId="2696"/>
        <pc:sldMkLst>
          <pc:docMk/>
          <pc:sldMk cId="127353636" sldId="602"/>
        </pc:sldMkLst>
      </pc:sldChg>
      <pc:sldChg chg="del">
        <pc:chgData name="Bullinger, Marvin" userId="5b54ce5a-dc89-476f-af33-5abd75d5b1e8" providerId="ADAL" clId="{265A6489-94A2-4E64-A25F-E64F69B0C2C1}" dt="2024-03-05T20:17:18.378" v="1195" actId="2696"/>
        <pc:sldMkLst>
          <pc:docMk/>
          <pc:sldMk cId="524634828" sldId="602"/>
        </pc:sldMkLst>
      </pc:sldChg>
      <pc:sldChg chg="del">
        <pc:chgData name="Bullinger, Marvin" userId="5b54ce5a-dc89-476f-af33-5abd75d5b1e8" providerId="ADAL" clId="{265A6489-94A2-4E64-A25F-E64F69B0C2C1}" dt="2024-03-05T20:17:18.375" v="1194" actId="2696"/>
        <pc:sldMkLst>
          <pc:docMk/>
          <pc:sldMk cId="2760633013" sldId="603"/>
        </pc:sldMkLst>
      </pc:sldChg>
      <pc:sldChg chg="del">
        <pc:chgData name="Bullinger, Marvin" userId="5b54ce5a-dc89-476f-af33-5abd75d5b1e8" providerId="ADAL" clId="{265A6489-94A2-4E64-A25F-E64F69B0C2C1}" dt="2024-03-05T20:07:14.830" v="585" actId="2696"/>
        <pc:sldMkLst>
          <pc:docMk/>
          <pc:sldMk cId="3152295414" sldId="603"/>
        </pc:sldMkLst>
      </pc:sldChg>
      <pc:sldChg chg="addSp delSp modSp mod replTag">
        <pc:chgData name="Bullinger, Marvin" userId="5b54ce5a-dc89-476f-af33-5abd75d5b1e8" providerId="ADAL" clId="{265A6489-94A2-4E64-A25F-E64F69B0C2C1}" dt="2024-03-06T13:53:13.675" v="5133" actId="20577"/>
        <pc:sldMkLst>
          <pc:docMk/>
          <pc:sldMk cId="1803820397" sldId="604"/>
        </pc:sldMkLst>
        <pc:spChg chg="del">
          <ac:chgData name="Bullinger, Marvin" userId="5b54ce5a-dc89-476f-af33-5abd75d5b1e8" providerId="ADAL" clId="{265A6489-94A2-4E64-A25F-E64F69B0C2C1}" dt="2024-03-05T20:17:17.841" v="757" actId="478"/>
          <ac:spMkLst>
            <pc:docMk/>
            <pc:sldMk cId="1803820397" sldId="604"/>
            <ac:spMk id="2" creationId="{A69B9DA2-3DD1-1355-C98F-72FB92802102}"/>
          </ac:spMkLst>
        </pc:spChg>
        <pc:spChg chg="del">
          <ac:chgData name="Bullinger, Marvin" userId="5b54ce5a-dc89-476f-af33-5abd75d5b1e8" providerId="ADAL" clId="{265A6489-94A2-4E64-A25F-E64F69B0C2C1}" dt="2024-03-05T20:17:17.841" v="756" actId="478"/>
          <ac:spMkLst>
            <pc:docMk/>
            <pc:sldMk cId="1803820397" sldId="604"/>
            <ac:spMk id="3" creationId="{B9A9006E-F2DA-23B1-55DC-BF7FAF93DF6F}"/>
          </ac:spMkLst>
        </pc:spChg>
        <pc:spChg chg="del">
          <ac:chgData name="Bullinger, Marvin" userId="5b54ce5a-dc89-476f-af33-5abd75d5b1e8" providerId="ADAL" clId="{265A6489-94A2-4E64-A25F-E64F69B0C2C1}" dt="2024-03-05T20:17:17.841" v="755" actId="478"/>
          <ac:spMkLst>
            <pc:docMk/>
            <pc:sldMk cId="1803820397" sldId="604"/>
            <ac:spMk id="4" creationId="{E4A3AA13-7D0B-1262-F5AF-81AF23AA150B}"/>
          </ac:spMkLst>
        </pc:spChg>
        <pc:spChg chg="del">
          <ac:chgData name="Bullinger, Marvin" userId="5b54ce5a-dc89-476f-af33-5abd75d5b1e8" providerId="ADAL" clId="{265A6489-94A2-4E64-A25F-E64F69B0C2C1}" dt="2024-03-05T20:17:17.840" v="754" actId="478"/>
          <ac:spMkLst>
            <pc:docMk/>
            <pc:sldMk cId="1803820397" sldId="604"/>
            <ac:spMk id="5" creationId="{31CE0BAF-C535-379A-1283-3DDB375641E6}"/>
          </ac:spMkLst>
        </pc:spChg>
        <pc:spChg chg="del">
          <ac:chgData name="Bullinger, Marvin" userId="5b54ce5a-dc89-476f-af33-5abd75d5b1e8" providerId="ADAL" clId="{265A6489-94A2-4E64-A25F-E64F69B0C2C1}" dt="2024-03-05T20:17:17.840" v="753" actId="478"/>
          <ac:spMkLst>
            <pc:docMk/>
            <pc:sldMk cId="1803820397" sldId="604"/>
            <ac:spMk id="6" creationId="{35719C4D-7DEA-2CCD-E9D9-659B20E9AD70}"/>
          </ac:spMkLst>
        </pc:spChg>
        <pc:spChg chg="del">
          <ac:chgData name="Bullinger, Marvin" userId="5b54ce5a-dc89-476f-af33-5abd75d5b1e8" providerId="ADAL" clId="{265A6489-94A2-4E64-A25F-E64F69B0C2C1}" dt="2024-03-05T20:17:17.840" v="752" actId="478"/>
          <ac:spMkLst>
            <pc:docMk/>
            <pc:sldMk cId="1803820397" sldId="604"/>
            <ac:spMk id="7" creationId="{D86F49B6-5D8A-81C4-0806-6D90B341FCEA}"/>
          </ac:spMkLst>
        </pc:spChg>
        <pc:spChg chg="del">
          <ac:chgData name="Bullinger, Marvin" userId="5b54ce5a-dc89-476f-af33-5abd75d5b1e8" providerId="ADAL" clId="{265A6489-94A2-4E64-A25F-E64F69B0C2C1}" dt="2024-03-05T20:17:17.839" v="751" actId="478"/>
          <ac:spMkLst>
            <pc:docMk/>
            <pc:sldMk cId="1803820397" sldId="604"/>
            <ac:spMk id="8" creationId="{33F54B2E-421D-6757-463D-02CD78B58CFC}"/>
          </ac:spMkLst>
        </pc:spChg>
        <pc:spChg chg="del">
          <ac:chgData name="Bullinger, Marvin" userId="5b54ce5a-dc89-476f-af33-5abd75d5b1e8" providerId="ADAL" clId="{265A6489-94A2-4E64-A25F-E64F69B0C2C1}" dt="2024-03-05T20:17:17.839" v="750" actId="478"/>
          <ac:spMkLst>
            <pc:docMk/>
            <pc:sldMk cId="1803820397" sldId="604"/>
            <ac:spMk id="9" creationId="{ED6BFC7B-AC6E-8D62-D4F8-80F35534711F}"/>
          </ac:spMkLst>
        </pc:spChg>
        <pc:spChg chg="del">
          <ac:chgData name="Bullinger, Marvin" userId="5b54ce5a-dc89-476f-af33-5abd75d5b1e8" providerId="ADAL" clId="{265A6489-94A2-4E64-A25F-E64F69B0C2C1}" dt="2024-03-05T20:17:17.839" v="749" actId="478"/>
          <ac:spMkLst>
            <pc:docMk/>
            <pc:sldMk cId="1803820397" sldId="604"/>
            <ac:spMk id="10" creationId="{46089821-564E-4307-E4AE-C8EF46D81563}"/>
          </ac:spMkLst>
        </pc:spChg>
        <pc:spChg chg="del">
          <ac:chgData name="Bullinger, Marvin" userId="5b54ce5a-dc89-476f-af33-5abd75d5b1e8" providerId="ADAL" clId="{265A6489-94A2-4E64-A25F-E64F69B0C2C1}" dt="2024-03-05T20:17:17.839" v="748" actId="478"/>
          <ac:spMkLst>
            <pc:docMk/>
            <pc:sldMk cId="1803820397" sldId="604"/>
            <ac:spMk id="11" creationId="{460F6C2F-BCB3-279A-CD74-2DD94644DC6A}"/>
          </ac:spMkLst>
        </pc:spChg>
        <pc:spChg chg="del">
          <ac:chgData name="Bullinger, Marvin" userId="5b54ce5a-dc89-476f-af33-5abd75d5b1e8" providerId="ADAL" clId="{265A6489-94A2-4E64-A25F-E64F69B0C2C1}" dt="2024-03-05T20:17:17.839" v="747" actId="478"/>
          <ac:spMkLst>
            <pc:docMk/>
            <pc:sldMk cId="1803820397" sldId="604"/>
            <ac:spMk id="12" creationId="{6149FC70-D09D-C208-711C-A22D8285B772}"/>
          </ac:spMkLst>
        </pc:spChg>
        <pc:spChg chg="del">
          <ac:chgData name="Bullinger, Marvin" userId="5b54ce5a-dc89-476f-af33-5abd75d5b1e8" providerId="ADAL" clId="{265A6489-94A2-4E64-A25F-E64F69B0C2C1}" dt="2024-03-05T20:17:17.838" v="746" actId="478"/>
          <ac:spMkLst>
            <pc:docMk/>
            <pc:sldMk cId="1803820397" sldId="604"/>
            <ac:spMk id="13" creationId="{DBD202B5-BF6A-EC1C-4923-3EEC754DEAD6}"/>
          </ac:spMkLst>
        </pc:spChg>
        <pc:spChg chg="del">
          <ac:chgData name="Bullinger, Marvin" userId="5b54ce5a-dc89-476f-af33-5abd75d5b1e8" providerId="ADAL" clId="{265A6489-94A2-4E64-A25F-E64F69B0C2C1}" dt="2024-03-05T20:17:17.838" v="745" actId="478"/>
          <ac:spMkLst>
            <pc:docMk/>
            <pc:sldMk cId="1803820397" sldId="604"/>
            <ac:spMk id="14" creationId="{EC907C18-CDDB-2E28-E44D-8CD00E1B69F3}"/>
          </ac:spMkLst>
        </pc:spChg>
        <pc:spChg chg="del">
          <ac:chgData name="Bullinger, Marvin" userId="5b54ce5a-dc89-476f-af33-5abd75d5b1e8" providerId="ADAL" clId="{265A6489-94A2-4E64-A25F-E64F69B0C2C1}" dt="2024-03-05T20:17:17.838" v="744" actId="478"/>
          <ac:spMkLst>
            <pc:docMk/>
            <pc:sldMk cId="1803820397" sldId="604"/>
            <ac:spMk id="15" creationId="{E83C63E0-549E-410F-CBE4-8C1F76F24756}"/>
          </ac:spMkLst>
        </pc:spChg>
        <pc:spChg chg="del">
          <ac:chgData name="Bullinger, Marvin" userId="5b54ce5a-dc89-476f-af33-5abd75d5b1e8" providerId="ADAL" clId="{265A6489-94A2-4E64-A25F-E64F69B0C2C1}" dt="2024-03-05T20:17:17.837" v="743" actId="478"/>
          <ac:spMkLst>
            <pc:docMk/>
            <pc:sldMk cId="1803820397" sldId="604"/>
            <ac:spMk id="16" creationId="{813B17AB-E321-4227-3E39-A78069346B3B}"/>
          </ac:spMkLst>
        </pc:spChg>
        <pc:spChg chg="del mod ord replST">
          <ac:chgData name="Bullinger, Marvin" userId="5b54ce5a-dc89-476f-af33-5abd75d5b1e8" providerId="ADAL" clId="{265A6489-94A2-4E64-A25F-E64F69B0C2C1}" dt="2024-03-05T22:19:10.143" v="4423" actId="478"/>
          <ac:spMkLst>
            <pc:docMk/>
            <pc:sldMk cId="1803820397" sldId="604"/>
            <ac:spMk id="17" creationId="{F7E4B58D-4E7F-C5CD-2AA2-0EE19A1088C0}"/>
          </ac:spMkLst>
        </pc:spChg>
        <pc:spChg chg="del">
          <ac:chgData name="Bullinger, Marvin" userId="5b54ce5a-dc89-476f-af33-5abd75d5b1e8" providerId="ADAL" clId="{265A6489-94A2-4E64-A25F-E64F69B0C2C1}" dt="2024-03-05T20:17:17.837" v="742" actId="478"/>
          <ac:spMkLst>
            <pc:docMk/>
            <pc:sldMk cId="1803820397" sldId="604"/>
            <ac:spMk id="18" creationId="{D153CF73-D06C-71B4-C2D5-0CA86B3A3E7F}"/>
          </ac:spMkLst>
        </pc:spChg>
        <pc:spChg chg="del">
          <ac:chgData name="Bullinger, Marvin" userId="5b54ce5a-dc89-476f-af33-5abd75d5b1e8" providerId="ADAL" clId="{265A6489-94A2-4E64-A25F-E64F69B0C2C1}" dt="2024-03-05T20:17:17.837" v="741" actId="478"/>
          <ac:spMkLst>
            <pc:docMk/>
            <pc:sldMk cId="1803820397" sldId="604"/>
            <ac:spMk id="19" creationId="{5D66BB32-745E-C659-C973-349A074E72F9}"/>
          </ac:spMkLst>
        </pc:spChg>
        <pc:spChg chg="del">
          <ac:chgData name="Bullinger, Marvin" userId="5b54ce5a-dc89-476f-af33-5abd75d5b1e8" providerId="ADAL" clId="{265A6489-94A2-4E64-A25F-E64F69B0C2C1}" dt="2024-03-05T20:17:17.836" v="740" actId="478"/>
          <ac:spMkLst>
            <pc:docMk/>
            <pc:sldMk cId="1803820397" sldId="604"/>
            <ac:spMk id="20" creationId="{F44F9E7D-80A6-3F42-99C6-39DE28AA9890}"/>
          </ac:spMkLst>
        </pc:spChg>
        <pc:spChg chg="del">
          <ac:chgData name="Bullinger, Marvin" userId="5b54ce5a-dc89-476f-af33-5abd75d5b1e8" providerId="ADAL" clId="{265A6489-94A2-4E64-A25F-E64F69B0C2C1}" dt="2024-03-05T20:17:17.836" v="739" actId="478"/>
          <ac:spMkLst>
            <pc:docMk/>
            <pc:sldMk cId="1803820397" sldId="604"/>
            <ac:spMk id="21" creationId="{56648D7E-2DD6-10F2-2B4A-5E3E5DF5592C}"/>
          </ac:spMkLst>
        </pc:spChg>
        <pc:spChg chg="del">
          <ac:chgData name="Bullinger, Marvin" userId="5b54ce5a-dc89-476f-af33-5abd75d5b1e8" providerId="ADAL" clId="{265A6489-94A2-4E64-A25F-E64F69B0C2C1}" dt="2024-03-05T20:17:17.836" v="738" actId="478"/>
          <ac:spMkLst>
            <pc:docMk/>
            <pc:sldMk cId="1803820397" sldId="604"/>
            <ac:spMk id="22" creationId="{53200D0E-597E-4EEA-8FE8-AA6856B008DE}"/>
          </ac:spMkLst>
        </pc:spChg>
        <pc:spChg chg="del">
          <ac:chgData name="Bullinger, Marvin" userId="5b54ce5a-dc89-476f-af33-5abd75d5b1e8" providerId="ADAL" clId="{265A6489-94A2-4E64-A25F-E64F69B0C2C1}" dt="2024-03-05T20:17:17.835" v="737" actId="478"/>
          <ac:spMkLst>
            <pc:docMk/>
            <pc:sldMk cId="1803820397" sldId="604"/>
            <ac:spMk id="23" creationId="{43C383D5-24ED-0462-3F18-20DB328276AC}"/>
          </ac:spMkLst>
        </pc:spChg>
        <pc:spChg chg="del">
          <ac:chgData name="Bullinger, Marvin" userId="5b54ce5a-dc89-476f-af33-5abd75d5b1e8" providerId="ADAL" clId="{265A6489-94A2-4E64-A25F-E64F69B0C2C1}" dt="2024-03-05T20:17:17.835" v="736" actId="478"/>
          <ac:spMkLst>
            <pc:docMk/>
            <pc:sldMk cId="1803820397" sldId="604"/>
            <ac:spMk id="24" creationId="{BDB7D3E4-533D-7F03-F375-45CF57DC3893}"/>
          </ac:spMkLst>
        </pc:spChg>
        <pc:spChg chg="del">
          <ac:chgData name="Bullinger, Marvin" userId="5b54ce5a-dc89-476f-af33-5abd75d5b1e8" providerId="ADAL" clId="{265A6489-94A2-4E64-A25F-E64F69B0C2C1}" dt="2024-03-05T20:17:17.835" v="735" actId="478"/>
          <ac:spMkLst>
            <pc:docMk/>
            <pc:sldMk cId="1803820397" sldId="604"/>
            <ac:spMk id="25" creationId="{E4A9EAB6-4DAC-DC75-E210-823484EC0B2D}"/>
          </ac:spMkLst>
        </pc:spChg>
        <pc:spChg chg="del">
          <ac:chgData name="Bullinger, Marvin" userId="5b54ce5a-dc89-476f-af33-5abd75d5b1e8" providerId="ADAL" clId="{265A6489-94A2-4E64-A25F-E64F69B0C2C1}" dt="2024-03-05T20:17:17.834" v="734" actId="478"/>
          <ac:spMkLst>
            <pc:docMk/>
            <pc:sldMk cId="1803820397" sldId="604"/>
            <ac:spMk id="28" creationId="{C7C0F99E-FF75-009A-A95D-2D4BFD9027D8}"/>
          </ac:spMkLst>
        </pc:spChg>
        <pc:spChg chg="del">
          <ac:chgData name="Bullinger, Marvin" userId="5b54ce5a-dc89-476f-af33-5abd75d5b1e8" providerId="ADAL" clId="{265A6489-94A2-4E64-A25F-E64F69B0C2C1}" dt="2024-03-05T20:17:17.834" v="733" actId="478"/>
          <ac:spMkLst>
            <pc:docMk/>
            <pc:sldMk cId="1803820397" sldId="604"/>
            <ac:spMk id="29" creationId="{10C5AC7F-E0B5-DEE9-7ECE-5883DDE3E2C7}"/>
          </ac:spMkLst>
        </pc:spChg>
        <pc:spChg chg="del">
          <ac:chgData name="Bullinger, Marvin" userId="5b54ce5a-dc89-476f-af33-5abd75d5b1e8" providerId="ADAL" clId="{265A6489-94A2-4E64-A25F-E64F69B0C2C1}" dt="2024-03-05T20:17:17.834" v="732" actId="478"/>
          <ac:spMkLst>
            <pc:docMk/>
            <pc:sldMk cId="1803820397" sldId="604"/>
            <ac:spMk id="30" creationId="{E835D035-BD05-66A2-F710-3D1CF3A65F35}"/>
          </ac:spMkLst>
        </pc:spChg>
        <pc:spChg chg="del">
          <ac:chgData name="Bullinger, Marvin" userId="5b54ce5a-dc89-476f-af33-5abd75d5b1e8" providerId="ADAL" clId="{265A6489-94A2-4E64-A25F-E64F69B0C2C1}" dt="2024-03-05T20:17:17.833" v="731" actId="478"/>
          <ac:spMkLst>
            <pc:docMk/>
            <pc:sldMk cId="1803820397" sldId="604"/>
            <ac:spMk id="31" creationId="{A2892F35-0E00-B07F-CADA-B5ABEE1EBFA2}"/>
          </ac:spMkLst>
        </pc:spChg>
        <pc:spChg chg="del">
          <ac:chgData name="Bullinger, Marvin" userId="5b54ce5a-dc89-476f-af33-5abd75d5b1e8" providerId="ADAL" clId="{265A6489-94A2-4E64-A25F-E64F69B0C2C1}" dt="2024-03-05T20:17:17.833" v="730" actId="478"/>
          <ac:spMkLst>
            <pc:docMk/>
            <pc:sldMk cId="1803820397" sldId="604"/>
            <ac:spMk id="32" creationId="{C08BC306-6640-D4AC-4F41-26520C528C26}"/>
          </ac:spMkLst>
        </pc:spChg>
        <pc:spChg chg="del">
          <ac:chgData name="Bullinger, Marvin" userId="5b54ce5a-dc89-476f-af33-5abd75d5b1e8" providerId="ADAL" clId="{265A6489-94A2-4E64-A25F-E64F69B0C2C1}" dt="2024-03-05T20:17:17.833" v="729" actId="478"/>
          <ac:spMkLst>
            <pc:docMk/>
            <pc:sldMk cId="1803820397" sldId="604"/>
            <ac:spMk id="33" creationId="{CDCEFE85-6381-D4E7-1586-1EB6C354A7CA}"/>
          </ac:spMkLst>
        </pc:spChg>
        <pc:spChg chg="del">
          <ac:chgData name="Bullinger, Marvin" userId="5b54ce5a-dc89-476f-af33-5abd75d5b1e8" providerId="ADAL" clId="{265A6489-94A2-4E64-A25F-E64F69B0C2C1}" dt="2024-03-05T20:17:17.832" v="728" actId="478"/>
          <ac:spMkLst>
            <pc:docMk/>
            <pc:sldMk cId="1803820397" sldId="604"/>
            <ac:spMk id="34" creationId="{2850A847-476E-0105-B7AF-8F854CD353AC}"/>
          </ac:spMkLst>
        </pc:spChg>
        <pc:spChg chg="del">
          <ac:chgData name="Bullinger, Marvin" userId="5b54ce5a-dc89-476f-af33-5abd75d5b1e8" providerId="ADAL" clId="{265A6489-94A2-4E64-A25F-E64F69B0C2C1}" dt="2024-03-05T20:17:17.832" v="727" actId="478"/>
          <ac:spMkLst>
            <pc:docMk/>
            <pc:sldMk cId="1803820397" sldId="604"/>
            <ac:spMk id="35" creationId="{E3136509-CCA2-0BEC-800E-CD4B32E6907F}"/>
          </ac:spMkLst>
        </pc:spChg>
        <pc:spChg chg="del">
          <ac:chgData name="Bullinger, Marvin" userId="5b54ce5a-dc89-476f-af33-5abd75d5b1e8" providerId="ADAL" clId="{265A6489-94A2-4E64-A25F-E64F69B0C2C1}" dt="2024-03-05T20:17:17.831" v="726" actId="478"/>
          <ac:spMkLst>
            <pc:docMk/>
            <pc:sldMk cId="1803820397" sldId="604"/>
            <ac:spMk id="36" creationId="{08399314-42D9-4402-6D73-00BED214C912}"/>
          </ac:spMkLst>
        </pc:spChg>
        <pc:spChg chg="del">
          <ac:chgData name="Bullinger, Marvin" userId="5b54ce5a-dc89-476f-af33-5abd75d5b1e8" providerId="ADAL" clId="{265A6489-94A2-4E64-A25F-E64F69B0C2C1}" dt="2024-03-05T20:17:17.831" v="725" actId="478"/>
          <ac:spMkLst>
            <pc:docMk/>
            <pc:sldMk cId="1803820397" sldId="604"/>
            <ac:spMk id="37" creationId="{5D559C99-1FAE-D2BC-125A-3E99FA48D8AB}"/>
          </ac:spMkLst>
        </pc:spChg>
        <pc:spChg chg="del">
          <ac:chgData name="Bullinger, Marvin" userId="5b54ce5a-dc89-476f-af33-5abd75d5b1e8" providerId="ADAL" clId="{265A6489-94A2-4E64-A25F-E64F69B0C2C1}" dt="2024-03-05T20:17:17.831" v="724" actId="478"/>
          <ac:spMkLst>
            <pc:docMk/>
            <pc:sldMk cId="1803820397" sldId="604"/>
            <ac:spMk id="38" creationId="{5C385FB3-2AA2-9573-29C9-813553A58861}"/>
          </ac:spMkLst>
        </pc:spChg>
        <pc:spChg chg="del">
          <ac:chgData name="Bullinger, Marvin" userId="5b54ce5a-dc89-476f-af33-5abd75d5b1e8" providerId="ADAL" clId="{265A6489-94A2-4E64-A25F-E64F69B0C2C1}" dt="2024-03-05T20:17:17.830" v="723" actId="478"/>
          <ac:spMkLst>
            <pc:docMk/>
            <pc:sldMk cId="1803820397" sldId="604"/>
            <ac:spMk id="39" creationId="{381FEBDD-3196-3806-8767-9BBBC9CEDAA4}"/>
          </ac:spMkLst>
        </pc:spChg>
        <pc:spChg chg="del">
          <ac:chgData name="Bullinger, Marvin" userId="5b54ce5a-dc89-476f-af33-5abd75d5b1e8" providerId="ADAL" clId="{265A6489-94A2-4E64-A25F-E64F69B0C2C1}" dt="2024-03-05T20:17:17.830" v="722" actId="478"/>
          <ac:spMkLst>
            <pc:docMk/>
            <pc:sldMk cId="1803820397" sldId="604"/>
            <ac:spMk id="40" creationId="{E230EBEF-E33E-28DB-477D-E1F95441497E}"/>
          </ac:spMkLst>
        </pc:spChg>
        <pc:spChg chg="del">
          <ac:chgData name="Bullinger, Marvin" userId="5b54ce5a-dc89-476f-af33-5abd75d5b1e8" providerId="ADAL" clId="{265A6489-94A2-4E64-A25F-E64F69B0C2C1}" dt="2024-03-05T20:17:17.830" v="721" actId="478"/>
          <ac:spMkLst>
            <pc:docMk/>
            <pc:sldMk cId="1803820397" sldId="604"/>
            <ac:spMk id="41" creationId="{2478D5B1-ABB1-FE2A-4874-DA2394BD56EE}"/>
          </ac:spMkLst>
        </pc:spChg>
        <pc:spChg chg="replST">
          <ac:chgData name="Bullinger, Marvin" userId="5b54ce5a-dc89-476f-af33-5abd75d5b1e8" providerId="ADAL" clId="{265A6489-94A2-4E64-A25F-E64F69B0C2C1}" dt="2024-03-05T20:17:18.109" v="980"/>
          <ac:spMkLst>
            <pc:docMk/>
            <pc:sldMk cId="1803820397" sldId="604"/>
            <ac:spMk id="42" creationId="{CB3D2DAC-A247-52A0-FC69-65BC7D46AE0C}"/>
          </ac:spMkLst>
        </pc:spChg>
        <pc:spChg chg="replST">
          <ac:chgData name="Bullinger, Marvin" userId="5b54ce5a-dc89-476f-af33-5abd75d5b1e8" providerId="ADAL" clId="{265A6489-94A2-4E64-A25F-E64F69B0C2C1}" dt="2024-03-05T20:17:18.112" v="983"/>
          <ac:spMkLst>
            <pc:docMk/>
            <pc:sldMk cId="1803820397" sldId="604"/>
            <ac:spMk id="43" creationId="{C3CBCE5F-54EB-81A3-D6A6-1FD5D14790E2}"/>
          </ac:spMkLst>
        </pc:spChg>
        <pc:spChg chg="replST">
          <ac:chgData name="Bullinger, Marvin" userId="5b54ce5a-dc89-476f-af33-5abd75d5b1e8" providerId="ADAL" clId="{265A6489-94A2-4E64-A25F-E64F69B0C2C1}" dt="2024-03-05T20:17:18.117" v="987"/>
          <ac:spMkLst>
            <pc:docMk/>
            <pc:sldMk cId="1803820397" sldId="604"/>
            <ac:spMk id="45" creationId="{302F726A-4A89-0169-7D80-9B4D1DE56F90}"/>
          </ac:spMkLst>
        </pc:spChg>
        <pc:spChg chg="mod replST">
          <ac:chgData name="Bullinger, Marvin" userId="5b54ce5a-dc89-476f-af33-5abd75d5b1e8" providerId="ADAL" clId="{265A6489-94A2-4E64-A25F-E64F69B0C2C1}" dt="2024-03-05T21:23:47.428" v="3482" actId="20577"/>
          <ac:spMkLst>
            <pc:docMk/>
            <pc:sldMk cId="1803820397" sldId="604"/>
            <ac:spMk id="46" creationId="{39726D30-DDFC-BD5E-33AF-91D491317C87}"/>
          </ac:spMkLst>
        </pc:spChg>
        <pc:spChg chg="del ord replST">
          <ac:chgData name="Bullinger, Marvin" userId="5b54ce5a-dc89-476f-af33-5abd75d5b1e8" providerId="ADAL" clId="{265A6489-94A2-4E64-A25F-E64F69B0C2C1}" dt="2024-03-05T22:19:10.145" v="4425" actId="478"/>
          <ac:spMkLst>
            <pc:docMk/>
            <pc:sldMk cId="1803820397" sldId="604"/>
            <ac:spMk id="47" creationId="{63BBB9D4-8DA7-E87E-1C3D-5A7D83B835FA}"/>
          </ac:spMkLst>
        </pc:spChg>
        <pc:spChg chg="replST">
          <ac:chgData name="Bullinger, Marvin" userId="5b54ce5a-dc89-476f-af33-5abd75d5b1e8" providerId="ADAL" clId="{265A6489-94A2-4E64-A25F-E64F69B0C2C1}" dt="2024-03-05T20:17:18.124" v="994"/>
          <ac:spMkLst>
            <pc:docMk/>
            <pc:sldMk cId="1803820397" sldId="604"/>
            <ac:spMk id="48" creationId="{320B5CC1-CB7A-E3F2-51BF-91C898C86D87}"/>
          </ac:spMkLst>
        </pc:spChg>
        <pc:spChg chg="replST">
          <ac:chgData name="Bullinger, Marvin" userId="5b54ce5a-dc89-476f-af33-5abd75d5b1e8" providerId="ADAL" clId="{265A6489-94A2-4E64-A25F-E64F69B0C2C1}" dt="2024-03-05T20:17:18.128" v="997"/>
          <ac:spMkLst>
            <pc:docMk/>
            <pc:sldMk cId="1803820397" sldId="604"/>
            <ac:spMk id="49" creationId="{17C4C280-7410-1A64-CE8F-C5F0A7B0AF5D}"/>
          </ac:spMkLst>
        </pc:spChg>
        <pc:spChg chg="replST">
          <ac:chgData name="Bullinger, Marvin" userId="5b54ce5a-dc89-476f-af33-5abd75d5b1e8" providerId="ADAL" clId="{265A6489-94A2-4E64-A25F-E64F69B0C2C1}" dt="2024-03-05T20:17:18.133" v="1001"/>
          <ac:spMkLst>
            <pc:docMk/>
            <pc:sldMk cId="1803820397" sldId="604"/>
            <ac:spMk id="51" creationId="{2E337EBC-354A-7791-C06F-96C01E48DE12}"/>
          </ac:spMkLst>
        </pc:spChg>
        <pc:spChg chg="replST">
          <ac:chgData name="Bullinger, Marvin" userId="5b54ce5a-dc89-476f-af33-5abd75d5b1e8" providerId="ADAL" clId="{265A6489-94A2-4E64-A25F-E64F69B0C2C1}" dt="2024-03-05T20:17:18.136" v="1004"/>
          <ac:spMkLst>
            <pc:docMk/>
            <pc:sldMk cId="1803820397" sldId="604"/>
            <ac:spMk id="52" creationId="{A4FC8232-83B3-3256-2F6E-B4505D9B4620}"/>
          </ac:spMkLst>
        </pc:spChg>
        <pc:spChg chg="replST">
          <ac:chgData name="Bullinger, Marvin" userId="5b54ce5a-dc89-476f-af33-5abd75d5b1e8" providerId="ADAL" clId="{265A6489-94A2-4E64-A25F-E64F69B0C2C1}" dt="2024-03-05T20:17:18.141" v="1008"/>
          <ac:spMkLst>
            <pc:docMk/>
            <pc:sldMk cId="1803820397" sldId="604"/>
            <ac:spMk id="54" creationId="{7AB9B717-9134-0031-EEB2-834675E437CB}"/>
          </ac:spMkLst>
        </pc:spChg>
        <pc:spChg chg="replST">
          <ac:chgData name="Bullinger, Marvin" userId="5b54ce5a-dc89-476f-af33-5abd75d5b1e8" providerId="ADAL" clId="{265A6489-94A2-4E64-A25F-E64F69B0C2C1}" dt="2024-03-05T20:17:18.144" v="1011"/>
          <ac:spMkLst>
            <pc:docMk/>
            <pc:sldMk cId="1803820397" sldId="604"/>
            <ac:spMk id="55" creationId="{276EFAAB-2E60-F77D-C0D8-2F458F68FBE7}"/>
          </ac:spMkLst>
        </pc:spChg>
        <pc:spChg chg="add mod">
          <ac:chgData name="Bullinger, Marvin" userId="5b54ce5a-dc89-476f-af33-5abd75d5b1e8" providerId="ADAL" clId="{265A6489-94A2-4E64-A25F-E64F69B0C2C1}" dt="2024-03-05T22:19:10.143" v="4423" actId="478"/>
          <ac:spMkLst>
            <pc:docMk/>
            <pc:sldMk cId="1803820397" sldId="604"/>
            <ac:spMk id="96" creationId="{532543A8-8BB5-EF81-BB38-B81D778693C8}"/>
          </ac:spMkLst>
        </pc:spChg>
        <pc:spChg chg="mod ord replST">
          <ac:chgData name="Bullinger, Marvin" userId="5b54ce5a-dc89-476f-af33-5abd75d5b1e8" providerId="ADAL" clId="{265A6489-94A2-4E64-A25F-E64F69B0C2C1}" dt="2024-03-05T22:19:10.939" v="4802"/>
          <ac:spMkLst>
            <pc:docMk/>
            <pc:sldMk cId="1803820397" sldId="604"/>
            <ac:spMk id="97" creationId="{42AD95ED-5018-D37D-7C6D-2840F18C6155}"/>
          </ac:spMkLst>
        </pc:spChg>
        <pc:spChg chg="del">
          <ac:chgData name="Bullinger, Marvin" userId="5b54ce5a-dc89-476f-af33-5abd75d5b1e8" providerId="ADAL" clId="{265A6489-94A2-4E64-A25F-E64F69B0C2C1}" dt="2024-03-05T22:19:10.181" v="4458" actId="478"/>
          <ac:spMkLst>
            <pc:docMk/>
            <pc:sldMk cId="1803820397" sldId="604"/>
            <ac:spMk id="98" creationId="{B8F533FD-D152-65F1-C29C-EA7B3DBC72D1}"/>
          </ac:spMkLst>
        </pc:spChg>
        <pc:spChg chg="del">
          <ac:chgData name="Bullinger, Marvin" userId="5b54ce5a-dc89-476f-af33-5abd75d5b1e8" providerId="ADAL" clId="{265A6489-94A2-4E64-A25F-E64F69B0C2C1}" dt="2024-03-05T22:19:10.180" v="4457" actId="478"/>
          <ac:spMkLst>
            <pc:docMk/>
            <pc:sldMk cId="1803820397" sldId="604"/>
            <ac:spMk id="99" creationId="{14D0BDFD-7714-47C4-5B79-78F08D5F2B82}"/>
          </ac:spMkLst>
        </pc:spChg>
        <pc:spChg chg="del">
          <ac:chgData name="Bullinger, Marvin" userId="5b54ce5a-dc89-476f-af33-5abd75d5b1e8" providerId="ADAL" clId="{265A6489-94A2-4E64-A25F-E64F69B0C2C1}" dt="2024-03-05T22:19:10.180" v="4456" actId="478"/>
          <ac:spMkLst>
            <pc:docMk/>
            <pc:sldMk cId="1803820397" sldId="604"/>
            <ac:spMk id="100" creationId="{54C91BA9-C446-5DA2-6C5E-EE2DCED2CCE7}"/>
          </ac:spMkLst>
        </pc:spChg>
        <pc:spChg chg="del">
          <ac:chgData name="Bullinger, Marvin" userId="5b54ce5a-dc89-476f-af33-5abd75d5b1e8" providerId="ADAL" clId="{265A6489-94A2-4E64-A25F-E64F69B0C2C1}" dt="2024-03-05T22:19:10.179" v="4455" actId="478"/>
          <ac:spMkLst>
            <pc:docMk/>
            <pc:sldMk cId="1803820397" sldId="604"/>
            <ac:spMk id="101" creationId="{3C60F02B-02C6-CBA6-C684-9085C0D1B16E}"/>
          </ac:spMkLst>
        </pc:spChg>
        <pc:spChg chg="del">
          <ac:chgData name="Bullinger, Marvin" userId="5b54ce5a-dc89-476f-af33-5abd75d5b1e8" providerId="ADAL" clId="{265A6489-94A2-4E64-A25F-E64F69B0C2C1}" dt="2024-03-05T22:19:10.178" v="4454" actId="478"/>
          <ac:spMkLst>
            <pc:docMk/>
            <pc:sldMk cId="1803820397" sldId="604"/>
            <ac:spMk id="102" creationId="{44A07286-1695-0FD9-2B17-544F5B7ADD28}"/>
          </ac:spMkLst>
        </pc:spChg>
        <pc:spChg chg="del">
          <ac:chgData name="Bullinger, Marvin" userId="5b54ce5a-dc89-476f-af33-5abd75d5b1e8" providerId="ADAL" clId="{265A6489-94A2-4E64-A25F-E64F69B0C2C1}" dt="2024-03-05T22:19:10.178" v="4453" actId="478"/>
          <ac:spMkLst>
            <pc:docMk/>
            <pc:sldMk cId="1803820397" sldId="604"/>
            <ac:spMk id="103" creationId="{F23F12F7-FE68-41AC-88CE-431A6FE70690}"/>
          </ac:spMkLst>
        </pc:spChg>
        <pc:spChg chg="del">
          <ac:chgData name="Bullinger, Marvin" userId="5b54ce5a-dc89-476f-af33-5abd75d5b1e8" providerId="ADAL" clId="{265A6489-94A2-4E64-A25F-E64F69B0C2C1}" dt="2024-03-05T22:19:10.176" v="4450" actId="478"/>
          <ac:spMkLst>
            <pc:docMk/>
            <pc:sldMk cId="1803820397" sldId="604"/>
            <ac:spMk id="104" creationId="{7C48C26E-47C8-150A-1D49-49EC6BBBB17E}"/>
          </ac:spMkLst>
        </pc:spChg>
        <pc:spChg chg="del">
          <ac:chgData name="Bullinger, Marvin" userId="5b54ce5a-dc89-476f-af33-5abd75d5b1e8" providerId="ADAL" clId="{265A6489-94A2-4E64-A25F-E64F69B0C2C1}" dt="2024-03-05T22:19:10.175" v="4449" actId="478"/>
          <ac:spMkLst>
            <pc:docMk/>
            <pc:sldMk cId="1803820397" sldId="604"/>
            <ac:spMk id="105" creationId="{845968BD-3B76-CC11-16DD-7222EA766276}"/>
          </ac:spMkLst>
        </pc:spChg>
        <pc:spChg chg="del">
          <ac:chgData name="Bullinger, Marvin" userId="5b54ce5a-dc89-476f-af33-5abd75d5b1e8" providerId="ADAL" clId="{265A6489-94A2-4E64-A25F-E64F69B0C2C1}" dt="2024-03-05T22:19:10.175" v="4448" actId="478"/>
          <ac:spMkLst>
            <pc:docMk/>
            <pc:sldMk cId="1803820397" sldId="604"/>
            <ac:spMk id="106" creationId="{CFEAEAC5-8373-971F-E201-5404475D3EC6}"/>
          </ac:spMkLst>
        </pc:spChg>
        <pc:spChg chg="del">
          <ac:chgData name="Bullinger, Marvin" userId="5b54ce5a-dc89-476f-af33-5abd75d5b1e8" providerId="ADAL" clId="{265A6489-94A2-4E64-A25F-E64F69B0C2C1}" dt="2024-03-05T22:19:10.174" v="4447" actId="478"/>
          <ac:spMkLst>
            <pc:docMk/>
            <pc:sldMk cId="1803820397" sldId="604"/>
            <ac:spMk id="107" creationId="{C3FB8486-D7EE-21BB-9361-B353AD44DADD}"/>
          </ac:spMkLst>
        </pc:spChg>
        <pc:spChg chg="del">
          <ac:chgData name="Bullinger, Marvin" userId="5b54ce5a-dc89-476f-af33-5abd75d5b1e8" providerId="ADAL" clId="{265A6489-94A2-4E64-A25F-E64F69B0C2C1}" dt="2024-03-05T22:19:10.174" v="4446" actId="478"/>
          <ac:spMkLst>
            <pc:docMk/>
            <pc:sldMk cId="1803820397" sldId="604"/>
            <ac:spMk id="108" creationId="{AA35B6D0-7002-ACDC-AAEF-31AF8BC0F2DF}"/>
          </ac:spMkLst>
        </pc:spChg>
        <pc:spChg chg="del">
          <ac:chgData name="Bullinger, Marvin" userId="5b54ce5a-dc89-476f-af33-5abd75d5b1e8" providerId="ADAL" clId="{265A6489-94A2-4E64-A25F-E64F69B0C2C1}" dt="2024-03-05T22:19:10.173" v="4445" actId="478"/>
          <ac:spMkLst>
            <pc:docMk/>
            <pc:sldMk cId="1803820397" sldId="604"/>
            <ac:spMk id="109" creationId="{F52CBE03-FB3A-067D-7BA0-7CC4549303B4}"/>
          </ac:spMkLst>
        </pc:spChg>
        <pc:spChg chg="del">
          <ac:chgData name="Bullinger, Marvin" userId="5b54ce5a-dc89-476f-af33-5abd75d5b1e8" providerId="ADAL" clId="{265A6489-94A2-4E64-A25F-E64F69B0C2C1}" dt="2024-03-05T22:19:10.186" v="4466" actId="478"/>
          <ac:spMkLst>
            <pc:docMk/>
            <pc:sldMk cId="1803820397" sldId="604"/>
            <ac:spMk id="110" creationId="{80DAA3C0-093C-C54A-9787-AD9544C9306A}"/>
          </ac:spMkLst>
        </pc:spChg>
        <pc:spChg chg="del">
          <ac:chgData name="Bullinger, Marvin" userId="5b54ce5a-dc89-476f-af33-5abd75d5b1e8" providerId="ADAL" clId="{265A6489-94A2-4E64-A25F-E64F69B0C2C1}" dt="2024-03-05T22:19:10.186" v="4465" actId="478"/>
          <ac:spMkLst>
            <pc:docMk/>
            <pc:sldMk cId="1803820397" sldId="604"/>
            <ac:spMk id="111" creationId="{AABC7F2D-7A35-BA94-7F66-1AD1AEB9EC52}"/>
          </ac:spMkLst>
        </pc:spChg>
        <pc:spChg chg="del">
          <ac:chgData name="Bullinger, Marvin" userId="5b54ce5a-dc89-476f-af33-5abd75d5b1e8" providerId="ADAL" clId="{265A6489-94A2-4E64-A25F-E64F69B0C2C1}" dt="2024-03-05T22:19:10.185" v="4464" actId="478"/>
          <ac:spMkLst>
            <pc:docMk/>
            <pc:sldMk cId="1803820397" sldId="604"/>
            <ac:spMk id="112" creationId="{1B3E22D1-F091-E7BC-84DC-72DD905C5695}"/>
          </ac:spMkLst>
        </pc:spChg>
        <pc:spChg chg="del">
          <ac:chgData name="Bullinger, Marvin" userId="5b54ce5a-dc89-476f-af33-5abd75d5b1e8" providerId="ADAL" clId="{265A6489-94A2-4E64-A25F-E64F69B0C2C1}" dt="2024-03-05T22:19:10.184" v="4463" actId="478"/>
          <ac:spMkLst>
            <pc:docMk/>
            <pc:sldMk cId="1803820397" sldId="604"/>
            <ac:spMk id="113" creationId="{EA60CA1C-677C-5FC5-0DDE-F49E483BF416}"/>
          </ac:spMkLst>
        </pc:spChg>
        <pc:spChg chg="del">
          <ac:chgData name="Bullinger, Marvin" userId="5b54ce5a-dc89-476f-af33-5abd75d5b1e8" providerId="ADAL" clId="{265A6489-94A2-4E64-A25F-E64F69B0C2C1}" dt="2024-03-05T22:19:10.184" v="4462" actId="478"/>
          <ac:spMkLst>
            <pc:docMk/>
            <pc:sldMk cId="1803820397" sldId="604"/>
            <ac:spMk id="114" creationId="{C012F493-9E73-5EB2-B460-468EA93D06FB}"/>
          </ac:spMkLst>
        </pc:spChg>
        <pc:spChg chg="del">
          <ac:chgData name="Bullinger, Marvin" userId="5b54ce5a-dc89-476f-af33-5abd75d5b1e8" providerId="ADAL" clId="{265A6489-94A2-4E64-A25F-E64F69B0C2C1}" dt="2024-03-05T22:19:10.183" v="4461" actId="478"/>
          <ac:spMkLst>
            <pc:docMk/>
            <pc:sldMk cId="1803820397" sldId="604"/>
            <ac:spMk id="115" creationId="{F99278E8-16DE-D4E2-EA87-57269D7F683D}"/>
          </ac:spMkLst>
        </pc:spChg>
        <pc:spChg chg="del">
          <ac:chgData name="Bullinger, Marvin" userId="5b54ce5a-dc89-476f-af33-5abd75d5b1e8" providerId="ADAL" clId="{265A6489-94A2-4E64-A25F-E64F69B0C2C1}" dt="2024-03-05T22:19:10.182" v="4460" actId="478"/>
          <ac:spMkLst>
            <pc:docMk/>
            <pc:sldMk cId="1803820397" sldId="604"/>
            <ac:spMk id="116" creationId="{52D7AC19-3D7C-7936-7FAB-6B52418B009E}"/>
          </ac:spMkLst>
        </pc:spChg>
        <pc:spChg chg="del">
          <ac:chgData name="Bullinger, Marvin" userId="5b54ce5a-dc89-476f-af33-5abd75d5b1e8" providerId="ADAL" clId="{265A6489-94A2-4E64-A25F-E64F69B0C2C1}" dt="2024-03-05T22:19:10.181" v="4459" actId="478"/>
          <ac:spMkLst>
            <pc:docMk/>
            <pc:sldMk cId="1803820397" sldId="604"/>
            <ac:spMk id="117" creationId="{267A1421-1205-7389-E17F-1180BBEC1FEF}"/>
          </ac:spMkLst>
        </pc:spChg>
        <pc:spChg chg="del">
          <ac:chgData name="Bullinger, Marvin" userId="5b54ce5a-dc89-476f-af33-5abd75d5b1e8" providerId="ADAL" clId="{265A6489-94A2-4E64-A25F-E64F69B0C2C1}" dt="2024-03-05T22:19:10.177" v="4451" actId="478"/>
          <ac:spMkLst>
            <pc:docMk/>
            <pc:sldMk cId="1803820397" sldId="604"/>
            <ac:spMk id="118" creationId="{B63D3D87-9A3C-19FA-CEB4-4FA397953D19}"/>
          </ac:spMkLst>
        </pc:spChg>
        <pc:spChg chg="del">
          <ac:chgData name="Bullinger, Marvin" userId="5b54ce5a-dc89-476f-af33-5abd75d5b1e8" providerId="ADAL" clId="{265A6489-94A2-4E64-A25F-E64F69B0C2C1}" dt="2024-03-05T22:19:10.173" v="4444" actId="478"/>
          <ac:spMkLst>
            <pc:docMk/>
            <pc:sldMk cId="1803820397" sldId="604"/>
            <ac:spMk id="119" creationId="{E2261090-BDFD-832B-1BEC-974128C46D30}"/>
          </ac:spMkLst>
        </pc:spChg>
        <pc:spChg chg="del">
          <ac:chgData name="Bullinger, Marvin" userId="5b54ce5a-dc89-476f-af33-5abd75d5b1e8" providerId="ADAL" clId="{265A6489-94A2-4E64-A25F-E64F69B0C2C1}" dt="2024-03-05T22:19:10.177" v="4452" actId="478"/>
          <ac:spMkLst>
            <pc:docMk/>
            <pc:sldMk cId="1803820397" sldId="604"/>
            <ac:spMk id="120" creationId="{382047C0-DC53-67C5-1CF0-E4F33F60423A}"/>
          </ac:spMkLst>
        </pc:spChg>
        <pc:spChg chg="del">
          <ac:chgData name="Bullinger, Marvin" userId="5b54ce5a-dc89-476f-af33-5abd75d5b1e8" providerId="ADAL" clId="{265A6489-94A2-4E64-A25F-E64F69B0C2C1}" dt="2024-03-05T22:19:10.172" v="4443" actId="478"/>
          <ac:spMkLst>
            <pc:docMk/>
            <pc:sldMk cId="1803820397" sldId="604"/>
            <ac:spMk id="121" creationId="{991109DD-95D2-4DC0-0324-65FCEDDEA840}"/>
          </ac:spMkLst>
        </pc:spChg>
        <pc:spChg chg="del">
          <ac:chgData name="Bullinger, Marvin" userId="5b54ce5a-dc89-476f-af33-5abd75d5b1e8" providerId="ADAL" clId="{265A6489-94A2-4E64-A25F-E64F69B0C2C1}" dt="2024-03-05T22:19:10.171" v="4442" actId="478"/>
          <ac:spMkLst>
            <pc:docMk/>
            <pc:sldMk cId="1803820397" sldId="604"/>
            <ac:spMk id="122" creationId="{3FF7C2E4-6E78-77C7-BBBA-8EF9955DE0D8}"/>
          </ac:spMkLst>
        </pc:spChg>
        <pc:spChg chg="del">
          <ac:chgData name="Bullinger, Marvin" userId="5b54ce5a-dc89-476f-af33-5abd75d5b1e8" providerId="ADAL" clId="{265A6489-94A2-4E64-A25F-E64F69B0C2C1}" dt="2024-03-05T22:19:10.171" v="4441" actId="478"/>
          <ac:spMkLst>
            <pc:docMk/>
            <pc:sldMk cId="1803820397" sldId="604"/>
            <ac:spMk id="123" creationId="{BD88D85F-0F98-45FB-7DA9-4DC675B44A86}"/>
          </ac:spMkLst>
        </pc:spChg>
        <pc:spChg chg="del">
          <ac:chgData name="Bullinger, Marvin" userId="5b54ce5a-dc89-476f-af33-5abd75d5b1e8" providerId="ADAL" clId="{265A6489-94A2-4E64-A25F-E64F69B0C2C1}" dt="2024-03-05T22:19:10.170" v="4440" actId="478"/>
          <ac:spMkLst>
            <pc:docMk/>
            <pc:sldMk cId="1803820397" sldId="604"/>
            <ac:spMk id="124" creationId="{DAA17F06-7BD0-5C4E-04AC-7316D6E5E2D5}"/>
          </ac:spMkLst>
        </pc:spChg>
        <pc:spChg chg="del">
          <ac:chgData name="Bullinger, Marvin" userId="5b54ce5a-dc89-476f-af33-5abd75d5b1e8" providerId="ADAL" clId="{265A6489-94A2-4E64-A25F-E64F69B0C2C1}" dt="2024-03-05T22:19:10.170" v="4439" actId="478"/>
          <ac:spMkLst>
            <pc:docMk/>
            <pc:sldMk cId="1803820397" sldId="604"/>
            <ac:spMk id="125" creationId="{2E7DBD36-3AB1-EFCB-0D2F-DD995BB1C317}"/>
          </ac:spMkLst>
        </pc:spChg>
        <pc:spChg chg="del">
          <ac:chgData name="Bullinger, Marvin" userId="5b54ce5a-dc89-476f-af33-5abd75d5b1e8" providerId="ADAL" clId="{265A6489-94A2-4E64-A25F-E64F69B0C2C1}" dt="2024-03-05T22:19:10.169" v="4438" actId="478"/>
          <ac:spMkLst>
            <pc:docMk/>
            <pc:sldMk cId="1803820397" sldId="604"/>
            <ac:spMk id="126" creationId="{D88BC8BF-4EC8-BF5D-B031-DF20BA93561D}"/>
          </ac:spMkLst>
        </pc:spChg>
        <pc:spChg chg="del">
          <ac:chgData name="Bullinger, Marvin" userId="5b54ce5a-dc89-476f-af33-5abd75d5b1e8" providerId="ADAL" clId="{265A6489-94A2-4E64-A25F-E64F69B0C2C1}" dt="2024-03-05T22:19:10.168" v="4437" actId="478"/>
          <ac:spMkLst>
            <pc:docMk/>
            <pc:sldMk cId="1803820397" sldId="604"/>
            <ac:spMk id="127" creationId="{15428389-A0E8-FACB-1975-F1666DA00117}"/>
          </ac:spMkLst>
        </pc:spChg>
        <pc:spChg chg="del">
          <ac:chgData name="Bullinger, Marvin" userId="5b54ce5a-dc89-476f-af33-5abd75d5b1e8" providerId="ADAL" clId="{265A6489-94A2-4E64-A25F-E64F69B0C2C1}" dt="2024-03-05T22:19:10.168" v="4436" actId="478"/>
          <ac:spMkLst>
            <pc:docMk/>
            <pc:sldMk cId="1803820397" sldId="604"/>
            <ac:spMk id="128" creationId="{AE93E1DF-7A68-9C43-D537-536A9CE42568}"/>
          </ac:spMkLst>
        </pc:spChg>
        <pc:spChg chg="del">
          <ac:chgData name="Bullinger, Marvin" userId="5b54ce5a-dc89-476f-af33-5abd75d5b1e8" providerId="ADAL" clId="{265A6489-94A2-4E64-A25F-E64F69B0C2C1}" dt="2024-03-05T22:19:10.167" v="4435" actId="478"/>
          <ac:spMkLst>
            <pc:docMk/>
            <pc:sldMk cId="1803820397" sldId="604"/>
            <ac:spMk id="129" creationId="{21B0D375-A436-DF4D-6428-9A4087AE1CB7}"/>
          </ac:spMkLst>
        </pc:spChg>
        <pc:spChg chg="del">
          <ac:chgData name="Bullinger, Marvin" userId="5b54ce5a-dc89-476f-af33-5abd75d5b1e8" providerId="ADAL" clId="{265A6489-94A2-4E64-A25F-E64F69B0C2C1}" dt="2024-03-05T22:19:10.167" v="4434" actId="478"/>
          <ac:spMkLst>
            <pc:docMk/>
            <pc:sldMk cId="1803820397" sldId="604"/>
            <ac:spMk id="130" creationId="{FB016C40-8C49-7F5A-8C50-20AC423FCF58}"/>
          </ac:spMkLst>
        </pc:spChg>
        <pc:spChg chg="del">
          <ac:chgData name="Bullinger, Marvin" userId="5b54ce5a-dc89-476f-af33-5abd75d5b1e8" providerId="ADAL" clId="{265A6489-94A2-4E64-A25F-E64F69B0C2C1}" dt="2024-03-05T22:19:10.166" v="4433" actId="478"/>
          <ac:spMkLst>
            <pc:docMk/>
            <pc:sldMk cId="1803820397" sldId="604"/>
            <ac:spMk id="131" creationId="{858E77AC-3584-BDEA-5A5F-8E767B4799C3}"/>
          </ac:spMkLst>
        </pc:spChg>
        <pc:spChg chg="del">
          <ac:chgData name="Bullinger, Marvin" userId="5b54ce5a-dc89-476f-af33-5abd75d5b1e8" providerId="ADAL" clId="{265A6489-94A2-4E64-A25F-E64F69B0C2C1}" dt="2024-03-05T22:19:10.165" v="4432" actId="478"/>
          <ac:spMkLst>
            <pc:docMk/>
            <pc:sldMk cId="1803820397" sldId="604"/>
            <ac:spMk id="132" creationId="{DF9EF758-7290-F990-D6F3-1B3E88BA3058}"/>
          </ac:spMkLst>
        </pc:spChg>
        <pc:spChg chg="del">
          <ac:chgData name="Bullinger, Marvin" userId="5b54ce5a-dc89-476f-af33-5abd75d5b1e8" providerId="ADAL" clId="{265A6489-94A2-4E64-A25F-E64F69B0C2C1}" dt="2024-03-05T22:19:10.164" v="4431" actId="478"/>
          <ac:spMkLst>
            <pc:docMk/>
            <pc:sldMk cId="1803820397" sldId="604"/>
            <ac:spMk id="133" creationId="{84122228-D0E8-3BBA-A8C6-82BCC0E140C8}"/>
          </ac:spMkLst>
        </pc:spChg>
        <pc:spChg chg="del">
          <ac:chgData name="Bullinger, Marvin" userId="5b54ce5a-dc89-476f-af33-5abd75d5b1e8" providerId="ADAL" clId="{265A6489-94A2-4E64-A25F-E64F69B0C2C1}" dt="2024-03-05T22:19:10.163" v="4430" actId="478"/>
          <ac:spMkLst>
            <pc:docMk/>
            <pc:sldMk cId="1803820397" sldId="604"/>
            <ac:spMk id="134" creationId="{482AD55A-38C4-8D73-890A-FE18C2691A07}"/>
          </ac:spMkLst>
        </pc:spChg>
        <pc:spChg chg="mod replST">
          <ac:chgData name="Bullinger, Marvin" userId="5b54ce5a-dc89-476f-af33-5abd75d5b1e8" providerId="ADAL" clId="{265A6489-94A2-4E64-A25F-E64F69B0C2C1}" dt="2024-03-05T22:33:29.195" v="5061" actId="207"/>
          <ac:spMkLst>
            <pc:docMk/>
            <pc:sldMk cId="1803820397" sldId="604"/>
            <ac:spMk id="135" creationId="{A30B850C-0478-33AC-E02B-6339ED5E8F8C}"/>
          </ac:spMkLst>
        </pc:spChg>
        <pc:spChg chg="replST">
          <ac:chgData name="Bullinger, Marvin" userId="5b54ce5a-dc89-476f-af33-5abd75d5b1e8" providerId="ADAL" clId="{265A6489-94A2-4E64-A25F-E64F69B0C2C1}" dt="2024-03-05T22:19:10.812" v="4764"/>
          <ac:spMkLst>
            <pc:docMk/>
            <pc:sldMk cId="1803820397" sldId="604"/>
            <ac:spMk id="136" creationId="{23DE3EBD-A91D-CF14-7B32-3A3FE942B5DF}"/>
          </ac:spMkLst>
        </pc:spChg>
        <pc:spChg chg="mod replST">
          <ac:chgData name="Bullinger, Marvin" userId="5b54ce5a-dc89-476f-af33-5abd75d5b1e8" providerId="ADAL" clId="{265A6489-94A2-4E64-A25F-E64F69B0C2C1}" dt="2024-03-05T22:33:29.195" v="5061" actId="207"/>
          <ac:spMkLst>
            <pc:docMk/>
            <pc:sldMk cId="1803820397" sldId="604"/>
            <ac:spMk id="138" creationId="{707890A5-A07B-B63F-384C-44DEF2341A2B}"/>
          </ac:spMkLst>
        </pc:spChg>
        <pc:spChg chg="replST">
          <ac:chgData name="Bullinger, Marvin" userId="5b54ce5a-dc89-476f-af33-5abd75d5b1e8" providerId="ADAL" clId="{265A6489-94A2-4E64-A25F-E64F69B0C2C1}" dt="2024-03-05T22:19:10.831" v="4771"/>
          <ac:spMkLst>
            <pc:docMk/>
            <pc:sldMk cId="1803820397" sldId="604"/>
            <ac:spMk id="139" creationId="{2AB0A409-1E35-FDFB-8829-7875ABF87024}"/>
          </ac:spMkLst>
        </pc:spChg>
        <pc:spChg chg="mod replST">
          <ac:chgData name="Bullinger, Marvin" userId="5b54ce5a-dc89-476f-af33-5abd75d5b1e8" providerId="ADAL" clId="{265A6489-94A2-4E64-A25F-E64F69B0C2C1}" dt="2024-03-05T22:33:14.566" v="5057" actId="20577"/>
          <ac:spMkLst>
            <pc:docMk/>
            <pc:sldMk cId="1803820397" sldId="604"/>
            <ac:spMk id="141" creationId="{2878E354-12FB-51E8-BC0B-A3015E5FA760}"/>
          </ac:spMkLst>
        </pc:spChg>
        <pc:spChg chg="mod replST">
          <ac:chgData name="Bullinger, Marvin" userId="5b54ce5a-dc89-476f-af33-5abd75d5b1e8" providerId="ADAL" clId="{265A6489-94A2-4E64-A25F-E64F69B0C2C1}" dt="2024-03-06T13:53:13.675" v="5133" actId="20577"/>
          <ac:spMkLst>
            <pc:docMk/>
            <pc:sldMk cId="1803820397" sldId="604"/>
            <ac:spMk id="142" creationId="{278D6CDC-BBE2-3297-8F28-4CDDACDDD8FE}"/>
          </ac:spMkLst>
        </pc:spChg>
        <pc:spChg chg="mod ord replST">
          <ac:chgData name="Bullinger, Marvin" userId="5b54ce5a-dc89-476f-af33-5abd75d5b1e8" providerId="ADAL" clId="{265A6489-94A2-4E64-A25F-E64F69B0C2C1}" dt="2024-03-05T22:33:36.390" v="5062" actId="207"/>
          <ac:spMkLst>
            <pc:docMk/>
            <pc:sldMk cId="1803820397" sldId="604"/>
            <ac:spMk id="143" creationId="{3DF0F9CF-C0CD-764F-859D-DA72E0033333}"/>
          </ac:spMkLst>
        </pc:spChg>
        <pc:spChg chg="mod replST">
          <ac:chgData name="Bullinger, Marvin" userId="5b54ce5a-dc89-476f-af33-5abd75d5b1e8" providerId="ADAL" clId="{265A6489-94A2-4E64-A25F-E64F69B0C2C1}" dt="2024-03-05T22:33:29.195" v="5061" actId="207"/>
          <ac:spMkLst>
            <pc:docMk/>
            <pc:sldMk cId="1803820397" sldId="604"/>
            <ac:spMk id="144" creationId="{E90F3FBD-6300-3D95-E1E3-323EDA4C4400}"/>
          </ac:spMkLst>
        </pc:spChg>
        <pc:spChg chg="replST">
          <ac:chgData name="Bullinger, Marvin" userId="5b54ce5a-dc89-476f-af33-5abd75d5b1e8" providerId="ADAL" clId="{265A6489-94A2-4E64-A25F-E64F69B0C2C1}" dt="2024-03-05T22:19:10.875" v="4785"/>
          <ac:spMkLst>
            <pc:docMk/>
            <pc:sldMk cId="1803820397" sldId="604"/>
            <ac:spMk id="145" creationId="{975CD670-6C1A-8660-E146-2C6F1533212A}"/>
          </ac:spMkLst>
        </pc:spChg>
        <pc:spChg chg="mod replST">
          <ac:chgData name="Bullinger, Marvin" userId="5b54ce5a-dc89-476f-af33-5abd75d5b1e8" providerId="ADAL" clId="{265A6489-94A2-4E64-A25F-E64F69B0C2C1}" dt="2024-03-05T22:33:29.195" v="5061" actId="207"/>
          <ac:spMkLst>
            <pc:docMk/>
            <pc:sldMk cId="1803820397" sldId="604"/>
            <ac:spMk id="147" creationId="{171FAC9D-4447-8E59-5778-0BAF73F6C174}"/>
          </ac:spMkLst>
        </pc:spChg>
        <pc:spChg chg="replST">
          <ac:chgData name="Bullinger, Marvin" userId="5b54ce5a-dc89-476f-af33-5abd75d5b1e8" providerId="ADAL" clId="{265A6489-94A2-4E64-A25F-E64F69B0C2C1}" dt="2024-03-05T22:19:10.889" v="4792"/>
          <ac:spMkLst>
            <pc:docMk/>
            <pc:sldMk cId="1803820397" sldId="604"/>
            <ac:spMk id="148" creationId="{22638CF9-68E3-1D67-15D6-05C19B5E23FA}"/>
          </ac:spMkLst>
        </pc:spChg>
        <pc:spChg chg="mod replST">
          <ac:chgData name="Bullinger, Marvin" userId="5b54ce5a-dc89-476f-af33-5abd75d5b1e8" providerId="ADAL" clId="{265A6489-94A2-4E64-A25F-E64F69B0C2C1}" dt="2024-03-05T22:33:29.195" v="5061" actId="207"/>
          <ac:spMkLst>
            <pc:docMk/>
            <pc:sldMk cId="1803820397" sldId="604"/>
            <ac:spMk id="150" creationId="{3C03621B-F02E-1754-4DDA-AAE4B8335840}"/>
          </ac:spMkLst>
        </pc:spChg>
        <pc:spChg chg="replST">
          <ac:chgData name="Bullinger, Marvin" userId="5b54ce5a-dc89-476f-af33-5abd75d5b1e8" providerId="ADAL" clId="{265A6489-94A2-4E64-A25F-E64F69B0C2C1}" dt="2024-03-05T22:19:10.925" v="4799"/>
          <ac:spMkLst>
            <pc:docMk/>
            <pc:sldMk cId="1803820397" sldId="604"/>
            <ac:spMk id="151" creationId="{26913EB1-2671-377A-9AF8-C7A808D4C1DA}"/>
          </ac:spMkLst>
        </pc:spChg>
        <pc:cxnChg chg="del ord replST">
          <ac:chgData name="Bullinger, Marvin" userId="5b54ce5a-dc89-476f-af33-5abd75d5b1e8" providerId="ADAL" clId="{265A6489-94A2-4E64-A25F-E64F69B0C2C1}" dt="2024-03-05T22:19:10.144" v="4424" actId="478"/>
          <ac:cxnSpMkLst>
            <pc:docMk/>
            <pc:sldMk cId="1803820397" sldId="604"/>
            <ac:cxnSpMk id="44" creationId="{086230A9-016F-B8EA-EEDC-409555B528EB}"/>
          </ac:cxnSpMkLst>
        </pc:cxnChg>
        <pc:cxnChg chg="del ord replST">
          <ac:chgData name="Bullinger, Marvin" userId="5b54ce5a-dc89-476f-af33-5abd75d5b1e8" providerId="ADAL" clId="{265A6489-94A2-4E64-A25F-E64F69B0C2C1}" dt="2024-03-05T22:19:10.147" v="4426" actId="478"/>
          <ac:cxnSpMkLst>
            <pc:docMk/>
            <pc:sldMk cId="1803820397" sldId="604"/>
            <ac:cxnSpMk id="50" creationId="{59291A0A-587C-ED8A-003B-6556AD2B4877}"/>
          </ac:cxnSpMkLst>
        </pc:cxnChg>
        <pc:cxnChg chg="del ord replST">
          <ac:chgData name="Bullinger, Marvin" userId="5b54ce5a-dc89-476f-af33-5abd75d5b1e8" providerId="ADAL" clId="{265A6489-94A2-4E64-A25F-E64F69B0C2C1}" dt="2024-03-05T22:19:10.148" v="4427" actId="478"/>
          <ac:cxnSpMkLst>
            <pc:docMk/>
            <pc:sldMk cId="1803820397" sldId="604"/>
            <ac:cxnSpMk id="53" creationId="{F336EB0D-AB72-1355-7404-C54C6EAB4C7D}"/>
          </ac:cxnSpMkLst>
        </pc:cxnChg>
        <pc:cxnChg chg="del ord replST">
          <ac:chgData name="Bullinger, Marvin" userId="5b54ce5a-dc89-476f-af33-5abd75d5b1e8" providerId="ADAL" clId="{265A6489-94A2-4E64-A25F-E64F69B0C2C1}" dt="2024-03-05T22:19:10.150" v="4428" actId="478"/>
          <ac:cxnSpMkLst>
            <pc:docMk/>
            <pc:sldMk cId="1803820397" sldId="604"/>
            <ac:cxnSpMk id="56" creationId="{DF1AE13D-A3AB-936C-53E7-73B10A5B4CF7}"/>
          </ac:cxnSpMkLst>
        </pc:cxnChg>
        <pc:cxnChg chg="del ord replST">
          <ac:chgData name="Bullinger, Marvin" userId="5b54ce5a-dc89-476f-af33-5abd75d5b1e8" providerId="ADAL" clId="{265A6489-94A2-4E64-A25F-E64F69B0C2C1}" dt="2024-03-05T22:19:10.150" v="4429" actId="478"/>
          <ac:cxnSpMkLst>
            <pc:docMk/>
            <pc:sldMk cId="1803820397" sldId="604"/>
            <ac:cxnSpMk id="57" creationId="{26DD0014-185A-D96A-75F8-9EDAA9D648F6}"/>
          </ac:cxnSpMkLst>
        </pc:cxnChg>
        <pc:cxnChg chg="ord replST">
          <ac:chgData name="Bullinger, Marvin" userId="5b54ce5a-dc89-476f-af33-5abd75d5b1e8" providerId="ADAL" clId="{265A6489-94A2-4E64-A25F-E64F69B0C2C1}" dt="2024-03-05T22:19:10.942" v="4803"/>
          <ac:cxnSpMkLst>
            <pc:docMk/>
            <pc:sldMk cId="1803820397" sldId="604"/>
            <ac:cxnSpMk id="137" creationId="{5FE712E0-EAFD-F20D-A707-B107367EB1D8}"/>
          </ac:cxnSpMkLst>
        </pc:cxnChg>
        <pc:cxnChg chg="ord replST">
          <ac:chgData name="Bullinger, Marvin" userId="5b54ce5a-dc89-476f-af33-5abd75d5b1e8" providerId="ADAL" clId="{265A6489-94A2-4E64-A25F-E64F69B0C2C1}" dt="2024-03-05T22:19:10.944" v="4804"/>
          <ac:cxnSpMkLst>
            <pc:docMk/>
            <pc:sldMk cId="1803820397" sldId="604"/>
            <ac:cxnSpMk id="140" creationId="{7395DCEC-72A0-F6EF-7F71-FF17C992ED70}"/>
          </ac:cxnSpMkLst>
        </pc:cxnChg>
        <pc:cxnChg chg="ord replST">
          <ac:chgData name="Bullinger, Marvin" userId="5b54ce5a-dc89-476f-af33-5abd75d5b1e8" providerId="ADAL" clId="{265A6489-94A2-4E64-A25F-E64F69B0C2C1}" dt="2024-03-05T22:19:10.949" v="4806"/>
          <ac:cxnSpMkLst>
            <pc:docMk/>
            <pc:sldMk cId="1803820397" sldId="604"/>
            <ac:cxnSpMk id="146" creationId="{E1D39E47-2198-094E-1888-E293687F5AF8}"/>
          </ac:cxnSpMkLst>
        </pc:cxnChg>
        <pc:cxnChg chg="ord replST">
          <ac:chgData name="Bullinger, Marvin" userId="5b54ce5a-dc89-476f-af33-5abd75d5b1e8" providerId="ADAL" clId="{265A6489-94A2-4E64-A25F-E64F69B0C2C1}" dt="2024-03-05T22:19:10.951" v="4807"/>
          <ac:cxnSpMkLst>
            <pc:docMk/>
            <pc:sldMk cId="1803820397" sldId="604"/>
            <ac:cxnSpMk id="149" creationId="{B0828718-A03F-98AE-83E6-C6741BB984B3}"/>
          </ac:cxnSpMkLst>
        </pc:cxnChg>
        <pc:cxnChg chg="ord replST">
          <ac:chgData name="Bullinger, Marvin" userId="5b54ce5a-dc89-476f-af33-5abd75d5b1e8" providerId="ADAL" clId="{265A6489-94A2-4E64-A25F-E64F69B0C2C1}" dt="2024-03-05T22:19:10.953" v="4808"/>
          <ac:cxnSpMkLst>
            <pc:docMk/>
            <pc:sldMk cId="1803820397" sldId="604"/>
            <ac:cxnSpMk id="152" creationId="{427F42A0-3E56-039D-E686-BE05DB3975DC}"/>
          </ac:cxnSpMkLst>
        </pc:cxnChg>
        <pc:cxnChg chg="ord replST">
          <ac:chgData name="Bullinger, Marvin" userId="5b54ce5a-dc89-476f-af33-5abd75d5b1e8" providerId="ADAL" clId="{265A6489-94A2-4E64-A25F-E64F69B0C2C1}" dt="2024-03-05T22:19:10.955" v="4809"/>
          <ac:cxnSpMkLst>
            <pc:docMk/>
            <pc:sldMk cId="1803820397" sldId="604"/>
            <ac:cxnSpMk id="153" creationId="{DBE38704-579D-82A2-82E7-DA249D919D72}"/>
          </ac:cxnSpMkLst>
        </pc:cxnChg>
      </pc:sldChg>
      <pc:sldChg chg="delSp modSp new del mod ord">
        <pc:chgData name="Bullinger, Marvin" userId="5b54ce5a-dc89-476f-af33-5abd75d5b1e8" providerId="ADAL" clId="{265A6489-94A2-4E64-A25F-E64F69B0C2C1}" dt="2024-03-05T21:24:45.037" v="3484" actId="47"/>
        <pc:sldMkLst>
          <pc:docMk/>
          <pc:sldMk cId="2893359372" sldId="605"/>
        </pc:sldMkLst>
        <pc:spChg chg="mod">
          <ac:chgData name="Bullinger, Marvin" userId="5b54ce5a-dc89-476f-af33-5abd75d5b1e8" providerId="ADAL" clId="{265A6489-94A2-4E64-A25F-E64F69B0C2C1}" dt="2024-03-05T20:53:34.409" v="2391"/>
          <ac:spMkLst>
            <pc:docMk/>
            <pc:sldMk cId="2893359372" sldId="605"/>
            <ac:spMk id="2" creationId="{5F40D1FB-F537-00EE-5B1A-213BED96A4C1}"/>
          </ac:spMkLst>
        </pc:spChg>
        <pc:spChg chg="del">
          <ac:chgData name="Bullinger, Marvin" userId="5b54ce5a-dc89-476f-af33-5abd75d5b1e8" providerId="ADAL" clId="{265A6489-94A2-4E64-A25F-E64F69B0C2C1}" dt="2024-03-05T20:49:35.287" v="2375" actId="478"/>
          <ac:spMkLst>
            <pc:docMk/>
            <pc:sldMk cId="2893359372" sldId="605"/>
            <ac:spMk id="3" creationId="{6A8B51C4-3A04-D281-CE94-FF12EA9A3891}"/>
          </ac:spMkLst>
        </pc:spChg>
        <pc:spChg chg="del">
          <ac:chgData name="Bullinger, Marvin" userId="5b54ce5a-dc89-476f-af33-5abd75d5b1e8" providerId="ADAL" clId="{265A6489-94A2-4E64-A25F-E64F69B0C2C1}" dt="2024-03-05T20:53:37.526" v="2392" actId="478"/>
          <ac:spMkLst>
            <pc:docMk/>
            <pc:sldMk cId="2893359372" sldId="605"/>
            <ac:spMk id="5" creationId="{F94171B7-75D3-321E-152B-18614BA15919}"/>
          </ac:spMkLst>
        </pc:spChg>
      </pc:sldChg>
      <pc:sldChg chg="addSp delSp modSp new mod modAnim">
        <pc:chgData name="Bullinger, Marvin" userId="5b54ce5a-dc89-476f-af33-5abd75d5b1e8" providerId="ADAL" clId="{265A6489-94A2-4E64-A25F-E64F69B0C2C1}" dt="2024-03-08T14:55:43.276" v="5484" actId="207"/>
        <pc:sldMkLst>
          <pc:docMk/>
          <pc:sldMk cId="410633608" sldId="606"/>
        </pc:sldMkLst>
        <pc:spChg chg="del">
          <ac:chgData name="Bullinger, Marvin" userId="5b54ce5a-dc89-476f-af33-5abd75d5b1e8" providerId="ADAL" clId="{265A6489-94A2-4E64-A25F-E64F69B0C2C1}" dt="2024-03-05T21:12:32.110" v="2667" actId="478"/>
          <ac:spMkLst>
            <pc:docMk/>
            <pc:sldMk cId="410633608" sldId="606"/>
            <ac:spMk id="2" creationId="{39D7A60C-567F-4A43-0BBC-87743D466A42}"/>
          </ac:spMkLst>
        </pc:spChg>
        <pc:spChg chg="mod">
          <ac:chgData name="Bullinger, Marvin" userId="5b54ce5a-dc89-476f-af33-5abd75d5b1e8" providerId="ADAL" clId="{265A6489-94A2-4E64-A25F-E64F69B0C2C1}" dt="2024-03-06T13:54:21.551" v="5145" actId="20577"/>
          <ac:spMkLst>
            <pc:docMk/>
            <pc:sldMk cId="410633608" sldId="606"/>
            <ac:spMk id="3" creationId="{2454C9D5-E032-88AA-968C-7DFAA71F5BAD}"/>
          </ac:spMkLst>
        </pc:spChg>
        <pc:spChg chg="mod">
          <ac:chgData name="Bullinger, Marvin" userId="5b54ce5a-dc89-476f-af33-5abd75d5b1e8" providerId="ADAL" clId="{265A6489-94A2-4E64-A25F-E64F69B0C2C1}" dt="2024-03-06T13:54:28.181" v="5162" actId="20577"/>
          <ac:spMkLst>
            <pc:docMk/>
            <pc:sldMk cId="410633608" sldId="606"/>
            <ac:spMk id="4" creationId="{9C0D1D38-DB8D-3BE4-E712-E4AAF2B06E81}"/>
          </ac:spMkLst>
        </pc:spChg>
        <pc:spChg chg="del">
          <ac:chgData name="Bullinger, Marvin" userId="5b54ce5a-dc89-476f-af33-5abd75d5b1e8" providerId="ADAL" clId="{265A6489-94A2-4E64-A25F-E64F69B0C2C1}" dt="2024-03-05T21:12:33.664" v="2668" actId="478"/>
          <ac:spMkLst>
            <pc:docMk/>
            <pc:sldMk cId="410633608" sldId="606"/>
            <ac:spMk id="5" creationId="{9B5C114D-3A48-D075-8066-60B153884BD4}"/>
          </ac:spMkLst>
        </pc:spChg>
        <pc:spChg chg="add mod">
          <ac:chgData name="Bullinger, Marvin" userId="5b54ce5a-dc89-476f-af33-5abd75d5b1e8" providerId="ADAL" clId="{265A6489-94A2-4E64-A25F-E64F69B0C2C1}" dt="2024-03-08T14:55:31.301" v="5483" actId="20577"/>
          <ac:spMkLst>
            <pc:docMk/>
            <pc:sldMk cId="410633608" sldId="606"/>
            <ac:spMk id="8" creationId="{CBD6E414-1A8B-A531-F1B8-DCB261FBD892}"/>
          </ac:spMkLst>
        </pc:spChg>
        <pc:spChg chg="add del mod">
          <ac:chgData name="Bullinger, Marvin" userId="5b54ce5a-dc89-476f-af33-5abd75d5b1e8" providerId="ADAL" clId="{265A6489-94A2-4E64-A25F-E64F69B0C2C1}" dt="2024-03-05T21:20:08.016" v="3168" actId="478"/>
          <ac:spMkLst>
            <pc:docMk/>
            <pc:sldMk cId="410633608" sldId="606"/>
            <ac:spMk id="9" creationId="{1B6203E6-69BE-3FC1-D17F-EBE6189BC334}"/>
          </ac:spMkLst>
        </pc:spChg>
        <pc:spChg chg="add mod">
          <ac:chgData name="Bullinger, Marvin" userId="5b54ce5a-dc89-476f-af33-5abd75d5b1e8" providerId="ADAL" clId="{265A6489-94A2-4E64-A25F-E64F69B0C2C1}" dt="2024-03-08T14:15:18.461" v="5465" actId="1076"/>
          <ac:spMkLst>
            <pc:docMk/>
            <pc:sldMk cId="410633608" sldId="606"/>
            <ac:spMk id="10" creationId="{7AF04212-01CF-F6F1-582B-CE87088AD94F}"/>
          </ac:spMkLst>
        </pc:spChg>
        <pc:picChg chg="add mod">
          <ac:chgData name="Bullinger, Marvin" userId="5b54ce5a-dc89-476f-af33-5abd75d5b1e8" providerId="ADAL" clId="{265A6489-94A2-4E64-A25F-E64F69B0C2C1}" dt="2024-03-08T14:55:43.276" v="5484" actId="207"/>
          <ac:picMkLst>
            <pc:docMk/>
            <pc:sldMk cId="410633608" sldId="606"/>
            <ac:picMk id="7" creationId="{97781DD6-497C-8BEB-020C-0C185D54E226}"/>
          </ac:picMkLst>
        </pc:picChg>
      </pc:sldChg>
      <pc:sldChg chg="add del">
        <pc:chgData name="Bullinger, Marvin" userId="5b54ce5a-dc89-476f-af33-5abd75d5b1e8" providerId="ADAL" clId="{265A6489-94A2-4E64-A25F-E64F69B0C2C1}" dt="2024-03-05T21:06:54.651" v="2530"/>
        <pc:sldMkLst>
          <pc:docMk/>
          <pc:sldMk cId="4132025375" sldId="606"/>
        </pc:sldMkLst>
      </pc:sldChg>
      <pc:sldChg chg="delSp modSp del mod">
        <pc:chgData name="Bullinger, Marvin" userId="5b54ce5a-dc89-476f-af33-5abd75d5b1e8" providerId="ADAL" clId="{265A6489-94A2-4E64-A25F-E64F69B0C2C1}" dt="2024-03-05T22:19:11.376" v="5011" actId="2696"/>
        <pc:sldMkLst>
          <pc:docMk/>
          <pc:sldMk cId="455207031" sldId="607"/>
        </pc:sldMkLst>
        <pc:spChg chg="del">
          <ac:chgData name="Bullinger, Marvin" userId="5b54ce5a-dc89-476f-af33-5abd75d5b1e8" providerId="ADAL" clId="{265A6489-94A2-4E64-A25F-E64F69B0C2C1}" dt="2024-03-05T22:19:11.372" v="5009" actId="478"/>
          <ac:spMkLst>
            <pc:docMk/>
            <pc:sldMk cId="455207031" sldId="607"/>
            <ac:spMk id="42" creationId="{566AF435-B5AC-A11A-B393-A39B6F79B000}"/>
          </ac:spMkLst>
        </pc:spChg>
        <pc:spChg chg="mod">
          <ac:chgData name="Bullinger, Marvin" userId="5b54ce5a-dc89-476f-af33-5abd75d5b1e8" providerId="ADAL" clId="{265A6489-94A2-4E64-A25F-E64F69B0C2C1}" dt="2024-03-05T22:19:09.427" v="4248" actId="207"/>
          <ac:spMkLst>
            <pc:docMk/>
            <pc:sldMk cId="455207031" sldId="607"/>
            <ac:spMk id="44" creationId="{E9EAEFA7-9B99-1086-0C07-EECF236260B6}"/>
          </ac:spMkLst>
        </pc:spChg>
        <pc:spChg chg="mod modVis">
          <ac:chgData name="Bullinger, Marvin" userId="5b54ce5a-dc89-476f-af33-5abd75d5b1e8" providerId="ADAL" clId="{265A6489-94A2-4E64-A25F-E64F69B0C2C1}" dt="2024-03-05T22:19:09.470" v="4249" actId="962"/>
          <ac:spMkLst>
            <pc:docMk/>
            <pc:sldMk cId="455207031" sldId="607"/>
            <ac:spMk id="46" creationId="{E47B1316-E73C-F0BB-303D-3220061BC4D3}"/>
          </ac:spMkLst>
        </pc:spChg>
        <pc:spChg chg="mod modVis">
          <ac:chgData name="Bullinger, Marvin" userId="5b54ce5a-dc89-476f-af33-5abd75d5b1e8" providerId="ADAL" clId="{265A6489-94A2-4E64-A25F-E64F69B0C2C1}" dt="2024-03-05T22:19:09.477" v="4250" actId="962"/>
          <ac:spMkLst>
            <pc:docMk/>
            <pc:sldMk cId="455207031" sldId="607"/>
            <ac:spMk id="47" creationId="{2FD38360-C482-BAF3-CEF4-C28F4D282484}"/>
          </ac:spMkLst>
        </pc:spChg>
        <pc:spChg chg="mod modVis">
          <ac:chgData name="Bullinger, Marvin" userId="5b54ce5a-dc89-476f-af33-5abd75d5b1e8" providerId="ADAL" clId="{265A6489-94A2-4E64-A25F-E64F69B0C2C1}" dt="2024-03-05T22:19:09.485" v="4251" actId="962"/>
          <ac:spMkLst>
            <pc:docMk/>
            <pc:sldMk cId="455207031" sldId="607"/>
            <ac:spMk id="48" creationId="{0F04F362-945F-0BE6-C392-3B5C3F74DCD0}"/>
          </ac:spMkLst>
        </pc:spChg>
        <pc:spChg chg="mod modVis">
          <ac:chgData name="Bullinger, Marvin" userId="5b54ce5a-dc89-476f-af33-5abd75d5b1e8" providerId="ADAL" clId="{265A6489-94A2-4E64-A25F-E64F69B0C2C1}" dt="2024-03-05T22:19:09.494" v="4252" actId="962"/>
          <ac:spMkLst>
            <pc:docMk/>
            <pc:sldMk cId="455207031" sldId="607"/>
            <ac:spMk id="49" creationId="{7126082E-73A4-8C1F-94FA-69E2DD14672C}"/>
          </ac:spMkLst>
        </pc:spChg>
        <pc:spChg chg="mod modVis">
          <ac:chgData name="Bullinger, Marvin" userId="5b54ce5a-dc89-476f-af33-5abd75d5b1e8" providerId="ADAL" clId="{265A6489-94A2-4E64-A25F-E64F69B0C2C1}" dt="2024-03-05T22:19:09.502" v="4253" actId="962"/>
          <ac:spMkLst>
            <pc:docMk/>
            <pc:sldMk cId="455207031" sldId="607"/>
            <ac:spMk id="50" creationId="{0F587C21-B134-169E-3EEA-89B48511B36C}"/>
          </ac:spMkLst>
        </pc:spChg>
        <pc:spChg chg="mod modVis">
          <ac:chgData name="Bullinger, Marvin" userId="5b54ce5a-dc89-476f-af33-5abd75d5b1e8" providerId="ADAL" clId="{265A6489-94A2-4E64-A25F-E64F69B0C2C1}" dt="2024-03-05T22:19:09.509" v="4254" actId="962"/>
          <ac:spMkLst>
            <pc:docMk/>
            <pc:sldMk cId="455207031" sldId="607"/>
            <ac:spMk id="51" creationId="{8370E724-9ED1-6EC9-DB93-A797418A6499}"/>
          </ac:spMkLst>
        </pc:spChg>
        <pc:spChg chg="mod modVis">
          <ac:chgData name="Bullinger, Marvin" userId="5b54ce5a-dc89-476f-af33-5abd75d5b1e8" providerId="ADAL" clId="{265A6489-94A2-4E64-A25F-E64F69B0C2C1}" dt="2024-03-05T22:19:09.516" v="4255" actId="962"/>
          <ac:spMkLst>
            <pc:docMk/>
            <pc:sldMk cId="455207031" sldId="607"/>
            <ac:spMk id="52" creationId="{7D0357C2-F0C5-F565-76F4-A85B6E0EFC04}"/>
          </ac:spMkLst>
        </pc:spChg>
        <pc:spChg chg="mod modVis">
          <ac:chgData name="Bullinger, Marvin" userId="5b54ce5a-dc89-476f-af33-5abd75d5b1e8" providerId="ADAL" clId="{265A6489-94A2-4E64-A25F-E64F69B0C2C1}" dt="2024-03-05T22:19:09.527" v="4256" actId="962"/>
          <ac:spMkLst>
            <pc:docMk/>
            <pc:sldMk cId="455207031" sldId="607"/>
            <ac:spMk id="53" creationId="{C6015287-B806-FA12-1858-4CD3B023CF1F}"/>
          </ac:spMkLst>
        </pc:spChg>
        <pc:spChg chg="mod modVis">
          <ac:chgData name="Bullinger, Marvin" userId="5b54ce5a-dc89-476f-af33-5abd75d5b1e8" providerId="ADAL" clId="{265A6489-94A2-4E64-A25F-E64F69B0C2C1}" dt="2024-03-05T22:19:09.533" v="4257" actId="962"/>
          <ac:spMkLst>
            <pc:docMk/>
            <pc:sldMk cId="455207031" sldId="607"/>
            <ac:spMk id="54" creationId="{E3C118D8-1F36-3702-7516-C2350A3C9B6E}"/>
          </ac:spMkLst>
        </pc:spChg>
        <pc:spChg chg="mod modVis">
          <ac:chgData name="Bullinger, Marvin" userId="5b54ce5a-dc89-476f-af33-5abd75d5b1e8" providerId="ADAL" clId="{265A6489-94A2-4E64-A25F-E64F69B0C2C1}" dt="2024-03-05T22:19:09.542" v="4258" actId="962"/>
          <ac:spMkLst>
            <pc:docMk/>
            <pc:sldMk cId="455207031" sldId="607"/>
            <ac:spMk id="55" creationId="{F48FF20F-CB59-7923-2E90-35EBC3A9BEA2}"/>
          </ac:spMkLst>
        </pc:spChg>
        <pc:spChg chg="mod modVis">
          <ac:chgData name="Bullinger, Marvin" userId="5b54ce5a-dc89-476f-af33-5abd75d5b1e8" providerId="ADAL" clId="{265A6489-94A2-4E64-A25F-E64F69B0C2C1}" dt="2024-03-05T22:19:09.552" v="4259" actId="962"/>
          <ac:spMkLst>
            <pc:docMk/>
            <pc:sldMk cId="455207031" sldId="607"/>
            <ac:spMk id="56" creationId="{595BD1B3-6FC5-D5FF-C2F8-EEE0F7B2DB66}"/>
          </ac:spMkLst>
        </pc:spChg>
        <pc:spChg chg="mod modVis">
          <ac:chgData name="Bullinger, Marvin" userId="5b54ce5a-dc89-476f-af33-5abd75d5b1e8" providerId="ADAL" clId="{265A6489-94A2-4E64-A25F-E64F69B0C2C1}" dt="2024-03-05T22:19:09.562" v="4260" actId="962"/>
          <ac:spMkLst>
            <pc:docMk/>
            <pc:sldMk cId="455207031" sldId="607"/>
            <ac:spMk id="57" creationId="{BB9B4F60-EB61-95CE-0709-9DB6B5DAB473}"/>
          </ac:spMkLst>
        </pc:spChg>
        <pc:spChg chg="mod modVis">
          <ac:chgData name="Bullinger, Marvin" userId="5b54ce5a-dc89-476f-af33-5abd75d5b1e8" providerId="ADAL" clId="{265A6489-94A2-4E64-A25F-E64F69B0C2C1}" dt="2024-03-05T22:19:09.571" v="4261" actId="962"/>
          <ac:spMkLst>
            <pc:docMk/>
            <pc:sldMk cId="455207031" sldId="607"/>
            <ac:spMk id="58" creationId="{6910D3AB-AF33-C54A-B26A-E9F98F7F0CF3}"/>
          </ac:spMkLst>
        </pc:spChg>
        <pc:spChg chg="mod modVis">
          <ac:chgData name="Bullinger, Marvin" userId="5b54ce5a-dc89-476f-af33-5abd75d5b1e8" providerId="ADAL" clId="{265A6489-94A2-4E64-A25F-E64F69B0C2C1}" dt="2024-03-05T22:19:09.579" v="4262" actId="962"/>
          <ac:spMkLst>
            <pc:docMk/>
            <pc:sldMk cId="455207031" sldId="607"/>
            <ac:spMk id="59" creationId="{02676C70-1FF2-C0B7-BEFC-259048B60A03}"/>
          </ac:spMkLst>
        </pc:spChg>
        <pc:spChg chg="mod modVis">
          <ac:chgData name="Bullinger, Marvin" userId="5b54ce5a-dc89-476f-af33-5abd75d5b1e8" providerId="ADAL" clId="{265A6489-94A2-4E64-A25F-E64F69B0C2C1}" dt="2024-03-05T22:19:09.586" v="4263" actId="962"/>
          <ac:spMkLst>
            <pc:docMk/>
            <pc:sldMk cId="455207031" sldId="607"/>
            <ac:spMk id="60" creationId="{6244B97C-05FD-D9FB-00A4-408AA3D1E3A4}"/>
          </ac:spMkLst>
        </pc:spChg>
        <pc:spChg chg="mod modVis">
          <ac:chgData name="Bullinger, Marvin" userId="5b54ce5a-dc89-476f-af33-5abd75d5b1e8" providerId="ADAL" clId="{265A6489-94A2-4E64-A25F-E64F69B0C2C1}" dt="2024-03-05T22:19:09.612" v="4264" actId="962"/>
          <ac:spMkLst>
            <pc:docMk/>
            <pc:sldMk cId="455207031" sldId="607"/>
            <ac:spMk id="61" creationId="{49F5A00B-14B0-AD9F-4921-B2C470880992}"/>
          </ac:spMkLst>
        </pc:spChg>
        <pc:spChg chg="mod modVis">
          <ac:chgData name="Bullinger, Marvin" userId="5b54ce5a-dc89-476f-af33-5abd75d5b1e8" providerId="ADAL" clId="{265A6489-94A2-4E64-A25F-E64F69B0C2C1}" dt="2024-03-05T22:19:09.620" v="4265" actId="962"/>
          <ac:spMkLst>
            <pc:docMk/>
            <pc:sldMk cId="455207031" sldId="607"/>
            <ac:spMk id="62" creationId="{CB167D57-94C9-88ED-37B4-2903E22FF1A9}"/>
          </ac:spMkLst>
        </pc:spChg>
        <pc:spChg chg="mod modVis">
          <ac:chgData name="Bullinger, Marvin" userId="5b54ce5a-dc89-476f-af33-5abd75d5b1e8" providerId="ADAL" clId="{265A6489-94A2-4E64-A25F-E64F69B0C2C1}" dt="2024-03-05T22:19:09.631" v="4266" actId="962"/>
          <ac:spMkLst>
            <pc:docMk/>
            <pc:sldMk cId="455207031" sldId="607"/>
            <ac:spMk id="63" creationId="{9752E9F4-A249-0461-96C6-8C8B4CA7BCA6}"/>
          </ac:spMkLst>
        </pc:spChg>
        <pc:spChg chg="mod modVis">
          <ac:chgData name="Bullinger, Marvin" userId="5b54ce5a-dc89-476f-af33-5abd75d5b1e8" providerId="ADAL" clId="{265A6489-94A2-4E64-A25F-E64F69B0C2C1}" dt="2024-03-05T22:19:09.640" v="4267" actId="962"/>
          <ac:spMkLst>
            <pc:docMk/>
            <pc:sldMk cId="455207031" sldId="607"/>
            <ac:spMk id="64" creationId="{897792CB-68ED-A991-759A-B18745986B20}"/>
          </ac:spMkLst>
        </pc:spChg>
        <pc:spChg chg="mod modVis">
          <ac:chgData name="Bullinger, Marvin" userId="5b54ce5a-dc89-476f-af33-5abd75d5b1e8" providerId="ADAL" clId="{265A6489-94A2-4E64-A25F-E64F69B0C2C1}" dt="2024-03-05T22:19:09.649" v="4268" actId="962"/>
          <ac:spMkLst>
            <pc:docMk/>
            <pc:sldMk cId="455207031" sldId="607"/>
            <ac:spMk id="65" creationId="{E808E9F6-7510-63D0-0771-20C68010669C}"/>
          </ac:spMkLst>
        </pc:spChg>
        <pc:spChg chg="mod modVis">
          <ac:chgData name="Bullinger, Marvin" userId="5b54ce5a-dc89-476f-af33-5abd75d5b1e8" providerId="ADAL" clId="{265A6489-94A2-4E64-A25F-E64F69B0C2C1}" dt="2024-03-05T22:19:09.658" v="4269" actId="962"/>
          <ac:spMkLst>
            <pc:docMk/>
            <pc:sldMk cId="455207031" sldId="607"/>
            <ac:spMk id="66" creationId="{FB97201B-0816-7736-A4CC-A305333A355B}"/>
          </ac:spMkLst>
        </pc:spChg>
        <pc:spChg chg="mod modVis">
          <ac:chgData name="Bullinger, Marvin" userId="5b54ce5a-dc89-476f-af33-5abd75d5b1e8" providerId="ADAL" clId="{265A6489-94A2-4E64-A25F-E64F69B0C2C1}" dt="2024-03-05T22:19:09.665" v="4270" actId="962"/>
          <ac:spMkLst>
            <pc:docMk/>
            <pc:sldMk cId="455207031" sldId="607"/>
            <ac:spMk id="67" creationId="{8EE9FFD6-0E69-3DED-2994-EB73C6F8DF57}"/>
          </ac:spMkLst>
        </pc:spChg>
        <pc:spChg chg="mod modVis">
          <ac:chgData name="Bullinger, Marvin" userId="5b54ce5a-dc89-476f-af33-5abd75d5b1e8" providerId="ADAL" clId="{265A6489-94A2-4E64-A25F-E64F69B0C2C1}" dt="2024-03-05T22:19:09.672" v="4271" actId="962"/>
          <ac:spMkLst>
            <pc:docMk/>
            <pc:sldMk cId="455207031" sldId="607"/>
            <ac:spMk id="68" creationId="{8B25D622-D4DA-4B85-8FEA-2B7CCAB8903D}"/>
          </ac:spMkLst>
        </pc:spChg>
        <pc:spChg chg="mod modVis">
          <ac:chgData name="Bullinger, Marvin" userId="5b54ce5a-dc89-476f-af33-5abd75d5b1e8" providerId="ADAL" clId="{265A6489-94A2-4E64-A25F-E64F69B0C2C1}" dt="2024-03-05T22:19:09.678" v="4272" actId="962"/>
          <ac:spMkLst>
            <pc:docMk/>
            <pc:sldMk cId="455207031" sldId="607"/>
            <ac:spMk id="69" creationId="{3055D6C9-69A3-5851-2A4D-D68FDDEBC8F0}"/>
          </ac:spMkLst>
        </pc:spChg>
        <pc:spChg chg="mod modVis">
          <ac:chgData name="Bullinger, Marvin" userId="5b54ce5a-dc89-476f-af33-5abd75d5b1e8" providerId="ADAL" clId="{265A6489-94A2-4E64-A25F-E64F69B0C2C1}" dt="2024-03-05T22:19:09.684" v="4273" actId="962"/>
          <ac:spMkLst>
            <pc:docMk/>
            <pc:sldMk cId="455207031" sldId="607"/>
            <ac:spMk id="70" creationId="{4CA46E51-107F-685D-1FA2-E577D1628632}"/>
          </ac:spMkLst>
        </pc:spChg>
        <pc:spChg chg="mod modVis">
          <ac:chgData name="Bullinger, Marvin" userId="5b54ce5a-dc89-476f-af33-5abd75d5b1e8" providerId="ADAL" clId="{265A6489-94A2-4E64-A25F-E64F69B0C2C1}" dt="2024-03-05T22:19:09.692" v="4274" actId="962"/>
          <ac:spMkLst>
            <pc:docMk/>
            <pc:sldMk cId="455207031" sldId="607"/>
            <ac:spMk id="71" creationId="{1C425274-1FAC-F8B3-056B-14E68089C3EC}"/>
          </ac:spMkLst>
        </pc:spChg>
        <pc:spChg chg="mod modVis">
          <ac:chgData name="Bullinger, Marvin" userId="5b54ce5a-dc89-476f-af33-5abd75d5b1e8" providerId="ADAL" clId="{265A6489-94A2-4E64-A25F-E64F69B0C2C1}" dt="2024-03-05T22:19:09.700" v="4275" actId="962"/>
          <ac:spMkLst>
            <pc:docMk/>
            <pc:sldMk cId="455207031" sldId="607"/>
            <ac:spMk id="72" creationId="{D4B32A43-D756-1F1A-86CF-E8C993A9CBB4}"/>
          </ac:spMkLst>
        </pc:spChg>
        <pc:spChg chg="mod modVis">
          <ac:chgData name="Bullinger, Marvin" userId="5b54ce5a-dc89-476f-af33-5abd75d5b1e8" providerId="ADAL" clId="{265A6489-94A2-4E64-A25F-E64F69B0C2C1}" dt="2024-03-05T22:19:09.710" v="4276" actId="962"/>
          <ac:spMkLst>
            <pc:docMk/>
            <pc:sldMk cId="455207031" sldId="607"/>
            <ac:spMk id="73" creationId="{558E9D05-B271-D1AF-5BB5-D8021F6A1470}"/>
          </ac:spMkLst>
        </pc:spChg>
        <pc:spChg chg="mod modVis">
          <ac:chgData name="Bullinger, Marvin" userId="5b54ce5a-dc89-476f-af33-5abd75d5b1e8" providerId="ADAL" clId="{265A6489-94A2-4E64-A25F-E64F69B0C2C1}" dt="2024-03-05T22:19:09.718" v="4277" actId="962"/>
          <ac:spMkLst>
            <pc:docMk/>
            <pc:sldMk cId="455207031" sldId="607"/>
            <ac:spMk id="74" creationId="{9EA45AFA-911E-EDBD-8103-06D6406CF91F}"/>
          </ac:spMkLst>
        </pc:spChg>
        <pc:spChg chg="mod modVis">
          <ac:chgData name="Bullinger, Marvin" userId="5b54ce5a-dc89-476f-af33-5abd75d5b1e8" providerId="ADAL" clId="{265A6489-94A2-4E64-A25F-E64F69B0C2C1}" dt="2024-03-05T22:19:09.725" v="4278" actId="962"/>
          <ac:spMkLst>
            <pc:docMk/>
            <pc:sldMk cId="455207031" sldId="607"/>
            <ac:spMk id="75" creationId="{17E54B8E-8E2F-0E16-6AC9-5369FE58FBCE}"/>
          </ac:spMkLst>
        </pc:spChg>
        <pc:spChg chg="mod modVis">
          <ac:chgData name="Bullinger, Marvin" userId="5b54ce5a-dc89-476f-af33-5abd75d5b1e8" providerId="ADAL" clId="{265A6489-94A2-4E64-A25F-E64F69B0C2C1}" dt="2024-03-05T22:19:09.731" v="4279" actId="962"/>
          <ac:spMkLst>
            <pc:docMk/>
            <pc:sldMk cId="455207031" sldId="607"/>
            <ac:spMk id="76" creationId="{793F1E22-5B69-07F6-0A82-0C3C658F92A0}"/>
          </ac:spMkLst>
        </pc:spChg>
        <pc:spChg chg="mod modVis">
          <ac:chgData name="Bullinger, Marvin" userId="5b54ce5a-dc89-476f-af33-5abd75d5b1e8" providerId="ADAL" clId="{265A6489-94A2-4E64-A25F-E64F69B0C2C1}" dt="2024-03-05T22:19:09.738" v="4280" actId="962"/>
          <ac:spMkLst>
            <pc:docMk/>
            <pc:sldMk cId="455207031" sldId="607"/>
            <ac:spMk id="77" creationId="{D5E471D7-16C7-D1C0-D049-5A274F80947E}"/>
          </ac:spMkLst>
        </pc:spChg>
        <pc:spChg chg="mod modVis">
          <ac:chgData name="Bullinger, Marvin" userId="5b54ce5a-dc89-476f-af33-5abd75d5b1e8" providerId="ADAL" clId="{265A6489-94A2-4E64-A25F-E64F69B0C2C1}" dt="2024-03-05T22:19:09.744" v="4281" actId="962"/>
          <ac:spMkLst>
            <pc:docMk/>
            <pc:sldMk cId="455207031" sldId="607"/>
            <ac:spMk id="78" creationId="{D3EEABE1-24E5-312B-729E-15C260425746}"/>
          </ac:spMkLst>
        </pc:spChg>
        <pc:spChg chg="mod modVis">
          <ac:chgData name="Bullinger, Marvin" userId="5b54ce5a-dc89-476f-af33-5abd75d5b1e8" providerId="ADAL" clId="{265A6489-94A2-4E64-A25F-E64F69B0C2C1}" dt="2024-03-05T22:19:09.751" v="4282" actId="962"/>
          <ac:spMkLst>
            <pc:docMk/>
            <pc:sldMk cId="455207031" sldId="607"/>
            <ac:spMk id="79" creationId="{A04C90E6-F7F1-5CFC-77B9-56AD0094F328}"/>
          </ac:spMkLst>
        </pc:spChg>
        <pc:spChg chg="mod modVis">
          <ac:chgData name="Bullinger, Marvin" userId="5b54ce5a-dc89-476f-af33-5abd75d5b1e8" providerId="ADAL" clId="{265A6489-94A2-4E64-A25F-E64F69B0C2C1}" dt="2024-03-05T22:19:09.758" v="4283" actId="962"/>
          <ac:spMkLst>
            <pc:docMk/>
            <pc:sldMk cId="455207031" sldId="607"/>
            <ac:spMk id="80" creationId="{6F6A33CB-707E-9CCD-EBB8-0B1DAC320129}"/>
          </ac:spMkLst>
        </pc:spChg>
        <pc:spChg chg="mod modVis">
          <ac:chgData name="Bullinger, Marvin" userId="5b54ce5a-dc89-476f-af33-5abd75d5b1e8" providerId="ADAL" clId="{265A6489-94A2-4E64-A25F-E64F69B0C2C1}" dt="2024-03-05T22:19:09.767" v="4284" actId="962"/>
          <ac:spMkLst>
            <pc:docMk/>
            <pc:sldMk cId="455207031" sldId="607"/>
            <ac:spMk id="81" creationId="{FBE2001A-0CB5-6C1E-CD19-38C7D381F7C0}"/>
          </ac:spMkLst>
        </pc:spChg>
        <pc:spChg chg="mod modVis">
          <ac:chgData name="Bullinger, Marvin" userId="5b54ce5a-dc89-476f-af33-5abd75d5b1e8" providerId="ADAL" clId="{265A6489-94A2-4E64-A25F-E64F69B0C2C1}" dt="2024-03-05T22:19:09.775" v="4285" actId="962"/>
          <ac:spMkLst>
            <pc:docMk/>
            <pc:sldMk cId="455207031" sldId="607"/>
            <ac:spMk id="82" creationId="{FB7019CB-124A-0B57-0E9B-EBDE6481C24F}"/>
          </ac:spMkLst>
        </pc:spChg>
        <pc:spChg chg="mod modVis">
          <ac:chgData name="Bullinger, Marvin" userId="5b54ce5a-dc89-476f-af33-5abd75d5b1e8" providerId="ADAL" clId="{265A6489-94A2-4E64-A25F-E64F69B0C2C1}" dt="2024-03-05T22:19:09.783" v="4286" actId="962"/>
          <ac:spMkLst>
            <pc:docMk/>
            <pc:sldMk cId="455207031" sldId="607"/>
            <ac:spMk id="83" creationId="{DCCC887E-2DEB-F311-2196-DD93A216B7C4}"/>
          </ac:spMkLst>
        </pc:spChg>
        <pc:spChg chg="mod modVis">
          <ac:chgData name="Bullinger, Marvin" userId="5b54ce5a-dc89-476f-af33-5abd75d5b1e8" providerId="ADAL" clId="{265A6489-94A2-4E64-A25F-E64F69B0C2C1}" dt="2024-03-05T22:19:09.789" v="4287" actId="962"/>
          <ac:spMkLst>
            <pc:docMk/>
            <pc:sldMk cId="455207031" sldId="607"/>
            <ac:spMk id="84" creationId="{E3E7C14A-48E7-DB4B-3CEC-5F569B54808B}"/>
          </ac:spMkLst>
        </pc:spChg>
        <pc:spChg chg="mod modVis">
          <ac:chgData name="Bullinger, Marvin" userId="5b54ce5a-dc89-476f-af33-5abd75d5b1e8" providerId="ADAL" clId="{265A6489-94A2-4E64-A25F-E64F69B0C2C1}" dt="2024-03-05T22:19:09.795" v="4288" actId="962"/>
          <ac:spMkLst>
            <pc:docMk/>
            <pc:sldMk cId="455207031" sldId="607"/>
            <ac:spMk id="85" creationId="{43DF15CE-58C1-D3A2-B44E-458D534E2138}"/>
          </ac:spMkLst>
        </pc:spChg>
        <pc:spChg chg="mod modVis">
          <ac:chgData name="Bullinger, Marvin" userId="5b54ce5a-dc89-476f-af33-5abd75d5b1e8" providerId="ADAL" clId="{265A6489-94A2-4E64-A25F-E64F69B0C2C1}" dt="2024-03-05T22:19:09.801" v="4289" actId="962"/>
          <ac:spMkLst>
            <pc:docMk/>
            <pc:sldMk cId="455207031" sldId="607"/>
            <ac:spMk id="86" creationId="{BA0C5C40-D4A9-94AF-D92B-26AFAD7311FD}"/>
          </ac:spMkLst>
        </pc:spChg>
        <pc:spChg chg="mod modVis">
          <ac:chgData name="Bullinger, Marvin" userId="5b54ce5a-dc89-476f-af33-5abd75d5b1e8" providerId="ADAL" clId="{265A6489-94A2-4E64-A25F-E64F69B0C2C1}" dt="2024-03-05T22:19:09.809" v="4290" actId="962"/>
          <ac:spMkLst>
            <pc:docMk/>
            <pc:sldMk cId="455207031" sldId="607"/>
            <ac:spMk id="87" creationId="{1B34F8F7-3402-D08C-8FB4-C1ADB20C2D96}"/>
          </ac:spMkLst>
        </pc:spChg>
        <pc:spChg chg="mod modVis">
          <ac:chgData name="Bullinger, Marvin" userId="5b54ce5a-dc89-476f-af33-5abd75d5b1e8" providerId="ADAL" clId="{265A6489-94A2-4E64-A25F-E64F69B0C2C1}" dt="2024-03-05T22:19:09.816" v="4291" actId="962"/>
          <ac:spMkLst>
            <pc:docMk/>
            <pc:sldMk cId="455207031" sldId="607"/>
            <ac:spMk id="88" creationId="{FCE5AD3A-066F-D666-FC55-983464AFDA4D}"/>
          </ac:spMkLst>
        </pc:spChg>
        <pc:spChg chg="mod modVis">
          <ac:chgData name="Bullinger, Marvin" userId="5b54ce5a-dc89-476f-af33-5abd75d5b1e8" providerId="ADAL" clId="{265A6489-94A2-4E64-A25F-E64F69B0C2C1}" dt="2024-03-05T22:19:09.824" v="4292" actId="962"/>
          <ac:spMkLst>
            <pc:docMk/>
            <pc:sldMk cId="455207031" sldId="607"/>
            <ac:spMk id="89" creationId="{BD7496F7-3431-ADCE-E0D0-06DC1F43DC04}"/>
          </ac:spMkLst>
        </pc:spChg>
        <pc:spChg chg="mod modVis">
          <ac:chgData name="Bullinger, Marvin" userId="5b54ce5a-dc89-476f-af33-5abd75d5b1e8" providerId="ADAL" clId="{265A6489-94A2-4E64-A25F-E64F69B0C2C1}" dt="2024-03-05T22:19:09.831" v="4293" actId="962"/>
          <ac:spMkLst>
            <pc:docMk/>
            <pc:sldMk cId="455207031" sldId="607"/>
            <ac:spMk id="90" creationId="{4968782D-94AF-E2F3-FA0A-B0DF3A2BAFF0}"/>
          </ac:spMkLst>
        </pc:spChg>
        <pc:spChg chg="mod modVis">
          <ac:chgData name="Bullinger, Marvin" userId="5b54ce5a-dc89-476f-af33-5abd75d5b1e8" providerId="ADAL" clId="{265A6489-94A2-4E64-A25F-E64F69B0C2C1}" dt="2024-03-05T22:19:09.838" v="4294" actId="962"/>
          <ac:spMkLst>
            <pc:docMk/>
            <pc:sldMk cId="455207031" sldId="607"/>
            <ac:spMk id="91" creationId="{408702BA-DF12-451B-0EAD-92F95234E813}"/>
          </ac:spMkLst>
        </pc:spChg>
        <pc:spChg chg="mod modVis">
          <ac:chgData name="Bullinger, Marvin" userId="5b54ce5a-dc89-476f-af33-5abd75d5b1e8" providerId="ADAL" clId="{265A6489-94A2-4E64-A25F-E64F69B0C2C1}" dt="2024-03-05T22:19:09.844" v="4295" actId="962"/>
          <ac:spMkLst>
            <pc:docMk/>
            <pc:sldMk cId="455207031" sldId="607"/>
            <ac:spMk id="92" creationId="{89F359C5-E232-C616-2588-C8FDC52A19E0}"/>
          </ac:spMkLst>
        </pc:spChg>
        <pc:spChg chg="mod modVis">
          <ac:chgData name="Bullinger, Marvin" userId="5b54ce5a-dc89-476f-af33-5abd75d5b1e8" providerId="ADAL" clId="{265A6489-94A2-4E64-A25F-E64F69B0C2C1}" dt="2024-03-05T22:19:09.850" v="4296" actId="962"/>
          <ac:spMkLst>
            <pc:docMk/>
            <pc:sldMk cId="455207031" sldId="607"/>
            <ac:spMk id="93" creationId="{D0EFD87D-3337-0F9D-0FF0-676FDA0DEF7A}"/>
          </ac:spMkLst>
        </pc:spChg>
        <pc:cxnChg chg="del">
          <ac:chgData name="Bullinger, Marvin" userId="5b54ce5a-dc89-476f-af33-5abd75d5b1e8" providerId="ADAL" clId="{265A6489-94A2-4E64-A25F-E64F69B0C2C1}" dt="2024-03-05T22:19:11.373" v="5010" actId="478"/>
          <ac:cxnSpMkLst>
            <pc:docMk/>
            <pc:sldMk cId="455207031" sldId="607"/>
            <ac:cxnSpMk id="43" creationId="{E9851CBD-B962-93B3-FB6B-E704960D340B}"/>
          </ac:cxnSpMkLst>
        </pc:cxnChg>
      </pc:sldChg>
      <pc:sldChg chg="new del">
        <pc:chgData name="Bullinger, Marvin" userId="5b54ce5a-dc89-476f-af33-5abd75d5b1e8" providerId="ADAL" clId="{265A6489-94A2-4E64-A25F-E64F69B0C2C1}" dt="2024-03-05T21:20:29.342" v="3174" actId="47"/>
        <pc:sldMkLst>
          <pc:docMk/>
          <pc:sldMk cId="2359893432" sldId="607"/>
        </pc:sldMkLst>
      </pc:sldChg>
      <pc:sldChg chg="addSp delSp modSp add del mod">
        <pc:chgData name="Bullinger, Marvin" userId="5b54ce5a-dc89-476f-af33-5abd75d5b1e8" providerId="ADAL" clId="{265A6489-94A2-4E64-A25F-E64F69B0C2C1}" dt="2024-03-05T21:25:12.525" v="3488" actId="47"/>
        <pc:sldMkLst>
          <pc:docMk/>
          <pc:sldMk cId="2455067889" sldId="607"/>
        </pc:sldMkLst>
        <pc:spChg chg="add del mod">
          <ac:chgData name="Bullinger, Marvin" userId="5b54ce5a-dc89-476f-af33-5abd75d5b1e8" providerId="ADAL" clId="{265A6489-94A2-4E64-A25F-E64F69B0C2C1}" dt="2024-03-05T21:25:10.815" v="3487" actId="478"/>
          <ac:spMkLst>
            <pc:docMk/>
            <pc:sldMk cId="2455067889" sldId="607"/>
            <ac:spMk id="3" creationId="{FA3C921B-AC5A-8069-45CA-07FCC7C7349C}"/>
          </ac:spMkLst>
        </pc:spChg>
        <pc:spChg chg="del">
          <ac:chgData name="Bullinger, Marvin" userId="5b54ce5a-dc89-476f-af33-5abd75d5b1e8" providerId="ADAL" clId="{265A6489-94A2-4E64-A25F-E64F69B0C2C1}" dt="2024-03-05T21:25:07.296" v="3486" actId="478"/>
          <ac:spMkLst>
            <pc:docMk/>
            <pc:sldMk cId="2455067889" sldId="607"/>
            <ac:spMk id="4" creationId="{A3AD3FEB-B147-77C5-EDC9-009F8CB68021}"/>
          </ac:spMkLst>
        </pc:spChg>
      </pc:sldChg>
      <pc:sldChg chg="del">
        <pc:chgData name="Bullinger, Marvin" userId="5b54ce5a-dc89-476f-af33-5abd75d5b1e8" providerId="ADAL" clId="{265A6489-94A2-4E64-A25F-E64F69B0C2C1}" dt="2024-03-05T22:19:11.371" v="5008" actId="2696"/>
        <pc:sldMkLst>
          <pc:docMk/>
          <pc:sldMk cId="4228673322" sldId="608"/>
        </pc:sldMkLst>
      </pc:sldChg>
      <pc:sldChg chg="del">
        <pc:chgData name="Bullinger, Marvin" userId="5b54ce5a-dc89-476f-af33-5abd75d5b1e8" providerId="ADAL" clId="{265A6489-94A2-4E64-A25F-E64F69B0C2C1}" dt="2024-03-05T22:19:11.366" v="5007" actId="2696"/>
        <pc:sldMkLst>
          <pc:docMk/>
          <pc:sldMk cId="165532199" sldId="609"/>
        </pc:sldMkLst>
      </pc:sldChg>
      <pc:sldChg chg="delSp modSp mod replTag">
        <pc:chgData name="Bullinger, Marvin" userId="5b54ce5a-dc89-476f-af33-5abd75d5b1e8" providerId="ADAL" clId="{265A6489-94A2-4E64-A25F-E64F69B0C2C1}" dt="2024-03-06T13:53:46.785" v="5137" actId="20577"/>
        <pc:sldMkLst>
          <pc:docMk/>
          <pc:sldMk cId="1824871312" sldId="610"/>
        </pc:sldMkLst>
        <pc:spChg chg="del">
          <ac:chgData name="Bullinger, Marvin" userId="5b54ce5a-dc89-476f-af33-5abd75d5b1e8" providerId="ADAL" clId="{265A6489-94A2-4E64-A25F-E64F69B0C2C1}" dt="2024-03-05T22:19:10.130" v="4422" actId="478"/>
          <ac:spMkLst>
            <pc:docMk/>
            <pc:sldMk cId="1824871312" sldId="610"/>
            <ac:spMk id="2" creationId="{62CD4AD7-EE10-7DDA-F98E-4D1D65C9E89B}"/>
          </ac:spMkLst>
        </pc:spChg>
        <pc:spChg chg="del">
          <ac:chgData name="Bullinger, Marvin" userId="5b54ce5a-dc89-476f-af33-5abd75d5b1e8" providerId="ADAL" clId="{265A6489-94A2-4E64-A25F-E64F69B0C2C1}" dt="2024-03-05T22:19:10.129" v="4421" actId="478"/>
          <ac:spMkLst>
            <pc:docMk/>
            <pc:sldMk cId="1824871312" sldId="610"/>
            <ac:spMk id="3" creationId="{548593CB-B7D8-B4BD-454B-387D5D150D1B}"/>
          </ac:spMkLst>
        </pc:spChg>
        <pc:spChg chg="del">
          <ac:chgData name="Bullinger, Marvin" userId="5b54ce5a-dc89-476f-af33-5abd75d5b1e8" providerId="ADAL" clId="{265A6489-94A2-4E64-A25F-E64F69B0C2C1}" dt="2024-03-05T22:19:10.128" v="4420" actId="478"/>
          <ac:spMkLst>
            <pc:docMk/>
            <pc:sldMk cId="1824871312" sldId="610"/>
            <ac:spMk id="4" creationId="{49F88EE1-9194-DFDD-A001-6AA8A8E3A3DB}"/>
          </ac:spMkLst>
        </pc:spChg>
        <pc:spChg chg="del">
          <ac:chgData name="Bullinger, Marvin" userId="5b54ce5a-dc89-476f-af33-5abd75d5b1e8" providerId="ADAL" clId="{265A6489-94A2-4E64-A25F-E64F69B0C2C1}" dt="2024-03-05T22:19:10.128" v="4419" actId="478"/>
          <ac:spMkLst>
            <pc:docMk/>
            <pc:sldMk cId="1824871312" sldId="610"/>
            <ac:spMk id="5" creationId="{323B2077-9847-B8F4-926B-C2CDF5DEFF45}"/>
          </ac:spMkLst>
        </pc:spChg>
        <pc:spChg chg="del">
          <ac:chgData name="Bullinger, Marvin" userId="5b54ce5a-dc89-476f-af33-5abd75d5b1e8" providerId="ADAL" clId="{265A6489-94A2-4E64-A25F-E64F69B0C2C1}" dt="2024-03-05T22:19:10.127" v="4418" actId="478"/>
          <ac:spMkLst>
            <pc:docMk/>
            <pc:sldMk cId="1824871312" sldId="610"/>
            <ac:spMk id="6" creationId="{8DC96C34-C6F8-C8BD-07F9-56A7061B6727}"/>
          </ac:spMkLst>
        </pc:spChg>
        <pc:spChg chg="del">
          <ac:chgData name="Bullinger, Marvin" userId="5b54ce5a-dc89-476f-af33-5abd75d5b1e8" providerId="ADAL" clId="{265A6489-94A2-4E64-A25F-E64F69B0C2C1}" dt="2024-03-05T22:19:10.126" v="4417" actId="478"/>
          <ac:spMkLst>
            <pc:docMk/>
            <pc:sldMk cId="1824871312" sldId="610"/>
            <ac:spMk id="7" creationId="{DCDBF392-2C72-C133-456E-7BC08EB75E5E}"/>
          </ac:spMkLst>
        </pc:spChg>
        <pc:spChg chg="del">
          <ac:chgData name="Bullinger, Marvin" userId="5b54ce5a-dc89-476f-af33-5abd75d5b1e8" providerId="ADAL" clId="{265A6489-94A2-4E64-A25F-E64F69B0C2C1}" dt="2024-03-05T22:19:10.125" v="4416" actId="478"/>
          <ac:spMkLst>
            <pc:docMk/>
            <pc:sldMk cId="1824871312" sldId="610"/>
            <ac:spMk id="8" creationId="{0E689537-485C-1C58-CD5F-9D73F6F3C5EA}"/>
          </ac:spMkLst>
        </pc:spChg>
        <pc:spChg chg="del">
          <ac:chgData name="Bullinger, Marvin" userId="5b54ce5a-dc89-476f-af33-5abd75d5b1e8" providerId="ADAL" clId="{265A6489-94A2-4E64-A25F-E64F69B0C2C1}" dt="2024-03-05T22:19:10.125" v="4415" actId="478"/>
          <ac:spMkLst>
            <pc:docMk/>
            <pc:sldMk cId="1824871312" sldId="610"/>
            <ac:spMk id="9" creationId="{ECF37846-AA5D-1D41-6ADE-01C08C8640E0}"/>
          </ac:spMkLst>
        </pc:spChg>
        <pc:spChg chg="del">
          <ac:chgData name="Bullinger, Marvin" userId="5b54ce5a-dc89-476f-af33-5abd75d5b1e8" providerId="ADAL" clId="{265A6489-94A2-4E64-A25F-E64F69B0C2C1}" dt="2024-03-05T22:19:10.124" v="4414" actId="478"/>
          <ac:spMkLst>
            <pc:docMk/>
            <pc:sldMk cId="1824871312" sldId="610"/>
            <ac:spMk id="10" creationId="{7FDF22D3-A358-9952-C59E-510FC863414C}"/>
          </ac:spMkLst>
        </pc:spChg>
        <pc:spChg chg="del">
          <ac:chgData name="Bullinger, Marvin" userId="5b54ce5a-dc89-476f-af33-5abd75d5b1e8" providerId="ADAL" clId="{265A6489-94A2-4E64-A25F-E64F69B0C2C1}" dt="2024-03-05T22:19:10.123" v="4413" actId="478"/>
          <ac:spMkLst>
            <pc:docMk/>
            <pc:sldMk cId="1824871312" sldId="610"/>
            <ac:spMk id="11" creationId="{324A8868-79DC-729A-5CE9-7131527E6A9A}"/>
          </ac:spMkLst>
        </pc:spChg>
        <pc:spChg chg="del">
          <ac:chgData name="Bullinger, Marvin" userId="5b54ce5a-dc89-476f-af33-5abd75d5b1e8" providerId="ADAL" clId="{265A6489-94A2-4E64-A25F-E64F69B0C2C1}" dt="2024-03-05T22:19:10.123" v="4412" actId="478"/>
          <ac:spMkLst>
            <pc:docMk/>
            <pc:sldMk cId="1824871312" sldId="610"/>
            <ac:spMk id="12" creationId="{3B67A88F-FCAE-4F84-F988-ADD2A4AB54A7}"/>
          </ac:spMkLst>
        </pc:spChg>
        <pc:spChg chg="del">
          <ac:chgData name="Bullinger, Marvin" userId="5b54ce5a-dc89-476f-af33-5abd75d5b1e8" providerId="ADAL" clId="{265A6489-94A2-4E64-A25F-E64F69B0C2C1}" dt="2024-03-05T22:19:10.122" v="4411" actId="478"/>
          <ac:spMkLst>
            <pc:docMk/>
            <pc:sldMk cId="1824871312" sldId="610"/>
            <ac:spMk id="13" creationId="{1FAF053A-BDF5-C1C7-31AF-73EE9125C0FC}"/>
          </ac:spMkLst>
        </pc:spChg>
        <pc:spChg chg="del">
          <ac:chgData name="Bullinger, Marvin" userId="5b54ce5a-dc89-476f-af33-5abd75d5b1e8" providerId="ADAL" clId="{265A6489-94A2-4E64-A25F-E64F69B0C2C1}" dt="2024-03-05T22:19:10.121" v="4410" actId="478"/>
          <ac:spMkLst>
            <pc:docMk/>
            <pc:sldMk cId="1824871312" sldId="610"/>
            <ac:spMk id="14" creationId="{98443807-1710-C82B-1D5D-698FB9CD3F69}"/>
          </ac:spMkLst>
        </pc:spChg>
        <pc:spChg chg="del">
          <ac:chgData name="Bullinger, Marvin" userId="5b54ce5a-dc89-476f-af33-5abd75d5b1e8" providerId="ADAL" clId="{265A6489-94A2-4E64-A25F-E64F69B0C2C1}" dt="2024-03-05T22:19:10.120" v="4409" actId="478"/>
          <ac:spMkLst>
            <pc:docMk/>
            <pc:sldMk cId="1824871312" sldId="610"/>
            <ac:spMk id="15" creationId="{1272E84D-9D39-C463-D3A2-388BEE4ADD22}"/>
          </ac:spMkLst>
        </pc:spChg>
        <pc:spChg chg="del">
          <ac:chgData name="Bullinger, Marvin" userId="5b54ce5a-dc89-476f-af33-5abd75d5b1e8" providerId="ADAL" clId="{265A6489-94A2-4E64-A25F-E64F69B0C2C1}" dt="2024-03-05T22:19:10.120" v="4408" actId="478"/>
          <ac:spMkLst>
            <pc:docMk/>
            <pc:sldMk cId="1824871312" sldId="610"/>
            <ac:spMk id="16" creationId="{C18A595A-7B89-CB7A-CE52-489CF19DA681}"/>
          </ac:spMkLst>
        </pc:spChg>
        <pc:spChg chg="mod ord replST">
          <ac:chgData name="Bullinger, Marvin" userId="5b54ce5a-dc89-476f-af33-5abd75d5b1e8" providerId="ADAL" clId="{265A6489-94A2-4E64-A25F-E64F69B0C2C1}" dt="2024-03-05T22:19:10.772" v="4749"/>
          <ac:spMkLst>
            <pc:docMk/>
            <pc:sldMk cId="1824871312" sldId="610"/>
            <ac:spMk id="17" creationId="{D02C923E-6AF3-2A6F-EEC7-A5C484822B21}"/>
          </ac:spMkLst>
        </pc:spChg>
        <pc:spChg chg="del">
          <ac:chgData name="Bullinger, Marvin" userId="5b54ce5a-dc89-476f-af33-5abd75d5b1e8" providerId="ADAL" clId="{265A6489-94A2-4E64-A25F-E64F69B0C2C1}" dt="2024-03-05T22:19:10.119" v="4407" actId="478"/>
          <ac:spMkLst>
            <pc:docMk/>
            <pc:sldMk cId="1824871312" sldId="610"/>
            <ac:spMk id="18" creationId="{1214DE60-FB44-243A-B386-6BAE4D3704A3}"/>
          </ac:spMkLst>
        </pc:spChg>
        <pc:spChg chg="del">
          <ac:chgData name="Bullinger, Marvin" userId="5b54ce5a-dc89-476f-af33-5abd75d5b1e8" providerId="ADAL" clId="{265A6489-94A2-4E64-A25F-E64F69B0C2C1}" dt="2024-03-05T22:19:10.119" v="4406" actId="478"/>
          <ac:spMkLst>
            <pc:docMk/>
            <pc:sldMk cId="1824871312" sldId="610"/>
            <ac:spMk id="19" creationId="{483F5D75-5782-EE63-1A5D-222CB6120F10}"/>
          </ac:spMkLst>
        </pc:spChg>
        <pc:spChg chg="del">
          <ac:chgData name="Bullinger, Marvin" userId="5b54ce5a-dc89-476f-af33-5abd75d5b1e8" providerId="ADAL" clId="{265A6489-94A2-4E64-A25F-E64F69B0C2C1}" dt="2024-03-05T22:19:10.118" v="4405" actId="478"/>
          <ac:spMkLst>
            <pc:docMk/>
            <pc:sldMk cId="1824871312" sldId="610"/>
            <ac:spMk id="20" creationId="{9F915A95-0B8B-155C-3485-E9132346C985}"/>
          </ac:spMkLst>
        </pc:spChg>
        <pc:spChg chg="del">
          <ac:chgData name="Bullinger, Marvin" userId="5b54ce5a-dc89-476f-af33-5abd75d5b1e8" providerId="ADAL" clId="{265A6489-94A2-4E64-A25F-E64F69B0C2C1}" dt="2024-03-05T22:19:10.117" v="4404" actId="478"/>
          <ac:spMkLst>
            <pc:docMk/>
            <pc:sldMk cId="1824871312" sldId="610"/>
            <ac:spMk id="21" creationId="{360E630A-A03A-8FBB-2EEC-BC9533B79913}"/>
          </ac:spMkLst>
        </pc:spChg>
        <pc:spChg chg="del">
          <ac:chgData name="Bullinger, Marvin" userId="5b54ce5a-dc89-476f-af33-5abd75d5b1e8" providerId="ADAL" clId="{265A6489-94A2-4E64-A25F-E64F69B0C2C1}" dt="2024-03-05T22:19:10.117" v="4403" actId="478"/>
          <ac:spMkLst>
            <pc:docMk/>
            <pc:sldMk cId="1824871312" sldId="610"/>
            <ac:spMk id="22" creationId="{AB3836C9-64EB-C313-8703-362BFD12B81A}"/>
          </ac:spMkLst>
        </pc:spChg>
        <pc:spChg chg="del">
          <ac:chgData name="Bullinger, Marvin" userId="5b54ce5a-dc89-476f-af33-5abd75d5b1e8" providerId="ADAL" clId="{265A6489-94A2-4E64-A25F-E64F69B0C2C1}" dt="2024-03-05T22:19:10.116" v="4402" actId="478"/>
          <ac:spMkLst>
            <pc:docMk/>
            <pc:sldMk cId="1824871312" sldId="610"/>
            <ac:spMk id="23" creationId="{52988CEF-6FB3-95AD-5B40-19437434296B}"/>
          </ac:spMkLst>
        </pc:spChg>
        <pc:spChg chg="del">
          <ac:chgData name="Bullinger, Marvin" userId="5b54ce5a-dc89-476f-af33-5abd75d5b1e8" providerId="ADAL" clId="{265A6489-94A2-4E64-A25F-E64F69B0C2C1}" dt="2024-03-05T22:19:10.115" v="4401" actId="478"/>
          <ac:spMkLst>
            <pc:docMk/>
            <pc:sldMk cId="1824871312" sldId="610"/>
            <ac:spMk id="24" creationId="{60A2DABF-78F3-A590-B7DA-8DF5959DBF54}"/>
          </ac:spMkLst>
        </pc:spChg>
        <pc:spChg chg="del">
          <ac:chgData name="Bullinger, Marvin" userId="5b54ce5a-dc89-476f-af33-5abd75d5b1e8" providerId="ADAL" clId="{265A6489-94A2-4E64-A25F-E64F69B0C2C1}" dt="2024-03-05T22:19:10.115" v="4400" actId="478"/>
          <ac:spMkLst>
            <pc:docMk/>
            <pc:sldMk cId="1824871312" sldId="610"/>
            <ac:spMk id="25" creationId="{30741902-5981-527D-4EB0-A0B28EE150DC}"/>
          </ac:spMkLst>
        </pc:spChg>
        <pc:spChg chg="del">
          <ac:chgData name="Bullinger, Marvin" userId="5b54ce5a-dc89-476f-af33-5abd75d5b1e8" providerId="ADAL" clId="{265A6489-94A2-4E64-A25F-E64F69B0C2C1}" dt="2024-03-05T22:19:10.114" v="4399" actId="478"/>
          <ac:spMkLst>
            <pc:docMk/>
            <pc:sldMk cId="1824871312" sldId="610"/>
            <ac:spMk id="28" creationId="{2CA26312-FBBD-49FD-8912-39553475E1CA}"/>
          </ac:spMkLst>
        </pc:spChg>
        <pc:spChg chg="del">
          <ac:chgData name="Bullinger, Marvin" userId="5b54ce5a-dc89-476f-af33-5abd75d5b1e8" providerId="ADAL" clId="{265A6489-94A2-4E64-A25F-E64F69B0C2C1}" dt="2024-03-05T22:19:10.113" v="4398" actId="478"/>
          <ac:spMkLst>
            <pc:docMk/>
            <pc:sldMk cId="1824871312" sldId="610"/>
            <ac:spMk id="29" creationId="{CCB8DF09-9137-0061-C03B-8984C49AC82B}"/>
          </ac:spMkLst>
        </pc:spChg>
        <pc:spChg chg="del">
          <ac:chgData name="Bullinger, Marvin" userId="5b54ce5a-dc89-476f-af33-5abd75d5b1e8" providerId="ADAL" clId="{265A6489-94A2-4E64-A25F-E64F69B0C2C1}" dt="2024-03-05T22:19:10.113" v="4397" actId="478"/>
          <ac:spMkLst>
            <pc:docMk/>
            <pc:sldMk cId="1824871312" sldId="610"/>
            <ac:spMk id="30" creationId="{8D784006-31AA-A3BC-91CC-2E8493CD651B}"/>
          </ac:spMkLst>
        </pc:spChg>
        <pc:spChg chg="del">
          <ac:chgData name="Bullinger, Marvin" userId="5b54ce5a-dc89-476f-af33-5abd75d5b1e8" providerId="ADAL" clId="{265A6489-94A2-4E64-A25F-E64F69B0C2C1}" dt="2024-03-05T22:19:10.112" v="4396" actId="478"/>
          <ac:spMkLst>
            <pc:docMk/>
            <pc:sldMk cId="1824871312" sldId="610"/>
            <ac:spMk id="31" creationId="{A0A7EB8C-E96C-5F1D-D6B2-1F2E75FC04F0}"/>
          </ac:spMkLst>
        </pc:spChg>
        <pc:spChg chg="del">
          <ac:chgData name="Bullinger, Marvin" userId="5b54ce5a-dc89-476f-af33-5abd75d5b1e8" providerId="ADAL" clId="{265A6489-94A2-4E64-A25F-E64F69B0C2C1}" dt="2024-03-05T22:19:10.112" v="4395" actId="478"/>
          <ac:spMkLst>
            <pc:docMk/>
            <pc:sldMk cId="1824871312" sldId="610"/>
            <ac:spMk id="32" creationId="{2F41DB6E-ADD2-5551-4333-6DFCE9175727}"/>
          </ac:spMkLst>
        </pc:spChg>
        <pc:spChg chg="del">
          <ac:chgData name="Bullinger, Marvin" userId="5b54ce5a-dc89-476f-af33-5abd75d5b1e8" providerId="ADAL" clId="{265A6489-94A2-4E64-A25F-E64F69B0C2C1}" dt="2024-03-05T22:19:10.111" v="4394" actId="478"/>
          <ac:spMkLst>
            <pc:docMk/>
            <pc:sldMk cId="1824871312" sldId="610"/>
            <ac:spMk id="33" creationId="{2E1EEBD9-24F6-F2DF-D1AE-728EC94AF2B4}"/>
          </ac:spMkLst>
        </pc:spChg>
        <pc:spChg chg="del">
          <ac:chgData name="Bullinger, Marvin" userId="5b54ce5a-dc89-476f-af33-5abd75d5b1e8" providerId="ADAL" clId="{265A6489-94A2-4E64-A25F-E64F69B0C2C1}" dt="2024-03-05T22:19:10.110" v="4393" actId="478"/>
          <ac:spMkLst>
            <pc:docMk/>
            <pc:sldMk cId="1824871312" sldId="610"/>
            <ac:spMk id="34" creationId="{3D8476FA-A777-401E-A5C2-913608D91F53}"/>
          </ac:spMkLst>
        </pc:spChg>
        <pc:spChg chg="del">
          <ac:chgData name="Bullinger, Marvin" userId="5b54ce5a-dc89-476f-af33-5abd75d5b1e8" providerId="ADAL" clId="{265A6489-94A2-4E64-A25F-E64F69B0C2C1}" dt="2024-03-05T22:19:10.110" v="4392" actId="478"/>
          <ac:spMkLst>
            <pc:docMk/>
            <pc:sldMk cId="1824871312" sldId="610"/>
            <ac:spMk id="35" creationId="{FE2A2E09-0A9E-2B93-BF9B-098E71CE4358}"/>
          </ac:spMkLst>
        </pc:spChg>
        <pc:spChg chg="del">
          <ac:chgData name="Bullinger, Marvin" userId="5b54ce5a-dc89-476f-af33-5abd75d5b1e8" providerId="ADAL" clId="{265A6489-94A2-4E64-A25F-E64F69B0C2C1}" dt="2024-03-05T22:19:10.109" v="4391" actId="478"/>
          <ac:spMkLst>
            <pc:docMk/>
            <pc:sldMk cId="1824871312" sldId="610"/>
            <ac:spMk id="36" creationId="{8DBB7BCA-2462-8B3E-6FA4-A5046EEEF124}"/>
          </ac:spMkLst>
        </pc:spChg>
        <pc:spChg chg="del">
          <ac:chgData name="Bullinger, Marvin" userId="5b54ce5a-dc89-476f-af33-5abd75d5b1e8" providerId="ADAL" clId="{265A6489-94A2-4E64-A25F-E64F69B0C2C1}" dt="2024-03-05T22:19:10.109" v="4390" actId="478"/>
          <ac:spMkLst>
            <pc:docMk/>
            <pc:sldMk cId="1824871312" sldId="610"/>
            <ac:spMk id="37" creationId="{EF28085D-5AE1-42AD-48EA-2CDE504466CC}"/>
          </ac:spMkLst>
        </pc:spChg>
        <pc:spChg chg="del">
          <ac:chgData name="Bullinger, Marvin" userId="5b54ce5a-dc89-476f-af33-5abd75d5b1e8" providerId="ADAL" clId="{265A6489-94A2-4E64-A25F-E64F69B0C2C1}" dt="2024-03-05T22:19:10.108" v="4389" actId="478"/>
          <ac:spMkLst>
            <pc:docMk/>
            <pc:sldMk cId="1824871312" sldId="610"/>
            <ac:spMk id="38" creationId="{933382D3-1FC1-864D-E302-9811235FA54C}"/>
          </ac:spMkLst>
        </pc:spChg>
        <pc:spChg chg="del">
          <ac:chgData name="Bullinger, Marvin" userId="5b54ce5a-dc89-476f-af33-5abd75d5b1e8" providerId="ADAL" clId="{265A6489-94A2-4E64-A25F-E64F69B0C2C1}" dt="2024-03-05T22:19:10.108" v="4388" actId="478"/>
          <ac:spMkLst>
            <pc:docMk/>
            <pc:sldMk cId="1824871312" sldId="610"/>
            <ac:spMk id="39" creationId="{40CD53A1-DFFF-97FC-3BD3-89F9B90281DE}"/>
          </ac:spMkLst>
        </pc:spChg>
        <pc:spChg chg="del">
          <ac:chgData name="Bullinger, Marvin" userId="5b54ce5a-dc89-476f-af33-5abd75d5b1e8" providerId="ADAL" clId="{265A6489-94A2-4E64-A25F-E64F69B0C2C1}" dt="2024-03-05T22:19:10.107" v="4387" actId="478"/>
          <ac:spMkLst>
            <pc:docMk/>
            <pc:sldMk cId="1824871312" sldId="610"/>
            <ac:spMk id="40" creationId="{33242045-5604-4749-BCBB-D3188F3FFEAB}"/>
          </ac:spMkLst>
        </pc:spChg>
        <pc:spChg chg="del">
          <ac:chgData name="Bullinger, Marvin" userId="5b54ce5a-dc89-476f-af33-5abd75d5b1e8" providerId="ADAL" clId="{265A6489-94A2-4E64-A25F-E64F69B0C2C1}" dt="2024-03-05T22:19:10.106" v="4386" actId="478"/>
          <ac:spMkLst>
            <pc:docMk/>
            <pc:sldMk cId="1824871312" sldId="610"/>
            <ac:spMk id="41" creationId="{CD4168D1-1891-B979-33BE-F985B7B41E33}"/>
          </ac:spMkLst>
        </pc:spChg>
        <pc:spChg chg="mod replST">
          <ac:chgData name="Bullinger, Marvin" userId="5b54ce5a-dc89-476f-af33-5abd75d5b1e8" providerId="ADAL" clId="{265A6489-94A2-4E64-A25F-E64F69B0C2C1}" dt="2024-03-05T22:32:34.077" v="5049" actId="207"/>
          <ac:spMkLst>
            <pc:docMk/>
            <pc:sldMk cId="1824871312" sldId="610"/>
            <ac:spMk id="42" creationId="{9C5B7A94-F5AA-F76C-3E72-A94A12C14185}"/>
          </ac:spMkLst>
        </pc:spChg>
        <pc:spChg chg="replST">
          <ac:chgData name="Bullinger, Marvin" userId="5b54ce5a-dc89-476f-af33-5abd75d5b1e8" providerId="ADAL" clId="{265A6489-94A2-4E64-A25F-E64F69B0C2C1}" dt="2024-03-05T22:19:10.696" v="4711"/>
          <ac:spMkLst>
            <pc:docMk/>
            <pc:sldMk cId="1824871312" sldId="610"/>
            <ac:spMk id="43" creationId="{18DDDF5F-442B-8581-6B59-B165901688D9}"/>
          </ac:spMkLst>
        </pc:spChg>
        <pc:spChg chg="mod replST">
          <ac:chgData name="Bullinger, Marvin" userId="5b54ce5a-dc89-476f-af33-5abd75d5b1e8" providerId="ADAL" clId="{265A6489-94A2-4E64-A25F-E64F69B0C2C1}" dt="2024-03-05T22:32:25.058" v="5044" actId="20577"/>
          <ac:spMkLst>
            <pc:docMk/>
            <pc:sldMk cId="1824871312" sldId="610"/>
            <ac:spMk id="45" creationId="{F490C65B-06E6-5330-FBD6-EC69B29546E4}"/>
          </ac:spMkLst>
        </pc:spChg>
        <pc:spChg chg="replST">
          <ac:chgData name="Bullinger, Marvin" userId="5b54ce5a-dc89-476f-af33-5abd75d5b1e8" providerId="ADAL" clId="{265A6489-94A2-4E64-A25F-E64F69B0C2C1}" dt="2024-03-05T22:19:10.709" v="4718"/>
          <ac:spMkLst>
            <pc:docMk/>
            <pc:sldMk cId="1824871312" sldId="610"/>
            <ac:spMk id="46" creationId="{09E6F70E-A723-FC49-630C-00B33A960A92}"/>
          </ac:spMkLst>
        </pc:spChg>
        <pc:spChg chg="mod ord replST">
          <ac:chgData name="Bullinger, Marvin" userId="5b54ce5a-dc89-476f-af33-5abd75d5b1e8" providerId="ADAL" clId="{265A6489-94A2-4E64-A25F-E64F69B0C2C1}" dt="2024-03-05T22:33:04.047" v="5054" actId="207"/>
          <ac:spMkLst>
            <pc:docMk/>
            <pc:sldMk cId="1824871312" sldId="610"/>
            <ac:spMk id="47" creationId="{93569F23-2B7F-1204-06EF-4495A82E1E79}"/>
          </ac:spMkLst>
        </pc:spChg>
        <pc:spChg chg="mod replST">
          <ac:chgData name="Bullinger, Marvin" userId="5b54ce5a-dc89-476f-af33-5abd75d5b1e8" providerId="ADAL" clId="{265A6489-94A2-4E64-A25F-E64F69B0C2C1}" dt="2024-03-05T22:32:36.819" v="5050" actId="207"/>
          <ac:spMkLst>
            <pc:docMk/>
            <pc:sldMk cId="1824871312" sldId="610"/>
            <ac:spMk id="48" creationId="{6C8C8FC6-AB50-27E5-9BE2-BFB6A4164A2D}"/>
          </ac:spMkLst>
        </pc:spChg>
        <pc:spChg chg="mod replST">
          <ac:chgData name="Bullinger, Marvin" userId="5b54ce5a-dc89-476f-af33-5abd75d5b1e8" providerId="ADAL" clId="{265A6489-94A2-4E64-A25F-E64F69B0C2C1}" dt="2024-03-06T13:53:46.785" v="5137" actId="20577"/>
          <ac:spMkLst>
            <pc:docMk/>
            <pc:sldMk cId="1824871312" sldId="610"/>
            <ac:spMk id="49" creationId="{93CBE9A5-207F-CC16-AFE9-A56DC62CE5C2}"/>
          </ac:spMkLst>
        </pc:spChg>
        <pc:spChg chg="mod replST">
          <ac:chgData name="Bullinger, Marvin" userId="5b54ce5a-dc89-476f-af33-5abd75d5b1e8" providerId="ADAL" clId="{265A6489-94A2-4E64-A25F-E64F69B0C2C1}" dt="2024-03-05T22:32:43.325" v="5051" actId="207"/>
          <ac:spMkLst>
            <pc:docMk/>
            <pc:sldMk cId="1824871312" sldId="610"/>
            <ac:spMk id="51" creationId="{956D8DF9-A68B-CC5E-1478-4244AFDBE3D8}"/>
          </ac:spMkLst>
        </pc:spChg>
        <pc:spChg chg="replST">
          <ac:chgData name="Bullinger, Marvin" userId="5b54ce5a-dc89-476f-af33-5abd75d5b1e8" providerId="ADAL" clId="{265A6489-94A2-4E64-A25F-E64F69B0C2C1}" dt="2024-03-05T22:19:10.737" v="4732"/>
          <ac:spMkLst>
            <pc:docMk/>
            <pc:sldMk cId="1824871312" sldId="610"/>
            <ac:spMk id="52" creationId="{1C292BDF-1217-F49A-1D60-960FE74044E2}"/>
          </ac:spMkLst>
        </pc:spChg>
        <pc:spChg chg="mod replST">
          <ac:chgData name="Bullinger, Marvin" userId="5b54ce5a-dc89-476f-af33-5abd75d5b1e8" providerId="ADAL" clId="{265A6489-94A2-4E64-A25F-E64F69B0C2C1}" dt="2024-03-05T22:32:47.310" v="5052" actId="207"/>
          <ac:spMkLst>
            <pc:docMk/>
            <pc:sldMk cId="1824871312" sldId="610"/>
            <ac:spMk id="54" creationId="{3CFCD82E-4BF5-B42A-F343-055485E0F562}"/>
          </ac:spMkLst>
        </pc:spChg>
        <pc:spChg chg="replST">
          <ac:chgData name="Bullinger, Marvin" userId="5b54ce5a-dc89-476f-af33-5abd75d5b1e8" providerId="ADAL" clId="{265A6489-94A2-4E64-A25F-E64F69B0C2C1}" dt="2024-03-05T22:19:10.750" v="4739"/>
          <ac:spMkLst>
            <pc:docMk/>
            <pc:sldMk cId="1824871312" sldId="610"/>
            <ac:spMk id="55" creationId="{AD616A3C-8072-143A-041F-A00164977193}"/>
          </ac:spMkLst>
        </pc:spChg>
        <pc:spChg chg="mod replST">
          <ac:chgData name="Bullinger, Marvin" userId="5b54ce5a-dc89-476f-af33-5abd75d5b1e8" providerId="ADAL" clId="{265A6489-94A2-4E64-A25F-E64F69B0C2C1}" dt="2024-03-05T22:32:51.017" v="5053" actId="207"/>
          <ac:spMkLst>
            <pc:docMk/>
            <pc:sldMk cId="1824871312" sldId="610"/>
            <ac:spMk id="57" creationId="{A9A65096-12D3-B6DD-324D-917AAD0DE94E}"/>
          </ac:spMkLst>
        </pc:spChg>
        <pc:spChg chg="replST">
          <ac:chgData name="Bullinger, Marvin" userId="5b54ce5a-dc89-476f-af33-5abd75d5b1e8" providerId="ADAL" clId="{265A6489-94A2-4E64-A25F-E64F69B0C2C1}" dt="2024-03-05T22:19:10.763" v="4746"/>
          <ac:spMkLst>
            <pc:docMk/>
            <pc:sldMk cId="1824871312" sldId="610"/>
            <ac:spMk id="58" creationId="{72D0865A-667E-5939-254F-75E9AB33B180}"/>
          </ac:spMkLst>
        </pc:spChg>
        <pc:cxnChg chg="ord replST">
          <ac:chgData name="Bullinger, Marvin" userId="5b54ce5a-dc89-476f-af33-5abd75d5b1e8" providerId="ADAL" clId="{265A6489-94A2-4E64-A25F-E64F69B0C2C1}" dt="2024-03-05T22:19:10.773" v="4750"/>
          <ac:cxnSpMkLst>
            <pc:docMk/>
            <pc:sldMk cId="1824871312" sldId="610"/>
            <ac:cxnSpMk id="44" creationId="{8D4697B0-77BE-92EB-6C88-664776FA3345}"/>
          </ac:cxnSpMkLst>
        </pc:cxnChg>
        <pc:cxnChg chg="ord replST">
          <ac:chgData name="Bullinger, Marvin" userId="5b54ce5a-dc89-476f-af33-5abd75d5b1e8" providerId="ADAL" clId="{265A6489-94A2-4E64-A25F-E64F69B0C2C1}" dt="2024-03-05T22:19:10.776" v="4752"/>
          <ac:cxnSpMkLst>
            <pc:docMk/>
            <pc:sldMk cId="1824871312" sldId="610"/>
            <ac:cxnSpMk id="50" creationId="{16DA3D6A-426E-6FFF-5C0D-ECB51FA26F11}"/>
          </ac:cxnSpMkLst>
        </pc:cxnChg>
        <pc:cxnChg chg="ord replST">
          <ac:chgData name="Bullinger, Marvin" userId="5b54ce5a-dc89-476f-af33-5abd75d5b1e8" providerId="ADAL" clId="{265A6489-94A2-4E64-A25F-E64F69B0C2C1}" dt="2024-03-05T22:19:10.777" v="4753"/>
          <ac:cxnSpMkLst>
            <pc:docMk/>
            <pc:sldMk cId="1824871312" sldId="610"/>
            <ac:cxnSpMk id="53" creationId="{E30C8774-60D0-A689-CA48-619FC97EE61F}"/>
          </ac:cxnSpMkLst>
        </pc:cxnChg>
        <pc:cxnChg chg="ord replST">
          <ac:chgData name="Bullinger, Marvin" userId="5b54ce5a-dc89-476f-af33-5abd75d5b1e8" providerId="ADAL" clId="{265A6489-94A2-4E64-A25F-E64F69B0C2C1}" dt="2024-03-05T22:19:10.779" v="4754"/>
          <ac:cxnSpMkLst>
            <pc:docMk/>
            <pc:sldMk cId="1824871312" sldId="610"/>
            <ac:cxnSpMk id="56" creationId="{34984C3A-6737-C393-E67B-705CFBBB2023}"/>
          </ac:cxnSpMkLst>
        </pc:cxnChg>
        <pc:cxnChg chg="ord replST">
          <ac:chgData name="Bullinger, Marvin" userId="5b54ce5a-dc89-476f-af33-5abd75d5b1e8" providerId="ADAL" clId="{265A6489-94A2-4E64-A25F-E64F69B0C2C1}" dt="2024-03-05T22:19:10.780" v="4755"/>
          <ac:cxnSpMkLst>
            <pc:docMk/>
            <pc:sldMk cId="1824871312" sldId="610"/>
            <ac:cxnSpMk id="59" creationId="{DECD309B-5A17-7224-F923-4FB0E99EA0D6}"/>
          </ac:cxnSpMkLst>
        </pc:cxnChg>
        <pc:cxnChg chg="ord replST">
          <ac:chgData name="Bullinger, Marvin" userId="5b54ce5a-dc89-476f-af33-5abd75d5b1e8" providerId="ADAL" clId="{265A6489-94A2-4E64-A25F-E64F69B0C2C1}" dt="2024-03-05T22:19:10.782" v="4756"/>
          <ac:cxnSpMkLst>
            <pc:docMk/>
            <pc:sldMk cId="1824871312" sldId="610"/>
            <ac:cxnSpMk id="60" creationId="{C18E7717-38A1-78CA-B01B-58EAEFB51EA3}"/>
          </ac:cxnSpMkLst>
        </pc:cxnChg>
      </pc:sldChg>
      <pc:sldChg chg="delSp modSp del mod replTag">
        <pc:chgData name="Bullinger, Marvin" userId="5b54ce5a-dc89-476f-af33-5abd75d5b1e8" providerId="ADAL" clId="{265A6489-94A2-4E64-A25F-E64F69B0C2C1}" dt="2024-03-05T22:35:46.285" v="5091" actId="47"/>
        <pc:sldMkLst>
          <pc:docMk/>
          <pc:sldMk cId="732378963" sldId="611"/>
        </pc:sldMkLst>
        <pc:spChg chg="del">
          <ac:chgData name="Bullinger, Marvin" userId="5b54ce5a-dc89-476f-af33-5abd75d5b1e8" providerId="ADAL" clId="{265A6489-94A2-4E64-A25F-E64F69B0C2C1}" dt="2024-03-05T22:19:11.358" v="5004" actId="478"/>
          <ac:spMkLst>
            <pc:docMk/>
            <pc:sldMk cId="732378963" sldId="611"/>
            <ac:spMk id="2" creationId="{0059B851-EE47-8468-27B2-6129CB8B6D51}"/>
          </ac:spMkLst>
        </pc:spChg>
        <pc:spChg chg="del">
          <ac:chgData name="Bullinger, Marvin" userId="5b54ce5a-dc89-476f-af33-5abd75d5b1e8" providerId="ADAL" clId="{265A6489-94A2-4E64-A25F-E64F69B0C2C1}" dt="2024-03-05T22:19:11.358" v="5003" actId="478"/>
          <ac:spMkLst>
            <pc:docMk/>
            <pc:sldMk cId="732378963" sldId="611"/>
            <ac:spMk id="3" creationId="{FCC53347-5103-FBEF-C2E0-9460537FB353}"/>
          </ac:spMkLst>
        </pc:spChg>
        <pc:spChg chg="del">
          <ac:chgData name="Bullinger, Marvin" userId="5b54ce5a-dc89-476f-af33-5abd75d5b1e8" providerId="ADAL" clId="{265A6489-94A2-4E64-A25F-E64F69B0C2C1}" dt="2024-03-05T22:19:11.357" v="5002" actId="478"/>
          <ac:spMkLst>
            <pc:docMk/>
            <pc:sldMk cId="732378963" sldId="611"/>
            <ac:spMk id="4" creationId="{47F48F79-94F8-5995-3956-342D407BF78E}"/>
          </ac:spMkLst>
        </pc:spChg>
        <pc:spChg chg="del">
          <ac:chgData name="Bullinger, Marvin" userId="5b54ce5a-dc89-476f-af33-5abd75d5b1e8" providerId="ADAL" clId="{265A6489-94A2-4E64-A25F-E64F69B0C2C1}" dt="2024-03-05T22:19:11.357" v="5001" actId="478"/>
          <ac:spMkLst>
            <pc:docMk/>
            <pc:sldMk cId="732378963" sldId="611"/>
            <ac:spMk id="5" creationId="{128BA91A-A008-DC5A-9CBC-FE92FAE1134C}"/>
          </ac:spMkLst>
        </pc:spChg>
        <pc:spChg chg="del">
          <ac:chgData name="Bullinger, Marvin" userId="5b54ce5a-dc89-476f-af33-5abd75d5b1e8" providerId="ADAL" clId="{265A6489-94A2-4E64-A25F-E64F69B0C2C1}" dt="2024-03-05T22:19:11.356" v="5000" actId="478"/>
          <ac:spMkLst>
            <pc:docMk/>
            <pc:sldMk cId="732378963" sldId="611"/>
            <ac:spMk id="6" creationId="{94C4186D-F796-E91A-6FD0-5244C4FE9B31}"/>
          </ac:spMkLst>
        </pc:spChg>
        <pc:spChg chg="del">
          <ac:chgData name="Bullinger, Marvin" userId="5b54ce5a-dc89-476f-af33-5abd75d5b1e8" providerId="ADAL" clId="{265A6489-94A2-4E64-A25F-E64F69B0C2C1}" dt="2024-03-05T22:19:11.355" v="4999" actId="478"/>
          <ac:spMkLst>
            <pc:docMk/>
            <pc:sldMk cId="732378963" sldId="611"/>
            <ac:spMk id="7" creationId="{D57E82EC-0D05-F022-6807-607FC67BE3E5}"/>
          </ac:spMkLst>
        </pc:spChg>
        <pc:spChg chg="del">
          <ac:chgData name="Bullinger, Marvin" userId="5b54ce5a-dc89-476f-af33-5abd75d5b1e8" providerId="ADAL" clId="{265A6489-94A2-4E64-A25F-E64F69B0C2C1}" dt="2024-03-05T22:19:11.355" v="4998" actId="478"/>
          <ac:spMkLst>
            <pc:docMk/>
            <pc:sldMk cId="732378963" sldId="611"/>
            <ac:spMk id="8" creationId="{8407B921-1EF1-B004-255C-4B06558DC7E1}"/>
          </ac:spMkLst>
        </pc:spChg>
        <pc:spChg chg="del">
          <ac:chgData name="Bullinger, Marvin" userId="5b54ce5a-dc89-476f-af33-5abd75d5b1e8" providerId="ADAL" clId="{265A6489-94A2-4E64-A25F-E64F69B0C2C1}" dt="2024-03-05T22:19:11.354" v="4997" actId="478"/>
          <ac:spMkLst>
            <pc:docMk/>
            <pc:sldMk cId="732378963" sldId="611"/>
            <ac:spMk id="9" creationId="{92325CA3-86F0-BC4F-A647-DE7D0DD9793B}"/>
          </ac:spMkLst>
        </pc:spChg>
        <pc:spChg chg="del">
          <ac:chgData name="Bullinger, Marvin" userId="5b54ce5a-dc89-476f-af33-5abd75d5b1e8" providerId="ADAL" clId="{265A6489-94A2-4E64-A25F-E64F69B0C2C1}" dt="2024-03-05T22:19:11.353" v="4996" actId="478"/>
          <ac:spMkLst>
            <pc:docMk/>
            <pc:sldMk cId="732378963" sldId="611"/>
            <ac:spMk id="10" creationId="{81501C53-0AE7-B6D0-9846-36023B207F87}"/>
          </ac:spMkLst>
        </pc:spChg>
        <pc:spChg chg="del">
          <ac:chgData name="Bullinger, Marvin" userId="5b54ce5a-dc89-476f-af33-5abd75d5b1e8" providerId="ADAL" clId="{265A6489-94A2-4E64-A25F-E64F69B0C2C1}" dt="2024-03-05T22:19:11.353" v="4995" actId="478"/>
          <ac:spMkLst>
            <pc:docMk/>
            <pc:sldMk cId="732378963" sldId="611"/>
            <ac:spMk id="11" creationId="{3E574328-C8BF-E465-1683-3D333375DB7F}"/>
          </ac:spMkLst>
        </pc:spChg>
        <pc:spChg chg="del">
          <ac:chgData name="Bullinger, Marvin" userId="5b54ce5a-dc89-476f-af33-5abd75d5b1e8" providerId="ADAL" clId="{265A6489-94A2-4E64-A25F-E64F69B0C2C1}" dt="2024-03-05T22:19:11.352" v="4994" actId="478"/>
          <ac:spMkLst>
            <pc:docMk/>
            <pc:sldMk cId="732378963" sldId="611"/>
            <ac:spMk id="12" creationId="{020D61FB-6FD3-0FA2-C184-AF9763650412}"/>
          </ac:spMkLst>
        </pc:spChg>
        <pc:spChg chg="del">
          <ac:chgData name="Bullinger, Marvin" userId="5b54ce5a-dc89-476f-af33-5abd75d5b1e8" providerId="ADAL" clId="{265A6489-94A2-4E64-A25F-E64F69B0C2C1}" dt="2024-03-05T22:19:11.352" v="4993" actId="478"/>
          <ac:spMkLst>
            <pc:docMk/>
            <pc:sldMk cId="732378963" sldId="611"/>
            <ac:spMk id="13" creationId="{4A21ED7B-150D-9801-A4E6-A3B9F47D7FD2}"/>
          </ac:spMkLst>
        </pc:spChg>
        <pc:spChg chg="del">
          <ac:chgData name="Bullinger, Marvin" userId="5b54ce5a-dc89-476f-af33-5abd75d5b1e8" providerId="ADAL" clId="{265A6489-94A2-4E64-A25F-E64F69B0C2C1}" dt="2024-03-05T22:19:11.351" v="4992" actId="478"/>
          <ac:spMkLst>
            <pc:docMk/>
            <pc:sldMk cId="732378963" sldId="611"/>
            <ac:spMk id="14" creationId="{0BC4CD4C-98E9-D229-FBBA-1ECD75A5C8A8}"/>
          </ac:spMkLst>
        </pc:spChg>
        <pc:spChg chg="del">
          <ac:chgData name="Bullinger, Marvin" userId="5b54ce5a-dc89-476f-af33-5abd75d5b1e8" providerId="ADAL" clId="{265A6489-94A2-4E64-A25F-E64F69B0C2C1}" dt="2024-03-05T22:19:11.350" v="4991" actId="478"/>
          <ac:spMkLst>
            <pc:docMk/>
            <pc:sldMk cId="732378963" sldId="611"/>
            <ac:spMk id="15" creationId="{9361D264-EA07-58EF-9596-E49B583D992A}"/>
          </ac:spMkLst>
        </pc:spChg>
        <pc:spChg chg="del">
          <ac:chgData name="Bullinger, Marvin" userId="5b54ce5a-dc89-476f-af33-5abd75d5b1e8" providerId="ADAL" clId="{265A6489-94A2-4E64-A25F-E64F69B0C2C1}" dt="2024-03-05T22:19:11.350" v="4990" actId="478"/>
          <ac:spMkLst>
            <pc:docMk/>
            <pc:sldMk cId="732378963" sldId="611"/>
            <ac:spMk id="16" creationId="{3B40C584-B654-4DC6-3091-324E22F0F179}"/>
          </ac:spMkLst>
        </pc:spChg>
        <pc:spChg chg="mod replST">
          <ac:chgData name="Bullinger, Marvin" userId="5b54ce5a-dc89-476f-af33-5abd75d5b1e8" providerId="ADAL" clId="{265A6489-94A2-4E64-A25F-E64F69B0C2C1}" dt="2024-03-05T22:19:11.360" v="5006" actId="20577"/>
          <ac:spMkLst>
            <pc:docMk/>
            <pc:sldMk cId="732378963" sldId="611"/>
            <ac:spMk id="17" creationId="{B09D0307-0587-4B55-B123-EF83A2112674}"/>
          </ac:spMkLst>
        </pc:spChg>
        <pc:spChg chg="del">
          <ac:chgData name="Bullinger, Marvin" userId="5b54ce5a-dc89-476f-af33-5abd75d5b1e8" providerId="ADAL" clId="{265A6489-94A2-4E64-A25F-E64F69B0C2C1}" dt="2024-03-05T22:19:11.349" v="4989" actId="478"/>
          <ac:spMkLst>
            <pc:docMk/>
            <pc:sldMk cId="732378963" sldId="611"/>
            <ac:spMk id="18" creationId="{F7A8E9CF-0117-3912-7877-5D911799E8D7}"/>
          </ac:spMkLst>
        </pc:spChg>
        <pc:spChg chg="del">
          <ac:chgData name="Bullinger, Marvin" userId="5b54ce5a-dc89-476f-af33-5abd75d5b1e8" providerId="ADAL" clId="{265A6489-94A2-4E64-A25F-E64F69B0C2C1}" dt="2024-03-05T22:19:11.348" v="4988" actId="478"/>
          <ac:spMkLst>
            <pc:docMk/>
            <pc:sldMk cId="732378963" sldId="611"/>
            <ac:spMk id="19" creationId="{4F057D16-79CD-66DC-C79C-9B3DDBB6FB32}"/>
          </ac:spMkLst>
        </pc:spChg>
        <pc:spChg chg="del">
          <ac:chgData name="Bullinger, Marvin" userId="5b54ce5a-dc89-476f-af33-5abd75d5b1e8" providerId="ADAL" clId="{265A6489-94A2-4E64-A25F-E64F69B0C2C1}" dt="2024-03-05T22:19:11.348" v="4987" actId="478"/>
          <ac:spMkLst>
            <pc:docMk/>
            <pc:sldMk cId="732378963" sldId="611"/>
            <ac:spMk id="20" creationId="{618986A3-B7E7-73DE-489D-1454FD910D79}"/>
          </ac:spMkLst>
        </pc:spChg>
        <pc:spChg chg="del">
          <ac:chgData name="Bullinger, Marvin" userId="5b54ce5a-dc89-476f-af33-5abd75d5b1e8" providerId="ADAL" clId="{265A6489-94A2-4E64-A25F-E64F69B0C2C1}" dt="2024-03-05T22:19:11.347" v="4986" actId="478"/>
          <ac:spMkLst>
            <pc:docMk/>
            <pc:sldMk cId="732378963" sldId="611"/>
            <ac:spMk id="21" creationId="{C1370811-6B3D-81C0-3EF6-DEF51D71304E}"/>
          </ac:spMkLst>
        </pc:spChg>
        <pc:spChg chg="del">
          <ac:chgData name="Bullinger, Marvin" userId="5b54ce5a-dc89-476f-af33-5abd75d5b1e8" providerId="ADAL" clId="{265A6489-94A2-4E64-A25F-E64F69B0C2C1}" dt="2024-03-05T22:19:11.347" v="4985" actId="478"/>
          <ac:spMkLst>
            <pc:docMk/>
            <pc:sldMk cId="732378963" sldId="611"/>
            <ac:spMk id="22" creationId="{804CC373-E163-E0C9-D4E5-A2EE9BEE0ECB}"/>
          </ac:spMkLst>
        </pc:spChg>
        <pc:spChg chg="del">
          <ac:chgData name="Bullinger, Marvin" userId="5b54ce5a-dc89-476f-af33-5abd75d5b1e8" providerId="ADAL" clId="{265A6489-94A2-4E64-A25F-E64F69B0C2C1}" dt="2024-03-05T22:19:11.346" v="4984" actId="478"/>
          <ac:spMkLst>
            <pc:docMk/>
            <pc:sldMk cId="732378963" sldId="611"/>
            <ac:spMk id="23" creationId="{C2F32C73-9126-4110-DE68-2F9BD56D70E3}"/>
          </ac:spMkLst>
        </pc:spChg>
        <pc:spChg chg="del">
          <ac:chgData name="Bullinger, Marvin" userId="5b54ce5a-dc89-476f-af33-5abd75d5b1e8" providerId="ADAL" clId="{265A6489-94A2-4E64-A25F-E64F69B0C2C1}" dt="2024-03-05T22:19:11.345" v="4983" actId="478"/>
          <ac:spMkLst>
            <pc:docMk/>
            <pc:sldMk cId="732378963" sldId="611"/>
            <ac:spMk id="24" creationId="{5530EC16-BE04-6920-68EF-18E450A2E534}"/>
          </ac:spMkLst>
        </pc:spChg>
        <pc:spChg chg="del">
          <ac:chgData name="Bullinger, Marvin" userId="5b54ce5a-dc89-476f-af33-5abd75d5b1e8" providerId="ADAL" clId="{265A6489-94A2-4E64-A25F-E64F69B0C2C1}" dt="2024-03-05T22:19:11.345" v="4982" actId="478"/>
          <ac:spMkLst>
            <pc:docMk/>
            <pc:sldMk cId="732378963" sldId="611"/>
            <ac:spMk id="25" creationId="{9F812E07-8229-B138-28FC-FDC795CE17E0}"/>
          </ac:spMkLst>
        </pc:spChg>
        <pc:spChg chg="del">
          <ac:chgData name="Bullinger, Marvin" userId="5b54ce5a-dc89-476f-af33-5abd75d5b1e8" providerId="ADAL" clId="{265A6489-94A2-4E64-A25F-E64F69B0C2C1}" dt="2024-03-05T22:19:11.344" v="4981" actId="478"/>
          <ac:spMkLst>
            <pc:docMk/>
            <pc:sldMk cId="732378963" sldId="611"/>
            <ac:spMk id="28" creationId="{4B1F2FA8-070D-7788-627E-E7C1B3C20EEE}"/>
          </ac:spMkLst>
        </pc:spChg>
        <pc:spChg chg="del">
          <ac:chgData name="Bullinger, Marvin" userId="5b54ce5a-dc89-476f-af33-5abd75d5b1e8" providerId="ADAL" clId="{265A6489-94A2-4E64-A25F-E64F69B0C2C1}" dt="2024-03-05T22:19:11.344" v="4980" actId="478"/>
          <ac:spMkLst>
            <pc:docMk/>
            <pc:sldMk cId="732378963" sldId="611"/>
            <ac:spMk id="29" creationId="{CCE4EF84-0BAC-2E0C-F98C-EA870F888A58}"/>
          </ac:spMkLst>
        </pc:spChg>
        <pc:spChg chg="del">
          <ac:chgData name="Bullinger, Marvin" userId="5b54ce5a-dc89-476f-af33-5abd75d5b1e8" providerId="ADAL" clId="{265A6489-94A2-4E64-A25F-E64F69B0C2C1}" dt="2024-03-05T22:19:11.342" v="4979" actId="478"/>
          <ac:spMkLst>
            <pc:docMk/>
            <pc:sldMk cId="732378963" sldId="611"/>
            <ac:spMk id="30" creationId="{3E8D3914-A2FD-41DE-C782-E2A371431F2D}"/>
          </ac:spMkLst>
        </pc:spChg>
        <pc:spChg chg="del">
          <ac:chgData name="Bullinger, Marvin" userId="5b54ce5a-dc89-476f-af33-5abd75d5b1e8" providerId="ADAL" clId="{265A6489-94A2-4E64-A25F-E64F69B0C2C1}" dt="2024-03-05T22:19:11.342" v="4978" actId="478"/>
          <ac:spMkLst>
            <pc:docMk/>
            <pc:sldMk cId="732378963" sldId="611"/>
            <ac:spMk id="31" creationId="{E0680A31-D236-B359-675C-99D185971A69}"/>
          </ac:spMkLst>
        </pc:spChg>
        <pc:spChg chg="del">
          <ac:chgData name="Bullinger, Marvin" userId="5b54ce5a-dc89-476f-af33-5abd75d5b1e8" providerId="ADAL" clId="{265A6489-94A2-4E64-A25F-E64F69B0C2C1}" dt="2024-03-05T22:19:11.341" v="4977" actId="478"/>
          <ac:spMkLst>
            <pc:docMk/>
            <pc:sldMk cId="732378963" sldId="611"/>
            <ac:spMk id="32" creationId="{5C077E8F-B0FB-826D-5D71-BCA34FE318C3}"/>
          </ac:spMkLst>
        </pc:spChg>
        <pc:spChg chg="del">
          <ac:chgData name="Bullinger, Marvin" userId="5b54ce5a-dc89-476f-af33-5abd75d5b1e8" providerId="ADAL" clId="{265A6489-94A2-4E64-A25F-E64F69B0C2C1}" dt="2024-03-05T22:19:11.340" v="4976" actId="478"/>
          <ac:spMkLst>
            <pc:docMk/>
            <pc:sldMk cId="732378963" sldId="611"/>
            <ac:spMk id="33" creationId="{773D1092-4BD6-9D2F-699F-D6B0FC37BB0F}"/>
          </ac:spMkLst>
        </pc:spChg>
        <pc:spChg chg="del">
          <ac:chgData name="Bullinger, Marvin" userId="5b54ce5a-dc89-476f-af33-5abd75d5b1e8" providerId="ADAL" clId="{265A6489-94A2-4E64-A25F-E64F69B0C2C1}" dt="2024-03-05T22:19:11.340" v="4975" actId="478"/>
          <ac:spMkLst>
            <pc:docMk/>
            <pc:sldMk cId="732378963" sldId="611"/>
            <ac:spMk id="34" creationId="{3066A336-5315-45EF-CB5F-D24C106650ED}"/>
          </ac:spMkLst>
        </pc:spChg>
        <pc:spChg chg="del">
          <ac:chgData name="Bullinger, Marvin" userId="5b54ce5a-dc89-476f-af33-5abd75d5b1e8" providerId="ADAL" clId="{265A6489-94A2-4E64-A25F-E64F69B0C2C1}" dt="2024-03-05T22:19:11.339" v="4974" actId="478"/>
          <ac:spMkLst>
            <pc:docMk/>
            <pc:sldMk cId="732378963" sldId="611"/>
            <ac:spMk id="35" creationId="{DEB22F11-612C-B625-5A49-EF6642D07642}"/>
          </ac:spMkLst>
        </pc:spChg>
        <pc:spChg chg="del">
          <ac:chgData name="Bullinger, Marvin" userId="5b54ce5a-dc89-476f-af33-5abd75d5b1e8" providerId="ADAL" clId="{265A6489-94A2-4E64-A25F-E64F69B0C2C1}" dt="2024-03-05T22:19:11.338" v="4973" actId="478"/>
          <ac:spMkLst>
            <pc:docMk/>
            <pc:sldMk cId="732378963" sldId="611"/>
            <ac:spMk id="36" creationId="{577FF78A-431A-FFD4-AF49-C0420D2B4364}"/>
          </ac:spMkLst>
        </pc:spChg>
        <pc:spChg chg="del">
          <ac:chgData name="Bullinger, Marvin" userId="5b54ce5a-dc89-476f-af33-5abd75d5b1e8" providerId="ADAL" clId="{265A6489-94A2-4E64-A25F-E64F69B0C2C1}" dt="2024-03-05T22:19:11.338" v="4972" actId="478"/>
          <ac:spMkLst>
            <pc:docMk/>
            <pc:sldMk cId="732378963" sldId="611"/>
            <ac:spMk id="37" creationId="{1751F007-4AEA-7F06-05FD-046DBE88AD45}"/>
          </ac:spMkLst>
        </pc:spChg>
        <pc:spChg chg="del">
          <ac:chgData name="Bullinger, Marvin" userId="5b54ce5a-dc89-476f-af33-5abd75d5b1e8" providerId="ADAL" clId="{265A6489-94A2-4E64-A25F-E64F69B0C2C1}" dt="2024-03-05T22:19:11.337" v="4971" actId="478"/>
          <ac:spMkLst>
            <pc:docMk/>
            <pc:sldMk cId="732378963" sldId="611"/>
            <ac:spMk id="38" creationId="{81A9D2F3-9D26-D5D1-5063-87356B9CAFAF}"/>
          </ac:spMkLst>
        </pc:spChg>
        <pc:spChg chg="del">
          <ac:chgData name="Bullinger, Marvin" userId="5b54ce5a-dc89-476f-af33-5abd75d5b1e8" providerId="ADAL" clId="{265A6489-94A2-4E64-A25F-E64F69B0C2C1}" dt="2024-03-05T22:19:11.337" v="4970" actId="478"/>
          <ac:spMkLst>
            <pc:docMk/>
            <pc:sldMk cId="732378963" sldId="611"/>
            <ac:spMk id="39" creationId="{097502D3-1B4D-FA43-BB9B-9C5F3FDAA879}"/>
          </ac:spMkLst>
        </pc:spChg>
        <pc:spChg chg="del">
          <ac:chgData name="Bullinger, Marvin" userId="5b54ce5a-dc89-476f-af33-5abd75d5b1e8" providerId="ADAL" clId="{265A6489-94A2-4E64-A25F-E64F69B0C2C1}" dt="2024-03-05T22:19:11.336" v="4969" actId="478"/>
          <ac:spMkLst>
            <pc:docMk/>
            <pc:sldMk cId="732378963" sldId="611"/>
            <ac:spMk id="40" creationId="{ABEFD437-9FC4-9EBA-78B1-EDAC37953B1D}"/>
          </ac:spMkLst>
        </pc:spChg>
        <pc:spChg chg="del">
          <ac:chgData name="Bullinger, Marvin" userId="5b54ce5a-dc89-476f-af33-5abd75d5b1e8" providerId="ADAL" clId="{265A6489-94A2-4E64-A25F-E64F69B0C2C1}" dt="2024-03-05T22:19:11.335" v="4968" actId="478"/>
          <ac:spMkLst>
            <pc:docMk/>
            <pc:sldMk cId="732378963" sldId="611"/>
            <ac:spMk id="41" creationId="{6BF9E13D-2626-5B76-04C1-2230D7C40B22}"/>
          </ac:spMkLst>
        </pc:spChg>
      </pc:sldChg>
      <pc:sldMasterChg chg="modSldLayout">
        <pc:chgData name="Bullinger, Marvin" userId="5b54ce5a-dc89-476f-af33-5abd75d5b1e8" providerId="ADAL" clId="{265A6489-94A2-4E64-A25F-E64F69B0C2C1}" dt="2024-03-06T14:07:42.415" v="5458" actId="1076"/>
        <pc:sldMasterMkLst>
          <pc:docMk/>
          <pc:sldMasterMk cId="2846167297" sldId="2147483677"/>
        </pc:sldMasterMkLst>
        <pc:sldLayoutChg chg="addSp delSp modSp mod">
          <pc:chgData name="Bullinger, Marvin" userId="5b54ce5a-dc89-476f-af33-5abd75d5b1e8" providerId="ADAL" clId="{265A6489-94A2-4E64-A25F-E64F69B0C2C1}" dt="2024-03-06T14:07:42.415" v="5458" actId="1076"/>
          <pc:sldLayoutMkLst>
            <pc:docMk/>
            <pc:sldMasterMk cId="2846167297" sldId="2147483677"/>
            <pc:sldLayoutMk cId="816259686" sldId="2147483701"/>
          </pc:sldLayoutMkLst>
          <pc:picChg chg="mod">
            <ac:chgData name="Bullinger, Marvin" userId="5b54ce5a-dc89-476f-af33-5abd75d5b1e8" providerId="ADAL" clId="{265A6489-94A2-4E64-A25F-E64F69B0C2C1}" dt="2024-03-06T14:07:35.392" v="5457" actId="1076"/>
            <ac:picMkLst>
              <pc:docMk/>
              <pc:sldMasterMk cId="2846167297" sldId="2147483677"/>
              <pc:sldLayoutMk cId="816259686" sldId="2147483701"/>
              <ac:picMk id="2" creationId="{66C34D74-1E41-CBA5-F808-7D17470983CE}"/>
            </ac:picMkLst>
          </pc:picChg>
          <pc:picChg chg="del">
            <ac:chgData name="Bullinger, Marvin" userId="5b54ce5a-dc89-476f-af33-5abd75d5b1e8" providerId="ADAL" clId="{265A6489-94A2-4E64-A25F-E64F69B0C2C1}" dt="2024-03-06T14:06:46.643" v="5449" actId="478"/>
            <ac:picMkLst>
              <pc:docMk/>
              <pc:sldMasterMk cId="2846167297" sldId="2147483677"/>
              <pc:sldLayoutMk cId="816259686" sldId="2147483701"/>
              <ac:picMk id="4" creationId="{203C618B-B3AB-06A8-EF37-E3E6FCF163F4}"/>
            </ac:picMkLst>
          </pc:picChg>
          <pc:picChg chg="mod">
            <ac:chgData name="Bullinger, Marvin" userId="5b54ce5a-dc89-476f-af33-5abd75d5b1e8" providerId="ADAL" clId="{265A6489-94A2-4E64-A25F-E64F69B0C2C1}" dt="2024-03-06T14:07:42.415" v="5458" actId="1076"/>
            <ac:picMkLst>
              <pc:docMk/>
              <pc:sldMasterMk cId="2846167297" sldId="2147483677"/>
              <pc:sldLayoutMk cId="816259686" sldId="2147483701"/>
              <ac:picMk id="8" creationId="{24CC3BC4-0DE3-F617-D31A-89BB79089973}"/>
            </ac:picMkLst>
          </pc:picChg>
          <pc:picChg chg="mod">
            <ac:chgData name="Bullinger, Marvin" userId="5b54ce5a-dc89-476f-af33-5abd75d5b1e8" providerId="ADAL" clId="{265A6489-94A2-4E64-A25F-E64F69B0C2C1}" dt="2024-03-06T14:07:42.415" v="5458" actId="1076"/>
            <ac:picMkLst>
              <pc:docMk/>
              <pc:sldMasterMk cId="2846167297" sldId="2147483677"/>
              <pc:sldLayoutMk cId="816259686" sldId="2147483701"/>
              <ac:picMk id="77" creationId="{D3DB975A-CF9E-4989-8391-5B4E38D67ADB}"/>
            </ac:picMkLst>
          </pc:picChg>
          <pc:picChg chg="add mod">
            <ac:chgData name="Bullinger, Marvin" userId="5b54ce5a-dc89-476f-af33-5abd75d5b1e8" providerId="ADAL" clId="{265A6489-94A2-4E64-A25F-E64F69B0C2C1}" dt="2024-03-06T14:07:35.392" v="5457" actId="1076"/>
            <ac:picMkLst>
              <pc:docMk/>
              <pc:sldMasterMk cId="2846167297" sldId="2147483677"/>
              <pc:sldLayoutMk cId="816259686" sldId="2147483701"/>
              <ac:picMk id="2050" creationId="{8D119E22-7AB2-DB0C-3B2F-961E76963C3D}"/>
            </ac:picMkLst>
          </pc:picChg>
        </pc:sldLayoutChg>
      </pc:sldMasterChg>
    </pc:docChg>
  </pc:docChgLst>
  <pc:docChgLst>
    <pc:chgData name="Marvin Mario Bullinger" userId="S::mmbullin@uwaterloo.ca::3bbe2cfe-6e8b-4ac1-8799-4ce6c696cdc9" providerId="AD" clId="Web-{682DE27A-35CF-7296-D9AD-D2A950032907}"/>
    <pc:docChg chg="modSld sldOrd">
      <pc:chgData name="Marvin Mario Bullinger" userId="S::mmbullin@uwaterloo.ca::3bbe2cfe-6e8b-4ac1-8799-4ce6c696cdc9" providerId="AD" clId="Web-{682DE27A-35CF-7296-D9AD-D2A950032907}" dt="2024-10-04T01:02:57.388" v="7"/>
      <pc:docMkLst>
        <pc:docMk/>
      </pc:docMkLst>
      <pc:sldChg chg="modSp">
        <pc:chgData name="Marvin Mario Bullinger" userId="S::mmbullin@uwaterloo.ca::3bbe2cfe-6e8b-4ac1-8799-4ce6c696cdc9" providerId="AD" clId="Web-{682DE27A-35CF-7296-D9AD-D2A950032907}" dt="2024-10-04T01:02:57.388" v="7"/>
        <pc:sldMkLst>
          <pc:docMk/>
          <pc:sldMk cId="326362598" sldId="579"/>
        </pc:sldMkLst>
        <pc:spChg chg="mod">
          <ac:chgData name="Marvin Mario Bullinger" userId="S::mmbullin@uwaterloo.ca::3bbe2cfe-6e8b-4ac1-8799-4ce6c696cdc9" providerId="AD" clId="Web-{682DE27A-35CF-7296-D9AD-D2A950032907}" dt="2024-10-04T01:02:45.434" v="3" actId="20577"/>
          <ac:spMkLst>
            <pc:docMk/>
            <pc:sldMk cId="326362598" sldId="579"/>
            <ac:spMk id="797" creationId="{15E76851-7824-6CAE-1D75-67C77781FE81}"/>
          </ac:spMkLst>
        </pc:spChg>
        <pc:spChg chg="mod">
          <ac:chgData name="Marvin Mario Bullinger" userId="S::mmbullin@uwaterloo.ca::3bbe2cfe-6e8b-4ac1-8799-4ce6c696cdc9" providerId="AD" clId="Web-{682DE27A-35CF-7296-D9AD-D2A950032907}" dt="2024-10-04T01:02:57.388" v="7"/>
          <ac:spMkLst>
            <pc:docMk/>
            <pc:sldMk cId="326362598" sldId="579"/>
            <ac:spMk id="800" creationId="{588C1549-2BF7-3FA9-FA2A-DF51750E4940}"/>
          </ac:spMkLst>
        </pc:spChg>
        <pc:spChg chg="mod">
          <ac:chgData name="Marvin Mario Bullinger" userId="S::mmbullin@uwaterloo.ca::3bbe2cfe-6e8b-4ac1-8799-4ce6c696cdc9" providerId="AD" clId="Web-{682DE27A-35CF-7296-D9AD-D2A950032907}" dt="2024-10-04T01:02:57.278" v="6"/>
          <ac:spMkLst>
            <pc:docMk/>
            <pc:sldMk cId="326362598" sldId="579"/>
            <ac:spMk id="803" creationId="{C03FE7D6-1184-6EFE-D49C-EB2463E02FA7}"/>
          </ac:spMkLst>
        </pc:spChg>
        <pc:spChg chg="mod">
          <ac:chgData name="Marvin Mario Bullinger" userId="S::mmbullin@uwaterloo.ca::3bbe2cfe-6e8b-4ac1-8799-4ce6c696cdc9" providerId="AD" clId="Web-{682DE27A-35CF-7296-D9AD-D2A950032907}" dt="2024-10-04T01:02:57.278" v="5"/>
          <ac:spMkLst>
            <pc:docMk/>
            <pc:sldMk cId="326362598" sldId="579"/>
            <ac:spMk id="806" creationId="{E867D275-53C9-E015-5806-61F9A9E3466D}"/>
          </ac:spMkLst>
        </pc:spChg>
        <pc:spChg chg="mod">
          <ac:chgData name="Marvin Mario Bullinger" userId="S::mmbullin@uwaterloo.ca::3bbe2cfe-6e8b-4ac1-8799-4ce6c696cdc9" providerId="AD" clId="Web-{682DE27A-35CF-7296-D9AD-D2A950032907}" dt="2024-10-04T01:02:57.263" v="4"/>
          <ac:spMkLst>
            <pc:docMk/>
            <pc:sldMk cId="326362598" sldId="579"/>
            <ac:spMk id="809" creationId="{DA767B6C-2140-5073-B2EA-5C9DEEFCA576}"/>
          </ac:spMkLst>
        </pc:spChg>
      </pc:sldChg>
      <pc:sldChg chg="ord">
        <pc:chgData name="Marvin Mario Bullinger" userId="S::mmbullin@uwaterloo.ca::3bbe2cfe-6e8b-4ac1-8799-4ce6c696cdc9" providerId="AD" clId="Web-{682DE27A-35CF-7296-D9AD-D2A950032907}" dt="2024-10-04T00:58:10.822" v="0"/>
        <pc:sldMkLst>
          <pc:docMk/>
          <pc:sldMk cId="2135841358" sldId="660"/>
        </pc:sldMkLst>
      </pc:sldChg>
    </pc:docChg>
  </pc:docChgLst>
  <pc:docChgLst>
    <pc:chgData name="Bullinger, Marvin" userId="5b54ce5a-dc89-476f-af33-5abd75d5b1e8" providerId="ADAL" clId="{08C4018F-3A3F-4258-8250-AA66CCDA44BE}"/>
    <pc:docChg chg="modSld">
      <pc:chgData name="Bullinger, Marvin" userId="5b54ce5a-dc89-476f-af33-5abd75d5b1e8" providerId="ADAL" clId="{08C4018F-3A3F-4258-8250-AA66CCDA44BE}" dt="2025-02-17T12:46:53.401" v="2" actId="20577"/>
      <pc:docMkLst>
        <pc:docMk/>
      </pc:docMkLst>
      <pc:sldChg chg="modSp mod">
        <pc:chgData name="Bullinger, Marvin" userId="5b54ce5a-dc89-476f-af33-5abd75d5b1e8" providerId="ADAL" clId="{08C4018F-3A3F-4258-8250-AA66CCDA44BE}" dt="2025-02-17T12:46:53.401" v="2" actId="20577"/>
        <pc:sldMkLst>
          <pc:docMk/>
          <pc:sldMk cId="2459506782" sldId="664"/>
        </pc:sldMkLst>
        <pc:spChg chg="mod">
          <ac:chgData name="Bullinger, Marvin" userId="5b54ce5a-dc89-476f-af33-5abd75d5b1e8" providerId="ADAL" clId="{08C4018F-3A3F-4258-8250-AA66CCDA44BE}" dt="2025-02-17T12:46:53.401" v="2" actId="20577"/>
          <ac:spMkLst>
            <pc:docMk/>
            <pc:sldMk cId="2459506782" sldId="664"/>
            <ac:spMk id="9" creationId="{D50D9609-BBD9-4FEE-3B92-0A63B6380EDC}"/>
          </ac:spMkLst>
        </pc:spChg>
      </pc:sldChg>
    </pc:docChg>
  </pc:docChgLst>
  <pc:docChgLst>
    <pc:chgData name="Bullinger, Marvin" userId="5b54ce5a-dc89-476f-af33-5abd75d5b1e8" providerId="ADAL" clId="{ACC1FB44-D32D-4647-9A24-D6B5766AFFE9}"/>
    <pc:docChg chg="undo custSel addSld delSld modSld modMainMaster modSection">
      <pc:chgData name="Bullinger, Marvin" userId="5b54ce5a-dc89-476f-af33-5abd75d5b1e8" providerId="ADAL" clId="{ACC1FB44-D32D-4647-9A24-D6B5766AFFE9}" dt="2024-10-03T16:04:52.660" v="274" actId="20577"/>
      <pc:docMkLst>
        <pc:docMk/>
      </pc:docMkLst>
      <pc:sldChg chg="del">
        <pc:chgData name="Bullinger, Marvin" userId="5b54ce5a-dc89-476f-af33-5abd75d5b1e8" providerId="ADAL" clId="{ACC1FB44-D32D-4647-9A24-D6B5766AFFE9}" dt="2024-10-03T15:55:52.705" v="38" actId="47"/>
        <pc:sldMkLst>
          <pc:docMk/>
          <pc:sldMk cId="2083976492" sldId="562"/>
        </pc:sldMkLst>
      </pc:sldChg>
      <pc:sldChg chg="addSp delSp modSp mod modNotesTx">
        <pc:chgData name="Bullinger, Marvin" userId="5b54ce5a-dc89-476f-af33-5abd75d5b1e8" providerId="ADAL" clId="{ACC1FB44-D32D-4647-9A24-D6B5766AFFE9}" dt="2024-10-03T16:00:56.411" v="174" actId="20577"/>
        <pc:sldMkLst>
          <pc:docMk/>
          <pc:sldMk cId="326362598" sldId="579"/>
        </pc:sldMkLst>
        <pc:spChg chg="mod">
          <ac:chgData name="Bullinger, Marvin" userId="5b54ce5a-dc89-476f-af33-5abd75d5b1e8" providerId="ADAL" clId="{ACC1FB44-D32D-4647-9A24-D6B5766AFFE9}" dt="2024-10-03T15:57:21.401" v="50" actId="20577"/>
          <ac:spMkLst>
            <pc:docMk/>
            <pc:sldMk cId="326362598" sldId="579"/>
            <ac:spMk id="797" creationId="{15E76851-7824-6CAE-1D75-67C77781FE81}"/>
          </ac:spMkLst>
        </pc:spChg>
        <pc:spChg chg="add del mod">
          <ac:chgData name="Bullinger, Marvin" userId="5b54ce5a-dc89-476f-af33-5abd75d5b1e8" providerId="ADAL" clId="{ACC1FB44-D32D-4647-9A24-D6B5766AFFE9}" dt="2024-10-03T15:57:19.023" v="48" actId="478"/>
          <ac:spMkLst>
            <pc:docMk/>
            <pc:sldMk cId="326362598" sldId="579"/>
            <ac:spMk id="798" creationId="{1A2D9CAD-706A-5E36-FFFD-2822F5DA7876}"/>
          </ac:spMkLst>
        </pc:spChg>
        <pc:spChg chg="mod">
          <ac:chgData name="Bullinger, Marvin" userId="5b54ce5a-dc89-476f-af33-5abd75d5b1e8" providerId="ADAL" clId="{ACC1FB44-D32D-4647-9A24-D6B5766AFFE9}" dt="2024-10-03T15:56:17.473" v="39" actId="207"/>
          <ac:spMkLst>
            <pc:docMk/>
            <pc:sldMk cId="326362598" sldId="579"/>
            <ac:spMk id="799" creationId="{E719E103-5F12-0EF7-1AD5-2C3BB4A5F8E5}"/>
          </ac:spMkLst>
        </pc:spChg>
      </pc:sldChg>
      <pc:sldChg chg="del">
        <pc:chgData name="Bullinger, Marvin" userId="5b54ce5a-dc89-476f-af33-5abd75d5b1e8" providerId="ADAL" clId="{ACC1FB44-D32D-4647-9A24-D6B5766AFFE9}" dt="2024-10-03T15:55:50.228" v="33" actId="47"/>
        <pc:sldMkLst>
          <pc:docMk/>
          <pc:sldMk cId="459806595" sldId="580"/>
        </pc:sldMkLst>
      </pc:sldChg>
      <pc:sldChg chg="del">
        <pc:chgData name="Bullinger, Marvin" userId="5b54ce5a-dc89-476f-af33-5abd75d5b1e8" providerId="ADAL" clId="{ACC1FB44-D32D-4647-9A24-D6B5766AFFE9}" dt="2024-10-03T15:55:52.269" v="37" actId="47"/>
        <pc:sldMkLst>
          <pc:docMk/>
          <pc:sldMk cId="4264639648" sldId="595"/>
        </pc:sldMkLst>
      </pc:sldChg>
      <pc:sldChg chg="del">
        <pc:chgData name="Bullinger, Marvin" userId="5b54ce5a-dc89-476f-af33-5abd75d5b1e8" providerId="ADAL" clId="{ACC1FB44-D32D-4647-9A24-D6B5766AFFE9}" dt="2024-10-03T15:55:46.382" v="26" actId="47"/>
        <pc:sldMkLst>
          <pc:docMk/>
          <pc:sldMk cId="1803820397" sldId="604"/>
        </pc:sldMkLst>
      </pc:sldChg>
      <pc:sldChg chg="del">
        <pc:chgData name="Bullinger, Marvin" userId="5b54ce5a-dc89-476f-af33-5abd75d5b1e8" providerId="ADAL" clId="{ACC1FB44-D32D-4647-9A24-D6B5766AFFE9}" dt="2024-10-03T15:55:44.087" v="24" actId="47"/>
        <pc:sldMkLst>
          <pc:docMk/>
          <pc:sldMk cId="1824871312" sldId="610"/>
        </pc:sldMkLst>
      </pc:sldChg>
      <pc:sldChg chg="del">
        <pc:chgData name="Bullinger, Marvin" userId="5b54ce5a-dc89-476f-af33-5abd75d5b1e8" providerId="ADAL" clId="{ACC1FB44-D32D-4647-9A24-D6B5766AFFE9}" dt="2024-10-03T15:55:50.710" v="34" actId="47"/>
        <pc:sldMkLst>
          <pc:docMk/>
          <pc:sldMk cId="4234233811" sldId="611"/>
        </pc:sldMkLst>
      </pc:sldChg>
      <pc:sldChg chg="modSp mod">
        <pc:chgData name="Bullinger, Marvin" userId="5b54ce5a-dc89-476f-af33-5abd75d5b1e8" providerId="ADAL" clId="{ACC1FB44-D32D-4647-9A24-D6B5766AFFE9}" dt="2024-10-03T16:04:52.660" v="274" actId="20577"/>
        <pc:sldMkLst>
          <pc:docMk/>
          <pc:sldMk cId="3672594058" sldId="614"/>
        </pc:sldMkLst>
        <pc:spChg chg="mod">
          <ac:chgData name="Bullinger, Marvin" userId="5b54ce5a-dc89-476f-af33-5abd75d5b1e8" providerId="ADAL" clId="{ACC1FB44-D32D-4647-9A24-D6B5766AFFE9}" dt="2024-10-03T16:01:00.308" v="181" actId="20577"/>
          <ac:spMkLst>
            <pc:docMk/>
            <pc:sldMk cId="3672594058" sldId="614"/>
            <ac:spMk id="2" creationId="{1375951E-5070-F90A-F014-C6A305745F0F}"/>
          </ac:spMkLst>
        </pc:spChg>
        <pc:spChg chg="mod">
          <ac:chgData name="Bullinger, Marvin" userId="5b54ce5a-dc89-476f-af33-5abd75d5b1e8" providerId="ADAL" clId="{ACC1FB44-D32D-4647-9A24-D6B5766AFFE9}" dt="2024-10-03T16:04:52.660" v="274" actId="20577"/>
          <ac:spMkLst>
            <pc:docMk/>
            <pc:sldMk cId="3672594058" sldId="614"/>
            <ac:spMk id="7" creationId="{5DE4F6DB-C440-EC24-85B8-A011106C3056}"/>
          </ac:spMkLst>
        </pc:spChg>
      </pc:sldChg>
      <pc:sldChg chg="del modNotesTx">
        <pc:chgData name="Bullinger, Marvin" userId="5b54ce5a-dc89-476f-af33-5abd75d5b1e8" providerId="ADAL" clId="{ACC1FB44-D32D-4647-9A24-D6B5766AFFE9}" dt="2024-10-03T15:55:16.912" v="20" actId="47"/>
        <pc:sldMkLst>
          <pc:docMk/>
          <pc:sldMk cId="4285173817" sldId="615"/>
        </pc:sldMkLst>
      </pc:sldChg>
      <pc:sldChg chg="del">
        <pc:chgData name="Bullinger, Marvin" userId="5b54ce5a-dc89-476f-af33-5abd75d5b1e8" providerId="ADAL" clId="{ACC1FB44-D32D-4647-9A24-D6B5766AFFE9}" dt="2024-10-03T15:55:05.664" v="18" actId="47"/>
        <pc:sldMkLst>
          <pc:docMk/>
          <pc:sldMk cId="1664074779" sldId="617"/>
        </pc:sldMkLst>
      </pc:sldChg>
      <pc:sldChg chg="del">
        <pc:chgData name="Bullinger, Marvin" userId="5b54ce5a-dc89-476f-af33-5abd75d5b1e8" providerId="ADAL" clId="{ACC1FB44-D32D-4647-9A24-D6B5766AFFE9}" dt="2024-10-03T15:55:46.944" v="27" actId="47"/>
        <pc:sldMkLst>
          <pc:docMk/>
          <pc:sldMk cId="4108023729" sldId="630"/>
        </pc:sldMkLst>
      </pc:sldChg>
      <pc:sldChg chg="del">
        <pc:chgData name="Bullinger, Marvin" userId="5b54ce5a-dc89-476f-af33-5abd75d5b1e8" providerId="ADAL" clId="{ACC1FB44-D32D-4647-9A24-D6B5766AFFE9}" dt="2024-10-03T15:55:45.660" v="25" actId="47"/>
        <pc:sldMkLst>
          <pc:docMk/>
          <pc:sldMk cId="1134739054" sldId="631"/>
        </pc:sldMkLst>
      </pc:sldChg>
      <pc:sldChg chg="del">
        <pc:chgData name="Bullinger, Marvin" userId="5b54ce5a-dc89-476f-af33-5abd75d5b1e8" providerId="ADAL" clId="{ACC1FB44-D32D-4647-9A24-D6B5766AFFE9}" dt="2024-10-03T15:55:48.056" v="29" actId="47"/>
        <pc:sldMkLst>
          <pc:docMk/>
          <pc:sldMk cId="3197800461" sldId="632"/>
        </pc:sldMkLst>
      </pc:sldChg>
      <pc:sldChg chg="del">
        <pc:chgData name="Bullinger, Marvin" userId="5b54ce5a-dc89-476f-af33-5abd75d5b1e8" providerId="ADAL" clId="{ACC1FB44-D32D-4647-9A24-D6B5766AFFE9}" dt="2024-10-03T15:55:48.608" v="30" actId="47"/>
        <pc:sldMkLst>
          <pc:docMk/>
          <pc:sldMk cId="2950531154" sldId="633"/>
        </pc:sldMkLst>
      </pc:sldChg>
      <pc:sldChg chg="del">
        <pc:chgData name="Bullinger, Marvin" userId="5b54ce5a-dc89-476f-af33-5abd75d5b1e8" providerId="ADAL" clId="{ACC1FB44-D32D-4647-9A24-D6B5766AFFE9}" dt="2024-10-03T15:55:49.131" v="31" actId="47"/>
        <pc:sldMkLst>
          <pc:docMk/>
          <pc:sldMk cId="1385473652" sldId="635"/>
        </pc:sldMkLst>
      </pc:sldChg>
      <pc:sldChg chg="del">
        <pc:chgData name="Bullinger, Marvin" userId="5b54ce5a-dc89-476f-af33-5abd75d5b1e8" providerId="ADAL" clId="{ACC1FB44-D32D-4647-9A24-D6B5766AFFE9}" dt="2024-10-03T15:55:49.735" v="32" actId="47"/>
        <pc:sldMkLst>
          <pc:docMk/>
          <pc:sldMk cId="2673565317" sldId="636"/>
        </pc:sldMkLst>
      </pc:sldChg>
      <pc:sldChg chg="del">
        <pc:chgData name="Bullinger, Marvin" userId="5b54ce5a-dc89-476f-af33-5abd75d5b1e8" providerId="ADAL" clId="{ACC1FB44-D32D-4647-9A24-D6B5766AFFE9}" dt="2024-10-03T15:55:05.664" v="18" actId="47"/>
        <pc:sldMkLst>
          <pc:docMk/>
          <pc:sldMk cId="2266583018" sldId="637"/>
        </pc:sldMkLst>
      </pc:sldChg>
      <pc:sldChg chg="del">
        <pc:chgData name="Bullinger, Marvin" userId="5b54ce5a-dc89-476f-af33-5abd75d5b1e8" providerId="ADAL" clId="{ACC1FB44-D32D-4647-9A24-D6B5766AFFE9}" dt="2024-10-03T15:55:51.201" v="35" actId="47"/>
        <pc:sldMkLst>
          <pc:docMk/>
          <pc:sldMk cId="1262355509" sldId="643"/>
        </pc:sldMkLst>
      </pc:sldChg>
      <pc:sldChg chg="del">
        <pc:chgData name="Bullinger, Marvin" userId="5b54ce5a-dc89-476f-af33-5abd75d5b1e8" providerId="ADAL" clId="{ACC1FB44-D32D-4647-9A24-D6B5766AFFE9}" dt="2024-10-03T15:55:51.739" v="36" actId="47"/>
        <pc:sldMkLst>
          <pc:docMk/>
          <pc:sldMk cId="2186703549" sldId="648"/>
        </pc:sldMkLst>
      </pc:sldChg>
      <pc:sldChg chg="del">
        <pc:chgData name="Bullinger, Marvin" userId="5b54ce5a-dc89-476f-af33-5abd75d5b1e8" providerId="ADAL" clId="{ACC1FB44-D32D-4647-9A24-D6B5766AFFE9}" dt="2024-10-03T15:55:47.509" v="28" actId="47"/>
        <pc:sldMkLst>
          <pc:docMk/>
          <pc:sldMk cId="3159847066" sldId="649"/>
        </pc:sldMkLst>
      </pc:sldChg>
      <pc:sldChg chg="addSp delSp modSp mod">
        <pc:chgData name="Bullinger, Marvin" userId="5b54ce5a-dc89-476f-af33-5abd75d5b1e8" providerId="ADAL" clId="{ACC1FB44-D32D-4647-9A24-D6B5766AFFE9}" dt="2024-10-03T16:00:41.284" v="173" actId="20577"/>
        <pc:sldMkLst>
          <pc:docMk/>
          <pc:sldMk cId="211836646" sldId="650"/>
        </pc:sldMkLst>
        <pc:spChg chg="mod">
          <ac:chgData name="Bullinger, Marvin" userId="5b54ce5a-dc89-476f-af33-5abd75d5b1e8" providerId="ADAL" clId="{ACC1FB44-D32D-4647-9A24-D6B5766AFFE9}" dt="2024-10-03T16:00:41.284" v="173" actId="20577"/>
          <ac:spMkLst>
            <pc:docMk/>
            <pc:sldMk cId="211836646" sldId="650"/>
            <ac:spMk id="2" creationId="{8842ABB3-4462-FB59-3FE4-F70DFD35C7F6}"/>
          </ac:spMkLst>
        </pc:spChg>
        <pc:spChg chg="mod">
          <ac:chgData name="Bullinger, Marvin" userId="5b54ce5a-dc89-476f-af33-5abd75d5b1e8" providerId="ADAL" clId="{ACC1FB44-D32D-4647-9A24-D6B5766AFFE9}" dt="2024-10-03T15:58:00.019" v="58" actId="20577"/>
          <ac:spMkLst>
            <pc:docMk/>
            <pc:sldMk cId="211836646" sldId="650"/>
            <ac:spMk id="3" creationId="{5FCBC0D3-34F1-52A4-377C-1713CC7AB288}"/>
          </ac:spMkLst>
        </pc:spChg>
        <pc:spChg chg="mod">
          <ac:chgData name="Bullinger, Marvin" userId="5b54ce5a-dc89-476f-af33-5abd75d5b1e8" providerId="ADAL" clId="{ACC1FB44-D32D-4647-9A24-D6B5766AFFE9}" dt="2024-10-03T15:58:48.012" v="128" actId="20577"/>
          <ac:spMkLst>
            <pc:docMk/>
            <pc:sldMk cId="211836646" sldId="650"/>
            <ac:spMk id="4" creationId="{02B30669-3C5B-FADB-B285-37421890FCA9}"/>
          </ac:spMkLst>
        </pc:spChg>
        <pc:spChg chg="del">
          <ac:chgData name="Bullinger, Marvin" userId="5b54ce5a-dc89-476f-af33-5abd75d5b1e8" providerId="ADAL" clId="{ACC1FB44-D32D-4647-9A24-D6B5766AFFE9}" dt="2024-10-03T15:58:22.788" v="88" actId="478"/>
          <ac:spMkLst>
            <pc:docMk/>
            <pc:sldMk cId="211836646" sldId="650"/>
            <ac:spMk id="5" creationId="{3485DE04-5F83-8CDD-60A6-879B9607D300}"/>
          </ac:spMkLst>
        </pc:spChg>
        <pc:spChg chg="mod">
          <ac:chgData name="Bullinger, Marvin" userId="5b54ce5a-dc89-476f-af33-5abd75d5b1e8" providerId="ADAL" clId="{ACC1FB44-D32D-4647-9A24-D6B5766AFFE9}" dt="2024-10-03T15:59:32.546" v="146" actId="20577"/>
          <ac:spMkLst>
            <pc:docMk/>
            <pc:sldMk cId="211836646" sldId="650"/>
            <ac:spMk id="7" creationId="{EE481F00-18AD-41DB-A39A-CB4F0E12C694}"/>
          </ac:spMkLst>
        </pc:spChg>
        <pc:spChg chg="add del mod">
          <ac:chgData name="Bullinger, Marvin" userId="5b54ce5a-dc89-476f-af33-5abd75d5b1e8" providerId="ADAL" clId="{ACC1FB44-D32D-4647-9A24-D6B5766AFFE9}" dt="2024-10-03T15:58:24.562" v="89" actId="478"/>
          <ac:spMkLst>
            <pc:docMk/>
            <pc:sldMk cId="211836646" sldId="650"/>
            <ac:spMk id="9" creationId="{634D08F4-D492-AFB3-4F43-78229944CF75}"/>
          </ac:spMkLst>
        </pc:spChg>
      </pc:sldChg>
      <pc:sldChg chg="new del">
        <pc:chgData name="Bullinger, Marvin" userId="5b54ce5a-dc89-476f-af33-5abd75d5b1e8" providerId="ADAL" clId="{ACC1FB44-D32D-4647-9A24-D6B5766AFFE9}" dt="2024-10-03T16:04:28.076" v="266" actId="47"/>
        <pc:sldMkLst>
          <pc:docMk/>
          <pc:sldMk cId="528452379" sldId="651"/>
        </pc:sldMkLst>
      </pc:sldChg>
      <pc:sldChg chg="addSp delSp modSp new mod modClrScheme chgLayout">
        <pc:chgData name="Bullinger, Marvin" userId="5b54ce5a-dc89-476f-af33-5abd75d5b1e8" providerId="ADAL" clId="{ACC1FB44-D32D-4647-9A24-D6B5766AFFE9}" dt="2024-10-03T16:04:38.123" v="268" actId="700"/>
        <pc:sldMkLst>
          <pc:docMk/>
          <pc:sldMk cId="1533146030" sldId="651"/>
        </pc:sldMkLst>
        <pc:spChg chg="del">
          <ac:chgData name="Bullinger, Marvin" userId="5b54ce5a-dc89-476f-af33-5abd75d5b1e8" providerId="ADAL" clId="{ACC1FB44-D32D-4647-9A24-D6B5766AFFE9}" dt="2024-10-03T16:04:38.123" v="268" actId="700"/>
          <ac:spMkLst>
            <pc:docMk/>
            <pc:sldMk cId="1533146030" sldId="651"/>
            <ac:spMk id="2" creationId="{F6B89245-D89F-3C43-153B-F34FEA257301}"/>
          </ac:spMkLst>
        </pc:spChg>
        <pc:spChg chg="del">
          <ac:chgData name="Bullinger, Marvin" userId="5b54ce5a-dc89-476f-af33-5abd75d5b1e8" providerId="ADAL" clId="{ACC1FB44-D32D-4647-9A24-D6B5766AFFE9}" dt="2024-10-03T16:04:38.123" v="268" actId="700"/>
          <ac:spMkLst>
            <pc:docMk/>
            <pc:sldMk cId="1533146030" sldId="651"/>
            <ac:spMk id="3" creationId="{43408A5A-9142-696E-FBE8-37553D6D4EA6}"/>
          </ac:spMkLst>
        </pc:spChg>
        <pc:spChg chg="del">
          <ac:chgData name="Bullinger, Marvin" userId="5b54ce5a-dc89-476f-af33-5abd75d5b1e8" providerId="ADAL" clId="{ACC1FB44-D32D-4647-9A24-D6B5766AFFE9}" dt="2024-10-03T16:04:38.123" v="268" actId="700"/>
          <ac:spMkLst>
            <pc:docMk/>
            <pc:sldMk cId="1533146030" sldId="651"/>
            <ac:spMk id="4" creationId="{1DA927C1-7A80-3502-1519-5F7F64A1DEE5}"/>
          </ac:spMkLst>
        </pc:spChg>
        <pc:spChg chg="del">
          <ac:chgData name="Bullinger, Marvin" userId="5b54ce5a-dc89-476f-af33-5abd75d5b1e8" providerId="ADAL" clId="{ACC1FB44-D32D-4647-9A24-D6B5766AFFE9}" dt="2024-10-03T16:04:38.123" v="268" actId="700"/>
          <ac:spMkLst>
            <pc:docMk/>
            <pc:sldMk cId="1533146030" sldId="651"/>
            <ac:spMk id="5" creationId="{104F985B-CE37-D8A8-3386-D3F28969E8C7}"/>
          </ac:spMkLst>
        </pc:spChg>
        <pc:spChg chg="del">
          <ac:chgData name="Bullinger, Marvin" userId="5b54ce5a-dc89-476f-af33-5abd75d5b1e8" providerId="ADAL" clId="{ACC1FB44-D32D-4647-9A24-D6B5766AFFE9}" dt="2024-10-03T16:04:38.123" v="268" actId="700"/>
          <ac:spMkLst>
            <pc:docMk/>
            <pc:sldMk cId="1533146030" sldId="651"/>
            <ac:spMk id="6" creationId="{41FF5DF8-9079-C47F-7C3E-7B1E46D52818}"/>
          </ac:spMkLst>
        </pc:spChg>
        <pc:spChg chg="del">
          <ac:chgData name="Bullinger, Marvin" userId="5b54ce5a-dc89-476f-af33-5abd75d5b1e8" providerId="ADAL" clId="{ACC1FB44-D32D-4647-9A24-D6B5766AFFE9}" dt="2024-10-03T16:04:38.123" v="268" actId="700"/>
          <ac:spMkLst>
            <pc:docMk/>
            <pc:sldMk cId="1533146030" sldId="651"/>
            <ac:spMk id="7" creationId="{9257DEC6-0FE3-E068-BD29-ECC79EECF3FB}"/>
          </ac:spMkLst>
        </pc:spChg>
        <pc:spChg chg="del">
          <ac:chgData name="Bullinger, Marvin" userId="5b54ce5a-dc89-476f-af33-5abd75d5b1e8" providerId="ADAL" clId="{ACC1FB44-D32D-4647-9A24-D6B5766AFFE9}" dt="2024-10-03T16:04:38.123" v="268" actId="700"/>
          <ac:spMkLst>
            <pc:docMk/>
            <pc:sldMk cId="1533146030" sldId="651"/>
            <ac:spMk id="8" creationId="{7444491B-DC0D-6EBF-15FA-D4E70C1895FD}"/>
          </ac:spMkLst>
        </pc:spChg>
        <pc:spChg chg="del">
          <ac:chgData name="Bullinger, Marvin" userId="5b54ce5a-dc89-476f-af33-5abd75d5b1e8" providerId="ADAL" clId="{ACC1FB44-D32D-4647-9A24-D6B5766AFFE9}" dt="2024-10-03T16:04:38.123" v="268" actId="700"/>
          <ac:spMkLst>
            <pc:docMk/>
            <pc:sldMk cId="1533146030" sldId="651"/>
            <ac:spMk id="9" creationId="{3EDB9C2F-04E4-FE35-0AB3-53914267340B}"/>
          </ac:spMkLst>
        </pc:spChg>
        <pc:spChg chg="del mod ord">
          <ac:chgData name="Bullinger, Marvin" userId="5b54ce5a-dc89-476f-af33-5abd75d5b1e8" providerId="ADAL" clId="{ACC1FB44-D32D-4647-9A24-D6B5766AFFE9}" dt="2024-10-03T16:04:38.123" v="268" actId="700"/>
          <ac:spMkLst>
            <pc:docMk/>
            <pc:sldMk cId="1533146030" sldId="651"/>
            <ac:spMk id="10" creationId="{35FF4A24-5FA2-BB80-B798-E2C8459F6C5A}"/>
          </ac:spMkLst>
        </pc:spChg>
        <pc:spChg chg="del mod ord">
          <ac:chgData name="Bullinger, Marvin" userId="5b54ce5a-dc89-476f-af33-5abd75d5b1e8" providerId="ADAL" clId="{ACC1FB44-D32D-4647-9A24-D6B5766AFFE9}" dt="2024-10-03T16:04:38.123" v="268" actId="700"/>
          <ac:spMkLst>
            <pc:docMk/>
            <pc:sldMk cId="1533146030" sldId="651"/>
            <ac:spMk id="11" creationId="{50D52E0C-CD34-D93E-5510-E06EAFFBB9F0}"/>
          </ac:spMkLst>
        </pc:spChg>
        <pc:spChg chg="del">
          <ac:chgData name="Bullinger, Marvin" userId="5b54ce5a-dc89-476f-af33-5abd75d5b1e8" providerId="ADAL" clId="{ACC1FB44-D32D-4647-9A24-D6B5766AFFE9}" dt="2024-10-03T16:04:38.123" v="268" actId="700"/>
          <ac:spMkLst>
            <pc:docMk/>
            <pc:sldMk cId="1533146030" sldId="651"/>
            <ac:spMk id="12" creationId="{CAEF7095-8D10-526C-42BE-52248AC953AE}"/>
          </ac:spMkLst>
        </pc:spChg>
        <pc:spChg chg="del">
          <ac:chgData name="Bullinger, Marvin" userId="5b54ce5a-dc89-476f-af33-5abd75d5b1e8" providerId="ADAL" clId="{ACC1FB44-D32D-4647-9A24-D6B5766AFFE9}" dt="2024-10-03T16:04:38.123" v="268" actId="700"/>
          <ac:spMkLst>
            <pc:docMk/>
            <pc:sldMk cId="1533146030" sldId="651"/>
            <ac:spMk id="13" creationId="{B6F6E306-9524-8D35-97B8-A07AB3014863}"/>
          </ac:spMkLst>
        </pc:spChg>
        <pc:spChg chg="del">
          <ac:chgData name="Bullinger, Marvin" userId="5b54ce5a-dc89-476f-af33-5abd75d5b1e8" providerId="ADAL" clId="{ACC1FB44-D32D-4647-9A24-D6B5766AFFE9}" dt="2024-10-03T16:04:38.123" v="268" actId="700"/>
          <ac:spMkLst>
            <pc:docMk/>
            <pc:sldMk cId="1533146030" sldId="651"/>
            <ac:spMk id="14" creationId="{6ED07F27-46B2-3048-4FA7-BF37AEC69A2A}"/>
          </ac:spMkLst>
        </pc:spChg>
        <pc:spChg chg="del">
          <ac:chgData name="Bullinger, Marvin" userId="5b54ce5a-dc89-476f-af33-5abd75d5b1e8" providerId="ADAL" clId="{ACC1FB44-D32D-4647-9A24-D6B5766AFFE9}" dt="2024-10-03T16:04:38.123" v="268" actId="700"/>
          <ac:spMkLst>
            <pc:docMk/>
            <pc:sldMk cId="1533146030" sldId="651"/>
            <ac:spMk id="15" creationId="{0D97706D-AD29-6089-E3A4-5AABA967A9EA}"/>
          </ac:spMkLst>
        </pc:spChg>
        <pc:spChg chg="del">
          <ac:chgData name="Bullinger, Marvin" userId="5b54ce5a-dc89-476f-af33-5abd75d5b1e8" providerId="ADAL" clId="{ACC1FB44-D32D-4647-9A24-D6B5766AFFE9}" dt="2024-10-03T16:04:38.123" v="268" actId="700"/>
          <ac:spMkLst>
            <pc:docMk/>
            <pc:sldMk cId="1533146030" sldId="651"/>
            <ac:spMk id="16" creationId="{D4F0C16E-60B9-6715-0EEC-9772F5EE9DC1}"/>
          </ac:spMkLst>
        </pc:spChg>
        <pc:spChg chg="del mod ord">
          <ac:chgData name="Bullinger, Marvin" userId="5b54ce5a-dc89-476f-af33-5abd75d5b1e8" providerId="ADAL" clId="{ACC1FB44-D32D-4647-9A24-D6B5766AFFE9}" dt="2024-10-03T16:04:38.123" v="268" actId="700"/>
          <ac:spMkLst>
            <pc:docMk/>
            <pc:sldMk cId="1533146030" sldId="651"/>
            <ac:spMk id="17" creationId="{3A951BC3-C8A5-F8F7-6876-B58996D51F08}"/>
          </ac:spMkLst>
        </pc:spChg>
        <pc:spChg chg="del">
          <ac:chgData name="Bullinger, Marvin" userId="5b54ce5a-dc89-476f-af33-5abd75d5b1e8" providerId="ADAL" clId="{ACC1FB44-D32D-4647-9A24-D6B5766AFFE9}" dt="2024-10-03T16:04:38.123" v="268" actId="700"/>
          <ac:spMkLst>
            <pc:docMk/>
            <pc:sldMk cId="1533146030" sldId="651"/>
            <ac:spMk id="18" creationId="{BCD130FB-9CF5-6C1D-648A-970F0B538744}"/>
          </ac:spMkLst>
        </pc:spChg>
        <pc:spChg chg="del">
          <ac:chgData name="Bullinger, Marvin" userId="5b54ce5a-dc89-476f-af33-5abd75d5b1e8" providerId="ADAL" clId="{ACC1FB44-D32D-4647-9A24-D6B5766AFFE9}" dt="2024-10-03T16:04:38.123" v="268" actId="700"/>
          <ac:spMkLst>
            <pc:docMk/>
            <pc:sldMk cId="1533146030" sldId="651"/>
            <ac:spMk id="19" creationId="{1E311156-D104-B664-401F-11573C6F504F}"/>
          </ac:spMkLst>
        </pc:spChg>
        <pc:spChg chg="del">
          <ac:chgData name="Bullinger, Marvin" userId="5b54ce5a-dc89-476f-af33-5abd75d5b1e8" providerId="ADAL" clId="{ACC1FB44-D32D-4647-9A24-D6B5766AFFE9}" dt="2024-10-03T16:04:38.123" v="268" actId="700"/>
          <ac:spMkLst>
            <pc:docMk/>
            <pc:sldMk cId="1533146030" sldId="651"/>
            <ac:spMk id="20" creationId="{64AC35E5-A297-98DF-305A-D25A4AC17AA0}"/>
          </ac:spMkLst>
        </pc:spChg>
        <pc:spChg chg="del">
          <ac:chgData name="Bullinger, Marvin" userId="5b54ce5a-dc89-476f-af33-5abd75d5b1e8" providerId="ADAL" clId="{ACC1FB44-D32D-4647-9A24-D6B5766AFFE9}" dt="2024-10-03T16:04:38.123" v="268" actId="700"/>
          <ac:spMkLst>
            <pc:docMk/>
            <pc:sldMk cId="1533146030" sldId="651"/>
            <ac:spMk id="21" creationId="{12230DCA-BE7D-76CB-D6CC-BD167B9C8CC6}"/>
          </ac:spMkLst>
        </pc:spChg>
        <pc:spChg chg="del">
          <ac:chgData name="Bullinger, Marvin" userId="5b54ce5a-dc89-476f-af33-5abd75d5b1e8" providerId="ADAL" clId="{ACC1FB44-D32D-4647-9A24-D6B5766AFFE9}" dt="2024-10-03T16:04:38.123" v="268" actId="700"/>
          <ac:spMkLst>
            <pc:docMk/>
            <pc:sldMk cId="1533146030" sldId="651"/>
            <ac:spMk id="22" creationId="{AB64A977-B41D-0369-5ADA-DF1A5F7A30F2}"/>
          </ac:spMkLst>
        </pc:spChg>
        <pc:spChg chg="del">
          <ac:chgData name="Bullinger, Marvin" userId="5b54ce5a-dc89-476f-af33-5abd75d5b1e8" providerId="ADAL" clId="{ACC1FB44-D32D-4647-9A24-D6B5766AFFE9}" dt="2024-10-03T16:04:38.123" v="268" actId="700"/>
          <ac:spMkLst>
            <pc:docMk/>
            <pc:sldMk cId="1533146030" sldId="651"/>
            <ac:spMk id="23" creationId="{3291E017-F500-92C8-134D-C9452B2474EA}"/>
          </ac:spMkLst>
        </pc:spChg>
        <pc:spChg chg="del">
          <ac:chgData name="Bullinger, Marvin" userId="5b54ce5a-dc89-476f-af33-5abd75d5b1e8" providerId="ADAL" clId="{ACC1FB44-D32D-4647-9A24-D6B5766AFFE9}" dt="2024-10-03T16:04:38.123" v="268" actId="700"/>
          <ac:spMkLst>
            <pc:docMk/>
            <pc:sldMk cId="1533146030" sldId="651"/>
            <ac:spMk id="24" creationId="{EFFFD914-D31A-7967-954B-5D8EAAC19D24}"/>
          </ac:spMkLst>
        </pc:spChg>
        <pc:spChg chg="del">
          <ac:chgData name="Bullinger, Marvin" userId="5b54ce5a-dc89-476f-af33-5abd75d5b1e8" providerId="ADAL" clId="{ACC1FB44-D32D-4647-9A24-D6B5766AFFE9}" dt="2024-10-03T16:04:38.123" v="268" actId="700"/>
          <ac:spMkLst>
            <pc:docMk/>
            <pc:sldMk cId="1533146030" sldId="651"/>
            <ac:spMk id="25" creationId="{2DE4306F-F11B-5D3E-F370-31A916968D39}"/>
          </ac:spMkLst>
        </pc:spChg>
        <pc:spChg chg="mod ord">
          <ac:chgData name="Bullinger, Marvin" userId="5b54ce5a-dc89-476f-af33-5abd75d5b1e8" providerId="ADAL" clId="{ACC1FB44-D32D-4647-9A24-D6B5766AFFE9}" dt="2024-10-03T16:04:38.123" v="268" actId="700"/>
          <ac:spMkLst>
            <pc:docMk/>
            <pc:sldMk cId="1533146030" sldId="651"/>
            <ac:spMk id="26" creationId="{EC389C4C-2368-E86A-CAB7-B8B0A6A2E946}"/>
          </ac:spMkLst>
        </pc:spChg>
        <pc:spChg chg="mod ord">
          <ac:chgData name="Bullinger, Marvin" userId="5b54ce5a-dc89-476f-af33-5abd75d5b1e8" providerId="ADAL" clId="{ACC1FB44-D32D-4647-9A24-D6B5766AFFE9}" dt="2024-10-03T16:04:38.123" v="268" actId="700"/>
          <ac:spMkLst>
            <pc:docMk/>
            <pc:sldMk cId="1533146030" sldId="651"/>
            <ac:spMk id="27" creationId="{6ACF39F5-C145-B30E-6FE5-364D7828441D}"/>
          </ac:spMkLst>
        </pc:spChg>
        <pc:spChg chg="del">
          <ac:chgData name="Bullinger, Marvin" userId="5b54ce5a-dc89-476f-af33-5abd75d5b1e8" providerId="ADAL" clId="{ACC1FB44-D32D-4647-9A24-D6B5766AFFE9}" dt="2024-10-03T16:04:38.123" v="268" actId="700"/>
          <ac:spMkLst>
            <pc:docMk/>
            <pc:sldMk cId="1533146030" sldId="651"/>
            <ac:spMk id="28" creationId="{48036B29-BE27-3A55-8FAA-F645A582F51B}"/>
          </ac:spMkLst>
        </pc:spChg>
        <pc:spChg chg="del">
          <ac:chgData name="Bullinger, Marvin" userId="5b54ce5a-dc89-476f-af33-5abd75d5b1e8" providerId="ADAL" clId="{ACC1FB44-D32D-4647-9A24-D6B5766AFFE9}" dt="2024-10-03T16:04:38.123" v="268" actId="700"/>
          <ac:spMkLst>
            <pc:docMk/>
            <pc:sldMk cId="1533146030" sldId="651"/>
            <ac:spMk id="29" creationId="{AA47AB35-3C18-84AC-55FD-7B24B35EBD61}"/>
          </ac:spMkLst>
        </pc:spChg>
        <pc:spChg chg="del">
          <ac:chgData name="Bullinger, Marvin" userId="5b54ce5a-dc89-476f-af33-5abd75d5b1e8" providerId="ADAL" clId="{ACC1FB44-D32D-4647-9A24-D6B5766AFFE9}" dt="2024-10-03T16:04:38.123" v="268" actId="700"/>
          <ac:spMkLst>
            <pc:docMk/>
            <pc:sldMk cId="1533146030" sldId="651"/>
            <ac:spMk id="30" creationId="{F2FAFFCF-870C-7A10-6228-31527681397A}"/>
          </ac:spMkLst>
        </pc:spChg>
        <pc:spChg chg="del">
          <ac:chgData name="Bullinger, Marvin" userId="5b54ce5a-dc89-476f-af33-5abd75d5b1e8" providerId="ADAL" clId="{ACC1FB44-D32D-4647-9A24-D6B5766AFFE9}" dt="2024-10-03T16:04:38.123" v="268" actId="700"/>
          <ac:spMkLst>
            <pc:docMk/>
            <pc:sldMk cId="1533146030" sldId="651"/>
            <ac:spMk id="31" creationId="{B8960115-4338-9B50-986F-C9C10881B380}"/>
          </ac:spMkLst>
        </pc:spChg>
        <pc:spChg chg="del">
          <ac:chgData name="Bullinger, Marvin" userId="5b54ce5a-dc89-476f-af33-5abd75d5b1e8" providerId="ADAL" clId="{ACC1FB44-D32D-4647-9A24-D6B5766AFFE9}" dt="2024-10-03T16:04:38.123" v="268" actId="700"/>
          <ac:spMkLst>
            <pc:docMk/>
            <pc:sldMk cId="1533146030" sldId="651"/>
            <ac:spMk id="32" creationId="{D0023147-AC05-8F09-BCD6-F501B6B9AE4B}"/>
          </ac:spMkLst>
        </pc:spChg>
        <pc:spChg chg="del">
          <ac:chgData name="Bullinger, Marvin" userId="5b54ce5a-dc89-476f-af33-5abd75d5b1e8" providerId="ADAL" clId="{ACC1FB44-D32D-4647-9A24-D6B5766AFFE9}" dt="2024-10-03T16:04:38.123" v="268" actId="700"/>
          <ac:spMkLst>
            <pc:docMk/>
            <pc:sldMk cId="1533146030" sldId="651"/>
            <ac:spMk id="33" creationId="{D82790F5-3879-D5C8-68F9-FB60C9D4EDBF}"/>
          </ac:spMkLst>
        </pc:spChg>
        <pc:spChg chg="del">
          <ac:chgData name="Bullinger, Marvin" userId="5b54ce5a-dc89-476f-af33-5abd75d5b1e8" providerId="ADAL" clId="{ACC1FB44-D32D-4647-9A24-D6B5766AFFE9}" dt="2024-10-03T16:04:38.123" v="268" actId="700"/>
          <ac:spMkLst>
            <pc:docMk/>
            <pc:sldMk cId="1533146030" sldId="651"/>
            <ac:spMk id="34" creationId="{F9A13486-CB14-CBC9-591D-440E2CF0B076}"/>
          </ac:spMkLst>
        </pc:spChg>
        <pc:spChg chg="del">
          <ac:chgData name="Bullinger, Marvin" userId="5b54ce5a-dc89-476f-af33-5abd75d5b1e8" providerId="ADAL" clId="{ACC1FB44-D32D-4647-9A24-D6B5766AFFE9}" dt="2024-10-03T16:04:38.123" v="268" actId="700"/>
          <ac:spMkLst>
            <pc:docMk/>
            <pc:sldMk cId="1533146030" sldId="651"/>
            <ac:spMk id="35" creationId="{6E3FBF7A-6909-4402-4037-658B62346F0A}"/>
          </ac:spMkLst>
        </pc:spChg>
        <pc:spChg chg="del">
          <ac:chgData name="Bullinger, Marvin" userId="5b54ce5a-dc89-476f-af33-5abd75d5b1e8" providerId="ADAL" clId="{ACC1FB44-D32D-4647-9A24-D6B5766AFFE9}" dt="2024-10-03T16:04:38.123" v="268" actId="700"/>
          <ac:spMkLst>
            <pc:docMk/>
            <pc:sldMk cId="1533146030" sldId="651"/>
            <ac:spMk id="36" creationId="{358F0589-CFB2-FF84-70D7-834F86C9AE65}"/>
          </ac:spMkLst>
        </pc:spChg>
        <pc:spChg chg="del">
          <ac:chgData name="Bullinger, Marvin" userId="5b54ce5a-dc89-476f-af33-5abd75d5b1e8" providerId="ADAL" clId="{ACC1FB44-D32D-4647-9A24-D6B5766AFFE9}" dt="2024-10-03T16:04:38.123" v="268" actId="700"/>
          <ac:spMkLst>
            <pc:docMk/>
            <pc:sldMk cId="1533146030" sldId="651"/>
            <ac:spMk id="37" creationId="{58180601-67ED-7ACD-8E96-800FA3F95C76}"/>
          </ac:spMkLst>
        </pc:spChg>
        <pc:spChg chg="del">
          <ac:chgData name="Bullinger, Marvin" userId="5b54ce5a-dc89-476f-af33-5abd75d5b1e8" providerId="ADAL" clId="{ACC1FB44-D32D-4647-9A24-D6B5766AFFE9}" dt="2024-10-03T16:04:38.123" v="268" actId="700"/>
          <ac:spMkLst>
            <pc:docMk/>
            <pc:sldMk cId="1533146030" sldId="651"/>
            <ac:spMk id="38" creationId="{09F873DF-36AD-CBDB-F3F1-3798382D3EC7}"/>
          </ac:spMkLst>
        </pc:spChg>
        <pc:spChg chg="del">
          <ac:chgData name="Bullinger, Marvin" userId="5b54ce5a-dc89-476f-af33-5abd75d5b1e8" providerId="ADAL" clId="{ACC1FB44-D32D-4647-9A24-D6B5766AFFE9}" dt="2024-10-03T16:04:38.123" v="268" actId="700"/>
          <ac:spMkLst>
            <pc:docMk/>
            <pc:sldMk cId="1533146030" sldId="651"/>
            <ac:spMk id="39" creationId="{E8E55C17-5F73-7C92-0B8C-A15CF41E2211}"/>
          </ac:spMkLst>
        </pc:spChg>
        <pc:spChg chg="del">
          <ac:chgData name="Bullinger, Marvin" userId="5b54ce5a-dc89-476f-af33-5abd75d5b1e8" providerId="ADAL" clId="{ACC1FB44-D32D-4647-9A24-D6B5766AFFE9}" dt="2024-10-03T16:04:38.123" v="268" actId="700"/>
          <ac:spMkLst>
            <pc:docMk/>
            <pc:sldMk cId="1533146030" sldId="651"/>
            <ac:spMk id="40" creationId="{DBC7733C-249F-0466-CFAC-8D1BC49A8C0C}"/>
          </ac:spMkLst>
        </pc:spChg>
        <pc:spChg chg="del">
          <ac:chgData name="Bullinger, Marvin" userId="5b54ce5a-dc89-476f-af33-5abd75d5b1e8" providerId="ADAL" clId="{ACC1FB44-D32D-4647-9A24-D6B5766AFFE9}" dt="2024-10-03T16:04:38.123" v="268" actId="700"/>
          <ac:spMkLst>
            <pc:docMk/>
            <pc:sldMk cId="1533146030" sldId="651"/>
            <ac:spMk id="41" creationId="{94A49E4B-AABA-37AA-B63F-3FB49B6D6E53}"/>
          </ac:spMkLst>
        </pc:spChg>
        <pc:spChg chg="add mod ord">
          <ac:chgData name="Bullinger, Marvin" userId="5b54ce5a-dc89-476f-af33-5abd75d5b1e8" providerId="ADAL" clId="{ACC1FB44-D32D-4647-9A24-D6B5766AFFE9}" dt="2024-10-03T16:04:38.123" v="268" actId="700"/>
          <ac:spMkLst>
            <pc:docMk/>
            <pc:sldMk cId="1533146030" sldId="651"/>
            <ac:spMk id="42" creationId="{C7E757C5-03D1-1F7C-8394-C9FB4BCDFB61}"/>
          </ac:spMkLst>
        </pc:spChg>
        <pc:spChg chg="add mod ord">
          <ac:chgData name="Bullinger, Marvin" userId="5b54ce5a-dc89-476f-af33-5abd75d5b1e8" providerId="ADAL" clId="{ACC1FB44-D32D-4647-9A24-D6B5766AFFE9}" dt="2024-10-03T16:04:38.123" v="268" actId="700"/>
          <ac:spMkLst>
            <pc:docMk/>
            <pc:sldMk cId="1533146030" sldId="651"/>
            <ac:spMk id="43" creationId="{3896FE4D-A7AE-099B-363F-0C85F0A9502A}"/>
          </ac:spMkLst>
        </pc:spChg>
        <pc:spChg chg="add mod ord">
          <ac:chgData name="Bullinger, Marvin" userId="5b54ce5a-dc89-476f-af33-5abd75d5b1e8" providerId="ADAL" clId="{ACC1FB44-D32D-4647-9A24-D6B5766AFFE9}" dt="2024-10-03T16:04:38.123" v="268" actId="700"/>
          <ac:spMkLst>
            <pc:docMk/>
            <pc:sldMk cId="1533146030" sldId="651"/>
            <ac:spMk id="44" creationId="{9A0D7DE8-29FE-08C8-D01C-97334E84F4D3}"/>
          </ac:spMkLst>
        </pc:spChg>
      </pc:sldChg>
      <pc:sldChg chg="del">
        <pc:chgData name="Bullinger, Marvin" userId="5b54ce5a-dc89-476f-af33-5abd75d5b1e8" providerId="ADAL" clId="{ACC1FB44-D32D-4647-9A24-D6B5766AFFE9}" dt="2024-10-03T15:55:19.834" v="23" actId="47"/>
        <pc:sldMkLst>
          <pc:docMk/>
          <pc:sldMk cId="1743979101" sldId="652"/>
        </pc:sldMkLst>
      </pc:sldChg>
      <pc:sldChg chg="add">
        <pc:chgData name="Bullinger, Marvin" userId="5b54ce5a-dc89-476f-af33-5abd75d5b1e8" providerId="ADAL" clId="{ACC1FB44-D32D-4647-9A24-D6B5766AFFE9}" dt="2024-10-03T16:04:42.895" v="269"/>
        <pc:sldMkLst>
          <pc:docMk/>
          <pc:sldMk cId="1787319496" sldId="652"/>
        </pc:sldMkLst>
      </pc:sldChg>
      <pc:sldChg chg="del">
        <pc:chgData name="Bullinger, Marvin" userId="5b54ce5a-dc89-476f-af33-5abd75d5b1e8" providerId="ADAL" clId="{ACC1FB44-D32D-4647-9A24-D6B5766AFFE9}" dt="2024-10-03T15:55:05.664" v="18" actId="47"/>
        <pc:sldMkLst>
          <pc:docMk/>
          <pc:sldMk cId="950309191" sldId="653"/>
        </pc:sldMkLst>
      </pc:sldChg>
      <pc:sldChg chg="add">
        <pc:chgData name="Bullinger, Marvin" userId="5b54ce5a-dc89-476f-af33-5abd75d5b1e8" providerId="ADAL" clId="{ACC1FB44-D32D-4647-9A24-D6B5766AFFE9}" dt="2024-10-03T16:04:43.053" v="270"/>
        <pc:sldMkLst>
          <pc:docMk/>
          <pc:sldMk cId="3874982595" sldId="653"/>
        </pc:sldMkLst>
      </pc:sldChg>
      <pc:sldChg chg="del">
        <pc:chgData name="Bullinger, Marvin" userId="5b54ce5a-dc89-476f-af33-5abd75d5b1e8" providerId="ADAL" clId="{ACC1FB44-D32D-4647-9A24-D6B5766AFFE9}" dt="2024-10-03T15:55:17.875" v="21" actId="47"/>
        <pc:sldMkLst>
          <pc:docMk/>
          <pc:sldMk cId="407075054" sldId="654"/>
        </pc:sldMkLst>
      </pc:sldChg>
      <pc:sldChg chg="add">
        <pc:chgData name="Bullinger, Marvin" userId="5b54ce5a-dc89-476f-af33-5abd75d5b1e8" providerId="ADAL" clId="{ACC1FB44-D32D-4647-9A24-D6B5766AFFE9}" dt="2024-10-03T16:04:43.160" v="271"/>
        <pc:sldMkLst>
          <pc:docMk/>
          <pc:sldMk cId="994611207" sldId="654"/>
        </pc:sldMkLst>
      </pc:sldChg>
      <pc:sldChg chg="add">
        <pc:chgData name="Bullinger, Marvin" userId="5b54ce5a-dc89-476f-af33-5abd75d5b1e8" providerId="ADAL" clId="{ACC1FB44-D32D-4647-9A24-D6B5766AFFE9}" dt="2024-10-03T16:04:43.265" v="272"/>
        <pc:sldMkLst>
          <pc:docMk/>
          <pc:sldMk cId="914361629" sldId="655"/>
        </pc:sldMkLst>
      </pc:sldChg>
      <pc:sldChg chg="del">
        <pc:chgData name="Bullinger, Marvin" userId="5b54ce5a-dc89-476f-af33-5abd75d5b1e8" providerId="ADAL" clId="{ACC1FB44-D32D-4647-9A24-D6B5766AFFE9}" dt="2024-10-03T15:55:18.900" v="22" actId="47"/>
        <pc:sldMkLst>
          <pc:docMk/>
          <pc:sldMk cId="3383019256" sldId="655"/>
        </pc:sldMkLst>
      </pc:sldChg>
      <pc:sldChg chg="del">
        <pc:chgData name="Bullinger, Marvin" userId="5b54ce5a-dc89-476f-af33-5abd75d5b1e8" providerId="ADAL" clId="{ACC1FB44-D32D-4647-9A24-D6B5766AFFE9}" dt="2024-10-03T15:55:05.664" v="18" actId="47"/>
        <pc:sldMkLst>
          <pc:docMk/>
          <pc:sldMk cId="1995518795" sldId="656"/>
        </pc:sldMkLst>
      </pc:sldChg>
      <pc:sldChg chg="add">
        <pc:chgData name="Bullinger, Marvin" userId="5b54ce5a-dc89-476f-af33-5abd75d5b1e8" providerId="ADAL" clId="{ACC1FB44-D32D-4647-9A24-D6B5766AFFE9}" dt="2024-10-03T16:04:43.377" v="273"/>
        <pc:sldMkLst>
          <pc:docMk/>
          <pc:sldMk cId="4107695891" sldId="656"/>
        </pc:sldMkLst>
      </pc:sldChg>
      <pc:sldChg chg="del">
        <pc:chgData name="Bullinger, Marvin" userId="5b54ce5a-dc89-476f-af33-5abd75d5b1e8" providerId="ADAL" clId="{ACC1FB44-D32D-4647-9A24-D6B5766AFFE9}" dt="2024-10-03T15:55:05.664" v="18" actId="47"/>
        <pc:sldMkLst>
          <pc:docMk/>
          <pc:sldMk cId="2040393096" sldId="657"/>
        </pc:sldMkLst>
      </pc:sldChg>
      <pc:sldMasterChg chg="addSp delSp modSp mod modSldLayout">
        <pc:chgData name="Bullinger, Marvin" userId="5b54ce5a-dc89-476f-af33-5abd75d5b1e8" providerId="ADAL" clId="{ACC1FB44-D32D-4647-9A24-D6B5766AFFE9}" dt="2024-10-03T16:04:09.097" v="264"/>
        <pc:sldMasterMkLst>
          <pc:docMk/>
          <pc:sldMasterMk cId="2846167297" sldId="2147483677"/>
        </pc:sldMasterMkLst>
        <pc:picChg chg="del">
          <ac:chgData name="Bullinger, Marvin" userId="5b54ce5a-dc89-476f-af33-5abd75d5b1e8" providerId="ADAL" clId="{ACC1FB44-D32D-4647-9A24-D6B5766AFFE9}" dt="2024-10-03T16:01:39.414" v="186" actId="478"/>
          <ac:picMkLst>
            <pc:docMk/>
            <pc:sldMasterMk cId="2846167297" sldId="2147483677"/>
            <ac:picMk id="7" creationId="{9F0ABF88-D3F9-7514-74E6-D3F3838E9EBE}"/>
          </ac:picMkLst>
        </pc:picChg>
        <pc:picChg chg="del">
          <ac:chgData name="Bullinger, Marvin" userId="5b54ce5a-dc89-476f-af33-5abd75d5b1e8" providerId="ADAL" clId="{ACC1FB44-D32D-4647-9A24-D6B5766AFFE9}" dt="2024-10-03T16:01:41.462" v="187" actId="478"/>
          <ac:picMkLst>
            <pc:docMk/>
            <pc:sldMasterMk cId="2846167297" sldId="2147483677"/>
            <ac:picMk id="8" creationId="{48875B43-D4CB-047F-DB44-78CA8C0A0CC4}"/>
          </ac:picMkLst>
        </pc:picChg>
        <pc:picChg chg="add mod modCrop">
          <ac:chgData name="Bullinger, Marvin" userId="5b54ce5a-dc89-476f-af33-5abd75d5b1e8" providerId="ADAL" clId="{ACC1FB44-D32D-4647-9A24-D6B5766AFFE9}" dt="2024-10-03T16:03:58.232" v="260" actId="1037"/>
          <ac:picMkLst>
            <pc:docMk/>
            <pc:sldMasterMk cId="2846167297" sldId="2147483677"/>
            <ac:picMk id="9" creationId="{26474EC8-5C7D-4170-27AC-CE76A6950110}"/>
          </ac:picMkLst>
        </pc:picChg>
        <pc:sldLayoutChg chg="addSp delSp modSp mod">
          <pc:chgData name="Bullinger, Marvin" userId="5b54ce5a-dc89-476f-af33-5abd75d5b1e8" providerId="ADAL" clId="{ACC1FB44-D32D-4647-9A24-D6B5766AFFE9}" dt="2024-10-03T16:04:05.979" v="262"/>
          <pc:sldLayoutMkLst>
            <pc:docMk/>
            <pc:sldMasterMk cId="2846167297" sldId="2147483677"/>
            <pc:sldLayoutMk cId="2552064348" sldId="2147483679"/>
          </pc:sldLayoutMkLst>
          <pc:picChg chg="add del">
            <ac:chgData name="Bullinger, Marvin" userId="5b54ce5a-dc89-476f-af33-5abd75d5b1e8" providerId="ADAL" clId="{ACC1FB44-D32D-4647-9A24-D6B5766AFFE9}" dt="2024-10-03T16:02:47.039" v="217" actId="478"/>
            <ac:picMkLst>
              <pc:docMk/>
              <pc:sldMasterMk cId="2846167297" sldId="2147483677"/>
              <pc:sldLayoutMk cId="2552064348" sldId="2147483679"/>
              <ac:picMk id="3" creationId="{D49E552E-0E37-257B-60EB-07659DC55A67}"/>
            </ac:picMkLst>
          </pc:picChg>
          <pc:picChg chg="add del mod">
            <ac:chgData name="Bullinger, Marvin" userId="5b54ce5a-dc89-476f-af33-5abd75d5b1e8" providerId="ADAL" clId="{ACC1FB44-D32D-4647-9A24-D6B5766AFFE9}" dt="2024-10-03T16:04:05.682" v="261" actId="478"/>
            <ac:picMkLst>
              <pc:docMk/>
              <pc:sldMasterMk cId="2846167297" sldId="2147483677"/>
              <pc:sldLayoutMk cId="2552064348" sldId="2147483679"/>
              <ac:picMk id="4" creationId="{A625E882-4C45-0D37-5EFD-2A81E0C34178}"/>
            </ac:picMkLst>
          </pc:picChg>
          <pc:picChg chg="add del">
            <ac:chgData name="Bullinger, Marvin" userId="5b54ce5a-dc89-476f-af33-5abd75d5b1e8" providerId="ADAL" clId="{ACC1FB44-D32D-4647-9A24-D6B5766AFFE9}" dt="2024-10-03T16:02:48.609" v="218" actId="478"/>
            <ac:picMkLst>
              <pc:docMk/>
              <pc:sldMasterMk cId="2846167297" sldId="2147483677"/>
              <pc:sldLayoutMk cId="2552064348" sldId="2147483679"/>
              <ac:picMk id="5" creationId="{181F5CC1-9D79-69E2-3A17-B3C178477F50}"/>
            </ac:picMkLst>
          </pc:picChg>
          <pc:picChg chg="add mod">
            <ac:chgData name="Bullinger, Marvin" userId="5b54ce5a-dc89-476f-af33-5abd75d5b1e8" providerId="ADAL" clId="{ACC1FB44-D32D-4647-9A24-D6B5766AFFE9}" dt="2024-10-03T16:04:05.979" v="262"/>
            <ac:picMkLst>
              <pc:docMk/>
              <pc:sldMasterMk cId="2846167297" sldId="2147483677"/>
              <pc:sldLayoutMk cId="2552064348" sldId="2147483679"/>
              <ac:picMk id="6" creationId="{3900417F-85A5-1383-DFD8-56550C33F678}"/>
            </ac:picMkLst>
          </pc:picChg>
        </pc:sldLayoutChg>
        <pc:sldLayoutChg chg="addSp delSp modSp mod">
          <pc:chgData name="Bullinger, Marvin" userId="5b54ce5a-dc89-476f-af33-5abd75d5b1e8" providerId="ADAL" clId="{ACC1FB44-D32D-4647-9A24-D6B5766AFFE9}" dt="2024-10-03T16:04:09.097" v="264"/>
          <pc:sldLayoutMkLst>
            <pc:docMk/>
            <pc:sldMasterMk cId="2846167297" sldId="2147483677"/>
            <pc:sldLayoutMk cId="3747579019" sldId="2147483680"/>
          </pc:sldLayoutMkLst>
          <pc:picChg chg="add del mod">
            <ac:chgData name="Bullinger, Marvin" userId="5b54ce5a-dc89-476f-af33-5abd75d5b1e8" providerId="ADAL" clId="{ACC1FB44-D32D-4647-9A24-D6B5766AFFE9}" dt="2024-10-03T16:04:08.803" v="263" actId="478"/>
            <ac:picMkLst>
              <pc:docMk/>
              <pc:sldMasterMk cId="2846167297" sldId="2147483677"/>
              <pc:sldLayoutMk cId="3747579019" sldId="2147483680"/>
              <ac:picMk id="4" creationId="{D0B0C9DD-5D49-FBBF-F182-D5D8B92A2019}"/>
            </ac:picMkLst>
          </pc:picChg>
          <pc:picChg chg="del">
            <ac:chgData name="Bullinger, Marvin" userId="5b54ce5a-dc89-476f-af33-5abd75d5b1e8" providerId="ADAL" clId="{ACC1FB44-D32D-4647-9A24-D6B5766AFFE9}" dt="2024-10-03T16:02:51.502" v="220" actId="478"/>
            <ac:picMkLst>
              <pc:docMk/>
              <pc:sldMasterMk cId="2846167297" sldId="2147483677"/>
              <pc:sldLayoutMk cId="3747579019" sldId="2147483680"/>
              <ac:picMk id="5" creationId="{E9504846-CABC-5DF5-6D5B-54416E3ED6F1}"/>
            </ac:picMkLst>
          </pc:picChg>
          <pc:picChg chg="del">
            <ac:chgData name="Bullinger, Marvin" userId="5b54ce5a-dc89-476f-af33-5abd75d5b1e8" providerId="ADAL" clId="{ACC1FB44-D32D-4647-9A24-D6B5766AFFE9}" dt="2024-10-03T16:02:52.857" v="221" actId="478"/>
            <ac:picMkLst>
              <pc:docMk/>
              <pc:sldMasterMk cId="2846167297" sldId="2147483677"/>
              <pc:sldLayoutMk cId="3747579019" sldId="2147483680"/>
              <ac:picMk id="6" creationId="{BC3D0B12-2FA5-5B55-EFFA-FBAB23EA9B74}"/>
            </ac:picMkLst>
          </pc:picChg>
          <pc:picChg chg="add mod">
            <ac:chgData name="Bullinger, Marvin" userId="5b54ce5a-dc89-476f-af33-5abd75d5b1e8" providerId="ADAL" clId="{ACC1FB44-D32D-4647-9A24-D6B5766AFFE9}" dt="2024-10-03T16:04:09.097" v="264"/>
            <ac:picMkLst>
              <pc:docMk/>
              <pc:sldMasterMk cId="2846167297" sldId="2147483677"/>
              <pc:sldLayoutMk cId="3747579019" sldId="2147483680"/>
              <ac:picMk id="7" creationId="{D3C52C57-1CFA-CAE6-4589-E3C116FA04C8}"/>
            </ac:picMkLst>
          </pc:picChg>
        </pc:sldLayoutChg>
        <pc:sldLayoutChg chg="addSp delSp modSp mod">
          <pc:chgData name="Bullinger, Marvin" userId="5b54ce5a-dc89-476f-af33-5abd75d5b1e8" providerId="ADAL" clId="{ACC1FB44-D32D-4647-9A24-D6B5766AFFE9}" dt="2024-10-03T16:03:28.032" v="232" actId="1076"/>
          <pc:sldLayoutMkLst>
            <pc:docMk/>
            <pc:sldMasterMk cId="2846167297" sldId="2147483677"/>
            <pc:sldLayoutMk cId="816259686" sldId="2147483701"/>
          </pc:sldLayoutMkLst>
          <pc:picChg chg="add mod modCrop">
            <ac:chgData name="Bullinger, Marvin" userId="5b54ce5a-dc89-476f-af33-5abd75d5b1e8" providerId="ADAL" clId="{ACC1FB44-D32D-4647-9A24-D6B5766AFFE9}" dt="2024-10-03T16:03:28.032" v="232" actId="1076"/>
            <ac:picMkLst>
              <pc:docMk/>
              <pc:sldMasterMk cId="2846167297" sldId="2147483677"/>
              <pc:sldLayoutMk cId="816259686" sldId="2147483701"/>
              <ac:picMk id="2" creationId="{92F106FB-E60C-5D38-8154-42D2B20B7D47}"/>
            </ac:picMkLst>
          </pc:picChg>
          <pc:picChg chg="del">
            <ac:chgData name="Bullinger, Marvin" userId="5b54ce5a-dc89-476f-af33-5abd75d5b1e8" providerId="ADAL" clId="{ACC1FB44-D32D-4647-9A24-D6B5766AFFE9}" dt="2024-10-03T16:02:58.830" v="223" actId="478"/>
            <ac:picMkLst>
              <pc:docMk/>
              <pc:sldMasterMk cId="2846167297" sldId="2147483677"/>
              <pc:sldLayoutMk cId="816259686" sldId="2147483701"/>
              <ac:picMk id="3" creationId="{3677DBBD-8901-44E7-BC97-5FAE134425EB}"/>
            </ac:picMkLst>
          </pc:picChg>
          <pc:picChg chg="del">
            <ac:chgData name="Bullinger, Marvin" userId="5b54ce5a-dc89-476f-af33-5abd75d5b1e8" providerId="ADAL" clId="{ACC1FB44-D32D-4647-9A24-D6B5766AFFE9}" dt="2024-10-03T16:03:00.040" v="224" actId="478"/>
            <ac:picMkLst>
              <pc:docMk/>
              <pc:sldMasterMk cId="2846167297" sldId="2147483677"/>
              <pc:sldLayoutMk cId="816259686" sldId="2147483701"/>
              <ac:picMk id="77" creationId="{D3DB975A-CF9E-4989-8391-5B4E38D67ADB}"/>
            </ac:picMkLst>
          </pc:picChg>
        </pc:sldLayoutChg>
      </pc:sldMasterChg>
    </pc:docChg>
  </pc:docChgLst>
  <pc:docChgLst>
    <pc:chgData name="Aidan Landry" userId="S::ar3landr@uwaterloo.ca::3189a9fb-e89b-4b01-b295-b304ff3fadbb" providerId="AD" clId="Web-{53952373-FB42-A1BA-605A-2910A559DEE5}"/>
    <pc:docChg chg="modSld">
      <pc:chgData name="Aidan Landry" userId="S::ar3landr@uwaterloo.ca::3189a9fb-e89b-4b01-b295-b304ff3fadbb" providerId="AD" clId="Web-{53952373-FB42-A1BA-605A-2910A559DEE5}" dt="2024-10-03T16:15:11.457" v="1" actId="20577"/>
      <pc:docMkLst>
        <pc:docMk/>
      </pc:docMkLst>
      <pc:sldChg chg="modSp">
        <pc:chgData name="Aidan Landry" userId="S::ar3landr@uwaterloo.ca::3189a9fb-e89b-4b01-b295-b304ff3fadbb" providerId="AD" clId="Web-{53952373-FB42-A1BA-605A-2910A559DEE5}" dt="2024-10-03T16:15:11.457" v="1" actId="20577"/>
        <pc:sldMkLst>
          <pc:docMk/>
          <pc:sldMk cId="211836646" sldId="650"/>
        </pc:sldMkLst>
        <pc:spChg chg="mod">
          <ac:chgData name="Aidan Landry" userId="S::ar3landr@uwaterloo.ca::3189a9fb-e89b-4b01-b295-b304ff3fadbb" providerId="AD" clId="Web-{53952373-FB42-A1BA-605A-2910A559DEE5}" dt="2024-10-03T16:15:11.457" v="1" actId="20577"/>
          <ac:spMkLst>
            <pc:docMk/>
            <pc:sldMk cId="211836646" sldId="650"/>
            <ac:spMk id="7" creationId="{EE481F00-18AD-41DB-A39A-CB4F0E12C694}"/>
          </ac:spMkLst>
        </pc:spChg>
      </pc:sldChg>
    </pc:docChg>
  </pc:docChgLst>
  <pc:docChgLst>
    <pc:chgData name="bullingerm.tmt22" userId="9ce3b8b2-035f-4175-b301-998b03a50e38" providerId="ADAL" clId="{D8E03A0D-8A42-4CF5-82BF-586E462557BB}"/>
    <pc:docChg chg="undo custSel addSld delSld modSld sldOrd modSection replTag">
      <pc:chgData name="bullingerm.tmt22" userId="9ce3b8b2-035f-4175-b301-998b03a50e38" providerId="ADAL" clId="{D8E03A0D-8A42-4CF5-82BF-586E462557BB}" dt="2024-03-04T18:47:12.088" v="4084" actId="207"/>
      <pc:docMkLst>
        <pc:docMk/>
      </pc:docMkLst>
      <pc:sldChg chg="del">
        <pc:chgData name="bullingerm.tmt22" userId="9ce3b8b2-035f-4175-b301-998b03a50e38" providerId="ADAL" clId="{D8E03A0D-8A42-4CF5-82BF-586E462557BB}" dt="2024-03-01T10:49:26.730" v="1071" actId="47"/>
        <pc:sldMkLst>
          <pc:docMk/>
          <pc:sldMk cId="1234127743" sldId="261"/>
        </pc:sldMkLst>
      </pc:sldChg>
      <pc:sldChg chg="addSp delSp modSp mod ord">
        <pc:chgData name="bullingerm.tmt22" userId="9ce3b8b2-035f-4175-b301-998b03a50e38" providerId="ADAL" clId="{D8E03A0D-8A42-4CF5-82BF-586E462557BB}" dt="2024-03-01T09:18:04.192" v="111" actId="478"/>
        <pc:sldMkLst>
          <pc:docMk/>
          <pc:sldMk cId="3664439336" sldId="262"/>
        </pc:sldMkLst>
        <pc:spChg chg="mod">
          <ac:chgData name="bullingerm.tmt22" userId="9ce3b8b2-035f-4175-b301-998b03a50e38" providerId="ADAL" clId="{D8E03A0D-8A42-4CF5-82BF-586E462557BB}" dt="2024-03-01T09:17:57.230" v="110" actId="20577"/>
          <ac:spMkLst>
            <pc:docMk/>
            <pc:sldMk cId="3664439336" sldId="262"/>
            <ac:spMk id="3" creationId="{3D5704D4-182D-2081-A931-337F4856B6A2}"/>
          </ac:spMkLst>
        </pc:spChg>
        <pc:spChg chg="add mod">
          <ac:chgData name="bullingerm.tmt22" userId="9ce3b8b2-035f-4175-b301-998b03a50e38" providerId="ADAL" clId="{D8E03A0D-8A42-4CF5-82BF-586E462557BB}" dt="2024-03-01T09:18:04.192" v="111" actId="478"/>
          <ac:spMkLst>
            <pc:docMk/>
            <pc:sldMk cId="3664439336" sldId="262"/>
            <ac:spMk id="5" creationId="{29317A6B-3A63-05FD-DAB3-380DBDDDB41F}"/>
          </ac:spMkLst>
        </pc:spChg>
        <pc:spChg chg="mod">
          <ac:chgData name="bullingerm.tmt22" userId="9ce3b8b2-035f-4175-b301-998b03a50e38" providerId="ADAL" clId="{D8E03A0D-8A42-4CF5-82BF-586E462557BB}" dt="2024-03-01T09:17:17.535" v="43" actId="1076"/>
          <ac:spMkLst>
            <pc:docMk/>
            <pc:sldMk cId="3664439336" sldId="262"/>
            <ac:spMk id="8" creationId="{ED4AE48A-C92C-402F-A80C-7319190C2F22}"/>
          </ac:spMkLst>
        </pc:spChg>
        <pc:picChg chg="del">
          <ac:chgData name="bullingerm.tmt22" userId="9ce3b8b2-035f-4175-b301-998b03a50e38" providerId="ADAL" clId="{D8E03A0D-8A42-4CF5-82BF-586E462557BB}" dt="2024-03-01T09:18:04.192" v="111" actId="478"/>
          <ac:picMkLst>
            <pc:docMk/>
            <pc:sldMk cId="3664439336" sldId="262"/>
            <ac:picMk id="7" creationId="{FE094468-F753-8E8A-24D6-031F72A35AF6}"/>
          </ac:picMkLst>
        </pc:picChg>
      </pc:sldChg>
      <pc:sldChg chg="delSp modSp mod modNotesTx">
        <pc:chgData name="bullingerm.tmt22" userId="9ce3b8b2-035f-4175-b301-998b03a50e38" providerId="ADAL" clId="{D8E03A0D-8A42-4CF5-82BF-586E462557BB}" dt="2024-03-04T18:00:32.221" v="3104" actId="20577"/>
        <pc:sldMkLst>
          <pc:docMk/>
          <pc:sldMk cId="2953579200" sldId="264"/>
        </pc:sldMkLst>
        <pc:spChg chg="mod">
          <ac:chgData name="bullingerm.tmt22" userId="9ce3b8b2-035f-4175-b301-998b03a50e38" providerId="ADAL" clId="{D8E03A0D-8A42-4CF5-82BF-586E462557BB}" dt="2024-03-04T15:30:24.605" v="1087" actId="27636"/>
          <ac:spMkLst>
            <pc:docMk/>
            <pc:sldMk cId="2953579200" sldId="264"/>
            <ac:spMk id="2" creationId="{F036CB7C-3D01-4FD0-973E-827329166DED}"/>
          </ac:spMkLst>
        </pc:spChg>
        <pc:spChg chg="del mod">
          <ac:chgData name="bullingerm.tmt22" userId="9ce3b8b2-035f-4175-b301-998b03a50e38" providerId="ADAL" clId="{D8E03A0D-8A42-4CF5-82BF-586E462557BB}" dt="2024-03-04T15:29:37.875" v="1074" actId="478"/>
          <ac:spMkLst>
            <pc:docMk/>
            <pc:sldMk cId="2953579200" sldId="264"/>
            <ac:spMk id="3" creationId="{3B6D2451-B2CB-A9CC-B87E-7BD8719483B7}"/>
          </ac:spMkLst>
        </pc:spChg>
        <pc:spChg chg="mod">
          <ac:chgData name="bullingerm.tmt22" userId="9ce3b8b2-035f-4175-b301-998b03a50e38" providerId="ADAL" clId="{D8E03A0D-8A42-4CF5-82BF-586E462557BB}" dt="2024-03-04T18:00:32.221" v="3104" actId="20577"/>
          <ac:spMkLst>
            <pc:docMk/>
            <pc:sldMk cId="2953579200" sldId="264"/>
            <ac:spMk id="4" creationId="{B8ECF902-B082-4799-A6ED-316F410CB465}"/>
          </ac:spMkLst>
        </pc:spChg>
        <pc:spChg chg="del">
          <ac:chgData name="bullingerm.tmt22" userId="9ce3b8b2-035f-4175-b301-998b03a50e38" providerId="ADAL" clId="{D8E03A0D-8A42-4CF5-82BF-586E462557BB}" dt="2024-03-04T15:30:08.072" v="1081" actId="478"/>
          <ac:spMkLst>
            <pc:docMk/>
            <pc:sldMk cId="2953579200" sldId="264"/>
            <ac:spMk id="12" creationId="{71C1B236-448E-3ED5-D7C7-9EAE8CCD7C51}"/>
          </ac:spMkLst>
        </pc:spChg>
        <pc:picChg chg="del">
          <ac:chgData name="bullingerm.tmt22" userId="9ce3b8b2-035f-4175-b301-998b03a50e38" providerId="ADAL" clId="{D8E03A0D-8A42-4CF5-82BF-586E462557BB}" dt="2024-03-04T15:29:31.400" v="1072" actId="478"/>
          <ac:picMkLst>
            <pc:docMk/>
            <pc:sldMk cId="2953579200" sldId="264"/>
            <ac:picMk id="7" creationId="{41EBC15B-0140-8211-1FCB-A2C72AED3C52}"/>
          </ac:picMkLst>
        </pc:picChg>
      </pc:sldChg>
      <pc:sldChg chg="del">
        <pc:chgData name="bullingerm.tmt22" userId="9ce3b8b2-035f-4175-b301-998b03a50e38" providerId="ADAL" clId="{D8E03A0D-8A42-4CF5-82BF-586E462557BB}" dt="2024-03-04T15:31:27.155" v="1089" actId="47"/>
        <pc:sldMkLst>
          <pc:docMk/>
          <pc:sldMk cId="3656611490" sldId="265"/>
        </pc:sldMkLst>
      </pc:sldChg>
      <pc:sldChg chg="del">
        <pc:chgData name="bullingerm.tmt22" userId="9ce3b8b2-035f-4175-b301-998b03a50e38" providerId="ADAL" clId="{D8E03A0D-8A42-4CF5-82BF-586E462557BB}" dt="2024-03-04T15:31:29.114" v="1090" actId="47"/>
        <pc:sldMkLst>
          <pc:docMk/>
          <pc:sldMk cId="3450439991" sldId="547"/>
        </pc:sldMkLst>
      </pc:sldChg>
      <pc:sldChg chg="del">
        <pc:chgData name="bullingerm.tmt22" userId="9ce3b8b2-035f-4175-b301-998b03a50e38" providerId="ADAL" clId="{D8E03A0D-8A42-4CF5-82BF-586E462557BB}" dt="2024-03-04T17:54:45.657" v="2765" actId="47"/>
        <pc:sldMkLst>
          <pc:docMk/>
          <pc:sldMk cId="576951194" sldId="551"/>
        </pc:sldMkLst>
      </pc:sldChg>
      <pc:sldChg chg="del">
        <pc:chgData name="bullingerm.tmt22" userId="9ce3b8b2-035f-4175-b301-998b03a50e38" providerId="ADAL" clId="{D8E03A0D-8A42-4CF5-82BF-586E462557BB}" dt="2024-03-04T17:54:47.962" v="2767" actId="47"/>
        <pc:sldMkLst>
          <pc:docMk/>
          <pc:sldMk cId="2820078257" sldId="552"/>
        </pc:sldMkLst>
      </pc:sldChg>
      <pc:sldChg chg="del">
        <pc:chgData name="bullingerm.tmt22" userId="9ce3b8b2-035f-4175-b301-998b03a50e38" providerId="ADAL" clId="{D8E03A0D-8A42-4CF5-82BF-586E462557BB}" dt="2024-03-04T17:54:46.942" v="2766" actId="47"/>
        <pc:sldMkLst>
          <pc:docMk/>
          <pc:sldMk cId="1433165054" sldId="553"/>
        </pc:sldMkLst>
      </pc:sldChg>
      <pc:sldChg chg="del">
        <pc:chgData name="bullingerm.tmt22" userId="9ce3b8b2-035f-4175-b301-998b03a50e38" providerId="ADAL" clId="{D8E03A0D-8A42-4CF5-82BF-586E462557BB}" dt="2024-03-04T15:31:34.920" v="1091" actId="47"/>
        <pc:sldMkLst>
          <pc:docMk/>
          <pc:sldMk cId="3604157687" sldId="554"/>
        </pc:sldMkLst>
      </pc:sldChg>
      <pc:sldChg chg="del">
        <pc:chgData name="bullingerm.tmt22" userId="9ce3b8b2-035f-4175-b301-998b03a50e38" providerId="ADAL" clId="{D8E03A0D-8A42-4CF5-82BF-586E462557BB}" dt="2024-03-04T15:31:36.273" v="1092" actId="47"/>
        <pc:sldMkLst>
          <pc:docMk/>
          <pc:sldMk cId="1915366194" sldId="555"/>
        </pc:sldMkLst>
      </pc:sldChg>
      <pc:sldChg chg="del">
        <pc:chgData name="bullingerm.tmt22" userId="9ce3b8b2-035f-4175-b301-998b03a50e38" providerId="ADAL" clId="{D8E03A0D-8A42-4CF5-82BF-586E462557BB}" dt="2024-03-04T15:31:38.447" v="1093" actId="47"/>
        <pc:sldMkLst>
          <pc:docMk/>
          <pc:sldMk cId="3168591151" sldId="556"/>
        </pc:sldMkLst>
      </pc:sldChg>
      <pc:sldChg chg="del">
        <pc:chgData name="bullingerm.tmt22" userId="9ce3b8b2-035f-4175-b301-998b03a50e38" providerId="ADAL" clId="{D8E03A0D-8A42-4CF5-82BF-586E462557BB}" dt="2024-03-04T15:31:39.298" v="1094" actId="47"/>
        <pc:sldMkLst>
          <pc:docMk/>
          <pc:sldMk cId="4124692515" sldId="557"/>
        </pc:sldMkLst>
      </pc:sldChg>
      <pc:sldChg chg="del">
        <pc:chgData name="bullingerm.tmt22" userId="9ce3b8b2-035f-4175-b301-998b03a50e38" providerId="ADAL" clId="{D8E03A0D-8A42-4CF5-82BF-586E462557BB}" dt="2024-03-04T15:31:41.087" v="1095" actId="47"/>
        <pc:sldMkLst>
          <pc:docMk/>
          <pc:sldMk cId="719841652" sldId="558"/>
        </pc:sldMkLst>
      </pc:sldChg>
      <pc:sldChg chg="del">
        <pc:chgData name="bullingerm.tmt22" userId="9ce3b8b2-035f-4175-b301-998b03a50e38" providerId="ADAL" clId="{D8E03A0D-8A42-4CF5-82BF-586E462557BB}" dt="2024-03-04T15:31:43.127" v="1096" actId="47"/>
        <pc:sldMkLst>
          <pc:docMk/>
          <pc:sldMk cId="4188208450" sldId="559"/>
        </pc:sldMkLst>
      </pc:sldChg>
      <pc:sldChg chg="del">
        <pc:chgData name="bullingerm.tmt22" userId="9ce3b8b2-035f-4175-b301-998b03a50e38" providerId="ADAL" clId="{D8E03A0D-8A42-4CF5-82BF-586E462557BB}" dt="2024-03-04T15:31:44.132" v="1097" actId="47"/>
        <pc:sldMkLst>
          <pc:docMk/>
          <pc:sldMk cId="789104344" sldId="560"/>
        </pc:sldMkLst>
      </pc:sldChg>
      <pc:sldChg chg="del">
        <pc:chgData name="bullingerm.tmt22" userId="9ce3b8b2-035f-4175-b301-998b03a50e38" providerId="ADAL" clId="{D8E03A0D-8A42-4CF5-82BF-586E462557BB}" dt="2024-03-04T15:31:44.973" v="1098" actId="47"/>
        <pc:sldMkLst>
          <pc:docMk/>
          <pc:sldMk cId="599911799" sldId="561"/>
        </pc:sldMkLst>
      </pc:sldChg>
      <pc:sldChg chg="ord">
        <pc:chgData name="bullingerm.tmt22" userId="9ce3b8b2-035f-4175-b301-998b03a50e38" providerId="ADAL" clId="{D8E03A0D-8A42-4CF5-82BF-586E462557BB}" dt="2024-03-04T15:31:50.937" v="1100"/>
        <pc:sldMkLst>
          <pc:docMk/>
          <pc:sldMk cId="2083976492" sldId="562"/>
        </pc:sldMkLst>
      </pc:sldChg>
      <pc:sldChg chg="del">
        <pc:chgData name="bullingerm.tmt22" userId="9ce3b8b2-035f-4175-b301-998b03a50e38" providerId="ADAL" clId="{D8E03A0D-8A42-4CF5-82BF-586E462557BB}" dt="2024-03-04T15:31:56.192" v="1104" actId="47"/>
        <pc:sldMkLst>
          <pc:docMk/>
          <pc:sldMk cId="1496753174" sldId="566"/>
        </pc:sldMkLst>
      </pc:sldChg>
      <pc:sldChg chg="del">
        <pc:chgData name="bullingerm.tmt22" userId="9ce3b8b2-035f-4175-b301-998b03a50e38" providerId="ADAL" clId="{D8E03A0D-8A42-4CF5-82BF-586E462557BB}" dt="2024-03-04T15:31:56.963" v="1105" actId="47"/>
        <pc:sldMkLst>
          <pc:docMk/>
          <pc:sldMk cId="2695844911" sldId="567"/>
        </pc:sldMkLst>
      </pc:sldChg>
      <pc:sldChg chg="del">
        <pc:chgData name="bullingerm.tmt22" userId="9ce3b8b2-035f-4175-b301-998b03a50e38" providerId="ADAL" clId="{D8E03A0D-8A42-4CF5-82BF-586E462557BB}" dt="2024-03-04T15:31:58.382" v="1106" actId="47"/>
        <pc:sldMkLst>
          <pc:docMk/>
          <pc:sldMk cId="382819080" sldId="568"/>
        </pc:sldMkLst>
      </pc:sldChg>
      <pc:sldChg chg="del">
        <pc:chgData name="bullingerm.tmt22" userId="9ce3b8b2-035f-4175-b301-998b03a50e38" providerId="ADAL" clId="{D8E03A0D-8A42-4CF5-82BF-586E462557BB}" dt="2024-03-04T15:31:59.354" v="1107" actId="47"/>
        <pc:sldMkLst>
          <pc:docMk/>
          <pc:sldMk cId="1525964500" sldId="569"/>
        </pc:sldMkLst>
      </pc:sldChg>
      <pc:sldChg chg="ord">
        <pc:chgData name="bullingerm.tmt22" userId="9ce3b8b2-035f-4175-b301-998b03a50e38" providerId="ADAL" clId="{D8E03A0D-8A42-4CF5-82BF-586E462557BB}" dt="2024-03-04T15:31:52.275" v="1102"/>
        <pc:sldMkLst>
          <pc:docMk/>
          <pc:sldMk cId="1413071935" sldId="572"/>
        </pc:sldMkLst>
      </pc:sldChg>
      <pc:sldChg chg="del">
        <pc:chgData name="bullingerm.tmt22" userId="9ce3b8b2-035f-4175-b301-998b03a50e38" providerId="ADAL" clId="{D8E03A0D-8A42-4CF5-82BF-586E462557BB}" dt="2024-03-04T15:31:55.190" v="1103" actId="47"/>
        <pc:sldMkLst>
          <pc:docMk/>
          <pc:sldMk cId="240855694" sldId="573"/>
        </pc:sldMkLst>
      </pc:sldChg>
      <pc:sldChg chg="addSp delSp modSp mod">
        <pc:chgData name="bullingerm.tmt22" userId="9ce3b8b2-035f-4175-b301-998b03a50e38" providerId="ADAL" clId="{D8E03A0D-8A42-4CF5-82BF-586E462557BB}" dt="2024-03-04T17:44:55.918" v="2246"/>
        <pc:sldMkLst>
          <pc:docMk/>
          <pc:sldMk cId="326362598" sldId="579"/>
        </pc:sldMkLst>
        <pc:spChg chg="del">
          <ac:chgData name="bullingerm.tmt22" userId="9ce3b8b2-035f-4175-b301-998b03a50e38" providerId="ADAL" clId="{D8E03A0D-8A42-4CF5-82BF-586E462557BB}" dt="2024-03-01T10:49:07.984" v="230" actId="478"/>
          <ac:spMkLst>
            <pc:docMk/>
            <pc:sldMk cId="326362598" sldId="579"/>
            <ac:spMk id="640" creationId="{B160D125-5C34-22B4-AC15-3EFE50518B71}"/>
          </ac:spMkLst>
        </pc:spChg>
        <pc:spChg chg="del">
          <ac:chgData name="bullingerm.tmt22" userId="9ce3b8b2-035f-4175-b301-998b03a50e38" providerId="ADAL" clId="{D8E03A0D-8A42-4CF5-82BF-586E462557BB}" dt="2024-03-04T17:44:55.368" v="1896" actId="478"/>
          <ac:spMkLst>
            <pc:docMk/>
            <pc:sldMk cId="326362598" sldId="579"/>
            <ac:spMk id="640" creationId="{CC274A09-E540-0F5E-E1D0-B6D10EAE9F95}"/>
          </ac:spMkLst>
        </pc:spChg>
        <pc:spChg chg="del">
          <ac:chgData name="bullingerm.tmt22" userId="9ce3b8b2-035f-4175-b301-998b03a50e38" providerId="ADAL" clId="{D8E03A0D-8A42-4CF5-82BF-586E462557BB}" dt="2024-03-04T17:44:55.358" v="1889" actId="478"/>
          <ac:spMkLst>
            <pc:docMk/>
            <pc:sldMk cId="326362598" sldId="579"/>
            <ac:spMk id="641" creationId="{697E734B-8B48-4950-80CA-5F8D85213107}"/>
          </ac:spMkLst>
        </pc:spChg>
        <pc:spChg chg="del">
          <ac:chgData name="bullingerm.tmt22" userId="9ce3b8b2-035f-4175-b301-998b03a50e38" providerId="ADAL" clId="{D8E03A0D-8A42-4CF5-82BF-586E462557BB}" dt="2024-03-01T10:49:07.984" v="229" actId="478"/>
          <ac:spMkLst>
            <pc:docMk/>
            <pc:sldMk cId="326362598" sldId="579"/>
            <ac:spMk id="641" creationId="{B0C50193-4BF2-84BE-8957-F492B9120729}"/>
          </ac:spMkLst>
        </pc:spChg>
        <pc:spChg chg="del">
          <ac:chgData name="bullingerm.tmt22" userId="9ce3b8b2-035f-4175-b301-998b03a50e38" providerId="ADAL" clId="{D8E03A0D-8A42-4CF5-82BF-586E462557BB}" dt="2024-03-04T17:44:55.368" v="1897" actId="478"/>
          <ac:spMkLst>
            <pc:docMk/>
            <pc:sldMk cId="326362598" sldId="579"/>
            <ac:spMk id="642" creationId="{9382E15F-EBBD-D6C9-197D-3804DE14F3DC}"/>
          </ac:spMkLst>
        </pc:spChg>
        <pc:spChg chg="del">
          <ac:chgData name="bullingerm.tmt22" userId="9ce3b8b2-035f-4175-b301-998b03a50e38" providerId="ADAL" clId="{D8E03A0D-8A42-4CF5-82BF-586E462557BB}" dt="2024-03-01T10:49:07.984" v="228" actId="478"/>
          <ac:spMkLst>
            <pc:docMk/>
            <pc:sldMk cId="326362598" sldId="579"/>
            <ac:spMk id="642" creationId="{DEC04526-0EFD-6003-824E-E18AA3F8429C}"/>
          </ac:spMkLst>
        </pc:spChg>
        <pc:spChg chg="del">
          <ac:chgData name="bullingerm.tmt22" userId="9ce3b8b2-035f-4175-b301-998b03a50e38" providerId="ADAL" clId="{D8E03A0D-8A42-4CF5-82BF-586E462557BB}" dt="2024-03-01T10:49:07.984" v="227" actId="478"/>
          <ac:spMkLst>
            <pc:docMk/>
            <pc:sldMk cId="326362598" sldId="579"/>
            <ac:spMk id="643" creationId="{5CD9DFE9-131C-6BF8-61CA-7B7AB9FEE5BA}"/>
          </ac:spMkLst>
        </pc:spChg>
        <pc:spChg chg="del">
          <ac:chgData name="bullingerm.tmt22" userId="9ce3b8b2-035f-4175-b301-998b03a50e38" providerId="ADAL" clId="{D8E03A0D-8A42-4CF5-82BF-586E462557BB}" dt="2024-03-04T17:44:55.358" v="1888" actId="478"/>
          <ac:spMkLst>
            <pc:docMk/>
            <pc:sldMk cId="326362598" sldId="579"/>
            <ac:spMk id="643" creationId="{8A94D231-FB62-3232-5502-A8F66A955CD5}"/>
          </ac:spMkLst>
        </pc:spChg>
        <pc:spChg chg="del">
          <ac:chgData name="bullingerm.tmt22" userId="9ce3b8b2-035f-4175-b301-998b03a50e38" providerId="ADAL" clId="{D8E03A0D-8A42-4CF5-82BF-586E462557BB}" dt="2024-03-01T10:49:07.984" v="226" actId="478"/>
          <ac:spMkLst>
            <pc:docMk/>
            <pc:sldMk cId="326362598" sldId="579"/>
            <ac:spMk id="644" creationId="{060B948D-6B76-2B48-6B13-5738E8E8DC44}"/>
          </ac:spMkLst>
        </pc:spChg>
        <pc:spChg chg="del">
          <ac:chgData name="bullingerm.tmt22" userId="9ce3b8b2-035f-4175-b301-998b03a50e38" providerId="ADAL" clId="{D8E03A0D-8A42-4CF5-82BF-586E462557BB}" dt="2024-03-04T17:44:55.358" v="1887" actId="478"/>
          <ac:spMkLst>
            <pc:docMk/>
            <pc:sldMk cId="326362598" sldId="579"/>
            <ac:spMk id="644" creationId="{19551683-5449-A5CA-5BEE-B944BA1BF0E7}"/>
          </ac:spMkLst>
        </pc:spChg>
        <pc:spChg chg="del">
          <ac:chgData name="bullingerm.tmt22" userId="9ce3b8b2-035f-4175-b301-998b03a50e38" providerId="ADAL" clId="{D8E03A0D-8A42-4CF5-82BF-586E462557BB}" dt="2024-03-01T10:49:07.984" v="225" actId="478"/>
          <ac:spMkLst>
            <pc:docMk/>
            <pc:sldMk cId="326362598" sldId="579"/>
            <ac:spMk id="645" creationId="{2FD55407-4000-89AB-7257-EAADAA6BCFD8}"/>
          </ac:spMkLst>
        </pc:spChg>
        <pc:spChg chg="del">
          <ac:chgData name="bullingerm.tmt22" userId="9ce3b8b2-035f-4175-b301-998b03a50e38" providerId="ADAL" clId="{D8E03A0D-8A42-4CF5-82BF-586E462557BB}" dt="2024-03-04T17:44:55.358" v="1886" actId="478"/>
          <ac:spMkLst>
            <pc:docMk/>
            <pc:sldMk cId="326362598" sldId="579"/>
            <ac:spMk id="645" creationId="{BC7FA53C-6AFB-D133-7C7D-D273533FCE53}"/>
          </ac:spMkLst>
        </pc:spChg>
        <pc:spChg chg="replST">
          <ac:chgData name="bullingerm.tmt22" userId="9ce3b8b2-035f-4175-b301-998b03a50e38" providerId="ADAL" clId="{D8E03A0D-8A42-4CF5-82BF-586E462557BB}" dt="2024-03-01T10:49:08.575" v="602"/>
          <ac:spMkLst>
            <pc:docMk/>
            <pc:sldMk cId="326362598" sldId="579"/>
            <ac:spMk id="647" creationId="{9C0E6A94-E3B5-4CEC-92F5-E506C7E3E278}"/>
          </ac:spMkLst>
        </pc:spChg>
        <pc:spChg chg="replST">
          <ac:chgData name="bullingerm.tmt22" userId="9ce3b8b2-035f-4175-b301-998b03a50e38" providerId="ADAL" clId="{D8E03A0D-8A42-4CF5-82BF-586E462557BB}" dt="2024-03-01T10:49:08.575" v="605"/>
          <ac:spMkLst>
            <pc:docMk/>
            <pc:sldMk cId="326362598" sldId="579"/>
            <ac:spMk id="648" creationId="{60FBCB41-8464-84F2-527B-7743A86DEA08}"/>
          </ac:spMkLst>
        </pc:spChg>
        <pc:spChg chg="del ord replST">
          <ac:chgData name="bullingerm.tmt22" userId="9ce3b8b2-035f-4175-b301-998b03a50e38" providerId="ADAL" clId="{D8E03A0D-8A42-4CF5-82BF-586E462557BB}" dt="2024-03-04T17:44:55.336" v="1867" actId="478"/>
          <ac:spMkLst>
            <pc:docMk/>
            <pc:sldMk cId="326362598" sldId="579"/>
            <ac:spMk id="649" creationId="{5FCAD53A-62E1-21B4-E4C6-659511337693}"/>
          </ac:spMkLst>
        </pc:spChg>
        <pc:spChg chg="replST">
          <ac:chgData name="bullingerm.tmt22" userId="9ce3b8b2-035f-4175-b301-998b03a50e38" providerId="ADAL" clId="{D8E03A0D-8A42-4CF5-82BF-586E462557BB}" dt="2024-03-01T10:49:08.592" v="609"/>
          <ac:spMkLst>
            <pc:docMk/>
            <pc:sldMk cId="326362598" sldId="579"/>
            <ac:spMk id="650" creationId="{E8A51758-310D-2916-4F58-C5A586B0634B}"/>
          </ac:spMkLst>
        </pc:spChg>
        <pc:spChg chg="replST">
          <ac:chgData name="bullingerm.tmt22" userId="9ce3b8b2-035f-4175-b301-998b03a50e38" providerId="ADAL" clId="{D8E03A0D-8A42-4CF5-82BF-586E462557BB}" dt="2024-03-01T10:49:08.592" v="612"/>
          <ac:spMkLst>
            <pc:docMk/>
            <pc:sldMk cId="326362598" sldId="579"/>
            <ac:spMk id="651" creationId="{59E4AF74-7145-AFF6-AC13-23A503EA028A}"/>
          </ac:spMkLst>
        </pc:spChg>
        <pc:spChg chg="replST">
          <ac:chgData name="bullingerm.tmt22" userId="9ce3b8b2-035f-4175-b301-998b03a50e38" providerId="ADAL" clId="{D8E03A0D-8A42-4CF5-82BF-586E462557BB}" dt="2024-03-01T10:49:08.592" v="616"/>
          <ac:spMkLst>
            <pc:docMk/>
            <pc:sldMk cId="326362598" sldId="579"/>
            <ac:spMk id="653" creationId="{CE8F43C0-B88E-72E7-BF93-662BC0EEC446}"/>
          </ac:spMkLst>
        </pc:spChg>
        <pc:spChg chg="replST">
          <ac:chgData name="bullingerm.tmt22" userId="9ce3b8b2-035f-4175-b301-998b03a50e38" providerId="ADAL" clId="{D8E03A0D-8A42-4CF5-82BF-586E462557BB}" dt="2024-03-01T10:49:08.608" v="619"/>
          <ac:spMkLst>
            <pc:docMk/>
            <pc:sldMk cId="326362598" sldId="579"/>
            <ac:spMk id="654" creationId="{46AF81F0-B594-EFDC-F69F-7A2446519937}"/>
          </ac:spMkLst>
        </pc:spChg>
        <pc:spChg chg="replST">
          <ac:chgData name="bullingerm.tmt22" userId="9ce3b8b2-035f-4175-b301-998b03a50e38" providerId="ADAL" clId="{D8E03A0D-8A42-4CF5-82BF-586E462557BB}" dt="2024-03-01T10:49:08.608" v="623"/>
          <ac:spMkLst>
            <pc:docMk/>
            <pc:sldMk cId="326362598" sldId="579"/>
            <ac:spMk id="656" creationId="{6582027F-0915-89BA-7093-6E8492ADC1F1}"/>
          </ac:spMkLst>
        </pc:spChg>
        <pc:spChg chg="del">
          <ac:chgData name="bullingerm.tmt22" userId="9ce3b8b2-035f-4175-b301-998b03a50e38" providerId="ADAL" clId="{D8E03A0D-8A42-4CF5-82BF-586E462557BB}" dt="2024-03-04T17:44:55.358" v="1885" actId="478"/>
          <ac:spMkLst>
            <pc:docMk/>
            <pc:sldMk cId="326362598" sldId="579"/>
            <ac:spMk id="657" creationId="{9D7C4AFE-7078-D39E-FFC9-6362A79A98CA}"/>
          </ac:spMkLst>
        </pc:spChg>
        <pc:spChg chg="del">
          <ac:chgData name="bullingerm.tmt22" userId="9ce3b8b2-035f-4175-b301-998b03a50e38" providerId="ADAL" clId="{D8E03A0D-8A42-4CF5-82BF-586E462557BB}" dt="2024-03-01T10:49:07.968" v="216" actId="478"/>
          <ac:spMkLst>
            <pc:docMk/>
            <pc:sldMk cId="326362598" sldId="579"/>
            <ac:spMk id="657" creationId="{F6F2D327-075B-82FE-BCB9-703AD68A6AC8}"/>
          </ac:spMkLst>
        </pc:spChg>
        <pc:spChg chg="replST">
          <ac:chgData name="bullingerm.tmt22" userId="9ce3b8b2-035f-4175-b301-998b03a50e38" providerId="ADAL" clId="{D8E03A0D-8A42-4CF5-82BF-586E462557BB}" dt="2024-03-01T10:49:08.624" v="626"/>
          <ac:spMkLst>
            <pc:docMk/>
            <pc:sldMk cId="326362598" sldId="579"/>
            <ac:spMk id="658" creationId="{BE8DE3FC-ED6C-2237-51DB-7FCFA3C1C030}"/>
          </ac:spMkLst>
        </pc:spChg>
        <pc:spChg chg="replST">
          <ac:chgData name="bullingerm.tmt22" userId="9ce3b8b2-035f-4175-b301-998b03a50e38" providerId="ADAL" clId="{D8E03A0D-8A42-4CF5-82BF-586E462557BB}" dt="2024-03-01T10:49:08.625" v="630"/>
          <ac:spMkLst>
            <pc:docMk/>
            <pc:sldMk cId="326362598" sldId="579"/>
            <ac:spMk id="660" creationId="{C65B0E1C-9703-A5C5-C9FC-0EA2B81B2795}"/>
          </ac:spMkLst>
        </pc:spChg>
        <pc:spChg chg="replST">
          <ac:chgData name="bullingerm.tmt22" userId="9ce3b8b2-035f-4175-b301-998b03a50e38" providerId="ADAL" clId="{D8E03A0D-8A42-4CF5-82BF-586E462557BB}" dt="2024-03-01T10:49:08.625" v="633"/>
          <ac:spMkLst>
            <pc:docMk/>
            <pc:sldMk cId="326362598" sldId="579"/>
            <ac:spMk id="661" creationId="{3727E7C3-6A2A-1F65-164D-A404797004BF}"/>
          </ac:spMkLst>
        </pc:spChg>
        <pc:spChg chg="replST">
          <ac:chgData name="bullingerm.tmt22" userId="9ce3b8b2-035f-4175-b301-998b03a50e38" providerId="ADAL" clId="{D8E03A0D-8A42-4CF5-82BF-586E462557BB}" dt="2024-03-01T10:49:08.644" v="637"/>
          <ac:spMkLst>
            <pc:docMk/>
            <pc:sldMk cId="326362598" sldId="579"/>
            <ac:spMk id="663" creationId="{CF5312F9-4F79-E057-6026-EF50F807CD79}"/>
          </ac:spMkLst>
        </pc:spChg>
        <pc:spChg chg="replST">
          <ac:chgData name="bullingerm.tmt22" userId="9ce3b8b2-035f-4175-b301-998b03a50e38" providerId="ADAL" clId="{D8E03A0D-8A42-4CF5-82BF-586E462557BB}" dt="2024-03-01T10:49:08.644" v="640"/>
          <ac:spMkLst>
            <pc:docMk/>
            <pc:sldMk cId="326362598" sldId="579"/>
            <ac:spMk id="664" creationId="{92F64E05-751E-9561-B228-D9E740F2D100}"/>
          </ac:spMkLst>
        </pc:spChg>
        <pc:spChg chg="replST">
          <ac:chgData name="bullingerm.tmt22" userId="9ce3b8b2-035f-4175-b301-998b03a50e38" providerId="ADAL" clId="{D8E03A0D-8A42-4CF5-82BF-586E462557BB}" dt="2024-03-01T10:49:08.644" v="644"/>
          <ac:spMkLst>
            <pc:docMk/>
            <pc:sldMk cId="326362598" sldId="579"/>
            <ac:spMk id="666" creationId="{5335FF1A-482C-0F99-B62A-EF461E986200}"/>
          </ac:spMkLst>
        </pc:spChg>
        <pc:spChg chg="replST">
          <ac:chgData name="bullingerm.tmt22" userId="9ce3b8b2-035f-4175-b301-998b03a50e38" providerId="ADAL" clId="{D8E03A0D-8A42-4CF5-82BF-586E462557BB}" dt="2024-03-01T10:49:08.661" v="647"/>
          <ac:spMkLst>
            <pc:docMk/>
            <pc:sldMk cId="326362598" sldId="579"/>
            <ac:spMk id="667" creationId="{20572EA7-1A89-7821-175D-E51DECFA282A}"/>
          </ac:spMkLst>
        </pc:spChg>
        <pc:spChg chg="del">
          <ac:chgData name="bullingerm.tmt22" userId="9ce3b8b2-035f-4175-b301-998b03a50e38" providerId="ADAL" clId="{D8E03A0D-8A42-4CF5-82BF-586E462557BB}" dt="2024-03-04T17:44:55.358" v="1884" actId="478"/>
          <ac:spMkLst>
            <pc:docMk/>
            <pc:sldMk cId="326362598" sldId="579"/>
            <ac:spMk id="670" creationId="{BD5BEFFB-E73E-6038-6F3E-F3C4986D434A}"/>
          </ac:spMkLst>
        </pc:spChg>
        <pc:spChg chg="del">
          <ac:chgData name="bullingerm.tmt22" userId="9ce3b8b2-035f-4175-b301-998b03a50e38" providerId="ADAL" clId="{D8E03A0D-8A42-4CF5-82BF-586E462557BB}" dt="2024-03-04T17:44:55.358" v="1883" actId="478"/>
          <ac:spMkLst>
            <pc:docMk/>
            <pc:sldMk cId="326362598" sldId="579"/>
            <ac:spMk id="671" creationId="{BC98782F-C5E5-2795-90A7-A75069F8798B}"/>
          </ac:spMkLst>
        </pc:spChg>
        <pc:spChg chg="add mod">
          <ac:chgData name="bullingerm.tmt22" userId="9ce3b8b2-035f-4175-b301-998b03a50e38" providerId="ADAL" clId="{D8E03A0D-8A42-4CF5-82BF-586E462557BB}" dt="2024-03-01T10:49:07.968" v="216" actId="478"/>
          <ac:spMkLst>
            <pc:docMk/>
            <pc:sldMk cId="326362598" sldId="579"/>
            <ac:spMk id="681" creationId="{0C263C24-B417-6791-28B2-9E87E1FD91F3}"/>
          </ac:spMkLst>
        </pc:spChg>
        <pc:spChg chg="add mod">
          <ac:chgData name="bullingerm.tmt22" userId="9ce3b8b2-035f-4175-b301-998b03a50e38" providerId="ADAL" clId="{D8E03A0D-8A42-4CF5-82BF-586E462557BB}" dt="2024-03-04T17:44:55.328" v="1866" actId="478"/>
          <ac:spMkLst>
            <pc:docMk/>
            <pc:sldMk cId="326362598" sldId="579"/>
            <ac:spMk id="681" creationId="{C2A013B1-F271-0A8A-8E8A-40C22C583924}"/>
          </ac:spMkLst>
        </pc:spChg>
        <pc:spChg chg="del mod ord replST">
          <ac:chgData name="bullingerm.tmt22" userId="9ce3b8b2-035f-4175-b301-998b03a50e38" providerId="ADAL" clId="{D8E03A0D-8A42-4CF5-82BF-586E462557BB}" dt="2024-03-04T17:44:55.328" v="1866" actId="478"/>
          <ac:spMkLst>
            <pc:docMk/>
            <pc:sldMk cId="326362598" sldId="579"/>
            <ac:spMk id="682" creationId="{AE8003EE-07CF-9EA1-E2E5-3B3343805472}"/>
          </ac:spMkLst>
        </pc:spChg>
        <pc:spChg chg="mod ord replST">
          <ac:chgData name="bullingerm.tmt22" userId="9ce3b8b2-035f-4175-b301-998b03a50e38" providerId="ADAL" clId="{D8E03A0D-8A42-4CF5-82BF-586E462557BB}" dt="2024-03-04T17:44:55.908" v="2239"/>
          <ac:spMkLst>
            <pc:docMk/>
            <pc:sldMk cId="326362598" sldId="579"/>
            <ac:spMk id="683" creationId="{4946EDB7-32AA-34BC-A6E5-D017BF28F935}"/>
          </ac:spMkLst>
        </pc:spChg>
        <pc:spChg chg="del">
          <ac:chgData name="bullingerm.tmt22" userId="9ce3b8b2-035f-4175-b301-998b03a50e38" providerId="ADAL" clId="{D8E03A0D-8A42-4CF5-82BF-586E462557BB}" dt="2024-03-01T10:49:08" v="253" actId="478"/>
          <ac:spMkLst>
            <pc:docMk/>
            <pc:sldMk cId="326362598" sldId="579"/>
            <ac:spMk id="683" creationId="{C5D2B2E2-C2DB-A66F-D470-DCCC606EC7F7}"/>
          </ac:spMkLst>
        </pc:spChg>
        <pc:spChg chg="del">
          <ac:chgData name="bullingerm.tmt22" userId="9ce3b8b2-035f-4175-b301-998b03a50e38" providerId="ADAL" clId="{D8E03A0D-8A42-4CF5-82BF-586E462557BB}" dt="2024-03-01T10:49:08" v="252" actId="478"/>
          <ac:spMkLst>
            <pc:docMk/>
            <pc:sldMk cId="326362598" sldId="579"/>
            <ac:spMk id="684" creationId="{BCE5C078-EAB4-AE4B-39AD-3F800D6C79E4}"/>
          </ac:spMkLst>
        </pc:spChg>
        <pc:spChg chg="del">
          <ac:chgData name="bullingerm.tmt22" userId="9ce3b8b2-035f-4175-b301-998b03a50e38" providerId="ADAL" clId="{D8E03A0D-8A42-4CF5-82BF-586E462557BB}" dt="2024-03-04T17:44:55.368" v="1903" actId="478"/>
          <ac:spMkLst>
            <pc:docMk/>
            <pc:sldMk cId="326362598" sldId="579"/>
            <ac:spMk id="684" creationId="{DE911598-B366-FF43-64E4-067FF1D8B6F2}"/>
          </ac:spMkLst>
        </pc:spChg>
        <pc:spChg chg="del">
          <ac:chgData name="bullingerm.tmt22" userId="9ce3b8b2-035f-4175-b301-998b03a50e38" providerId="ADAL" clId="{D8E03A0D-8A42-4CF5-82BF-586E462557BB}" dt="2024-03-04T17:44:55.368" v="1902" actId="478"/>
          <ac:spMkLst>
            <pc:docMk/>
            <pc:sldMk cId="326362598" sldId="579"/>
            <ac:spMk id="685" creationId="{8F731A06-7463-9032-1CE6-D9FA22EC3730}"/>
          </ac:spMkLst>
        </pc:spChg>
        <pc:spChg chg="del">
          <ac:chgData name="bullingerm.tmt22" userId="9ce3b8b2-035f-4175-b301-998b03a50e38" providerId="ADAL" clId="{D8E03A0D-8A42-4CF5-82BF-586E462557BB}" dt="2024-03-01T10:49:08" v="251" actId="478"/>
          <ac:spMkLst>
            <pc:docMk/>
            <pc:sldMk cId="326362598" sldId="579"/>
            <ac:spMk id="685" creationId="{FF3FA3B1-5A72-2768-A106-244092FD53C2}"/>
          </ac:spMkLst>
        </pc:spChg>
        <pc:spChg chg="del">
          <ac:chgData name="bullingerm.tmt22" userId="9ce3b8b2-035f-4175-b301-998b03a50e38" providerId="ADAL" clId="{D8E03A0D-8A42-4CF5-82BF-586E462557BB}" dt="2024-03-01T10:49:08" v="250" actId="478"/>
          <ac:spMkLst>
            <pc:docMk/>
            <pc:sldMk cId="326362598" sldId="579"/>
            <ac:spMk id="686" creationId="{BA74262F-A4A8-F60B-6C14-94C659E80FF7}"/>
          </ac:spMkLst>
        </pc:spChg>
        <pc:spChg chg="del">
          <ac:chgData name="bullingerm.tmt22" userId="9ce3b8b2-035f-4175-b301-998b03a50e38" providerId="ADAL" clId="{D8E03A0D-8A42-4CF5-82BF-586E462557BB}" dt="2024-03-04T17:44:55.368" v="1901" actId="478"/>
          <ac:spMkLst>
            <pc:docMk/>
            <pc:sldMk cId="326362598" sldId="579"/>
            <ac:spMk id="686" creationId="{C6B60E62-BC79-4594-C805-66BED99810B9}"/>
          </ac:spMkLst>
        </pc:spChg>
        <pc:spChg chg="del">
          <ac:chgData name="bullingerm.tmt22" userId="9ce3b8b2-035f-4175-b301-998b03a50e38" providerId="ADAL" clId="{D8E03A0D-8A42-4CF5-82BF-586E462557BB}" dt="2024-03-01T10:49:08" v="249" actId="478"/>
          <ac:spMkLst>
            <pc:docMk/>
            <pc:sldMk cId="326362598" sldId="579"/>
            <ac:spMk id="687" creationId="{3CE18813-0DFA-E4BC-5FC6-AA403AE26DFB}"/>
          </ac:spMkLst>
        </pc:spChg>
        <pc:spChg chg="del">
          <ac:chgData name="bullingerm.tmt22" userId="9ce3b8b2-035f-4175-b301-998b03a50e38" providerId="ADAL" clId="{D8E03A0D-8A42-4CF5-82BF-586E462557BB}" dt="2024-03-04T17:44:55.368" v="1900" actId="478"/>
          <ac:spMkLst>
            <pc:docMk/>
            <pc:sldMk cId="326362598" sldId="579"/>
            <ac:spMk id="687" creationId="{78DA3344-FA0B-A103-4906-0489E317D522}"/>
          </ac:spMkLst>
        </pc:spChg>
        <pc:spChg chg="del">
          <ac:chgData name="bullingerm.tmt22" userId="9ce3b8b2-035f-4175-b301-998b03a50e38" providerId="ADAL" clId="{D8E03A0D-8A42-4CF5-82BF-586E462557BB}" dt="2024-03-01T10:49:08" v="248" actId="478"/>
          <ac:spMkLst>
            <pc:docMk/>
            <pc:sldMk cId="326362598" sldId="579"/>
            <ac:spMk id="688" creationId="{983058AE-0DE7-DDB5-7A94-2C3D20BB7C9A}"/>
          </ac:spMkLst>
        </pc:spChg>
        <pc:spChg chg="del">
          <ac:chgData name="bullingerm.tmt22" userId="9ce3b8b2-035f-4175-b301-998b03a50e38" providerId="ADAL" clId="{D8E03A0D-8A42-4CF5-82BF-586E462557BB}" dt="2024-03-04T17:44:55.368" v="1899" actId="478"/>
          <ac:spMkLst>
            <pc:docMk/>
            <pc:sldMk cId="326362598" sldId="579"/>
            <ac:spMk id="688" creationId="{9DF0C06A-AA74-1565-3A79-A05D7C2028D4}"/>
          </ac:spMkLst>
        </pc:spChg>
        <pc:spChg chg="del">
          <ac:chgData name="bullingerm.tmt22" userId="9ce3b8b2-035f-4175-b301-998b03a50e38" providerId="ADAL" clId="{D8E03A0D-8A42-4CF5-82BF-586E462557BB}" dt="2024-03-04T17:44:55.368" v="1898" actId="478"/>
          <ac:spMkLst>
            <pc:docMk/>
            <pc:sldMk cId="326362598" sldId="579"/>
            <ac:spMk id="689" creationId="{0CC2374D-D4A2-2560-06F3-3528EAD29A86}"/>
          </ac:spMkLst>
        </pc:spChg>
        <pc:spChg chg="del">
          <ac:chgData name="bullingerm.tmt22" userId="9ce3b8b2-035f-4175-b301-998b03a50e38" providerId="ADAL" clId="{D8E03A0D-8A42-4CF5-82BF-586E462557BB}" dt="2024-03-01T10:49:08" v="245" actId="478"/>
          <ac:spMkLst>
            <pc:docMk/>
            <pc:sldMk cId="326362598" sldId="579"/>
            <ac:spMk id="689" creationId="{2FCF64E0-2765-9E1E-2CAD-E821914C21AF}"/>
          </ac:spMkLst>
        </pc:spChg>
        <pc:spChg chg="del">
          <ac:chgData name="bullingerm.tmt22" userId="9ce3b8b2-035f-4175-b301-998b03a50e38" providerId="ADAL" clId="{D8E03A0D-8A42-4CF5-82BF-586E462557BB}" dt="2024-03-04T17:44:55.368" v="1895" actId="478"/>
          <ac:spMkLst>
            <pc:docMk/>
            <pc:sldMk cId="326362598" sldId="579"/>
            <ac:spMk id="690" creationId="{2E0D8517-CC19-86CE-CF28-C629C822ACCD}"/>
          </ac:spMkLst>
        </pc:spChg>
        <pc:spChg chg="del">
          <ac:chgData name="bullingerm.tmt22" userId="9ce3b8b2-035f-4175-b301-998b03a50e38" providerId="ADAL" clId="{D8E03A0D-8A42-4CF5-82BF-586E462557BB}" dt="2024-03-01T10:49:08" v="244" actId="478"/>
          <ac:spMkLst>
            <pc:docMk/>
            <pc:sldMk cId="326362598" sldId="579"/>
            <ac:spMk id="690" creationId="{5483BFEB-7E3D-9DCE-3C7B-4DD62C3BDC3D}"/>
          </ac:spMkLst>
        </pc:spChg>
        <pc:spChg chg="del">
          <ac:chgData name="bullingerm.tmt22" userId="9ce3b8b2-035f-4175-b301-998b03a50e38" providerId="ADAL" clId="{D8E03A0D-8A42-4CF5-82BF-586E462557BB}" dt="2024-03-01T10:49:08" v="243" actId="478"/>
          <ac:spMkLst>
            <pc:docMk/>
            <pc:sldMk cId="326362598" sldId="579"/>
            <ac:spMk id="691" creationId="{1F07DB58-1D44-2E4F-6705-26801769FB2A}"/>
          </ac:spMkLst>
        </pc:spChg>
        <pc:spChg chg="del">
          <ac:chgData name="bullingerm.tmt22" userId="9ce3b8b2-035f-4175-b301-998b03a50e38" providerId="ADAL" clId="{D8E03A0D-8A42-4CF5-82BF-586E462557BB}" dt="2024-03-04T17:44:55.368" v="1894" actId="478"/>
          <ac:spMkLst>
            <pc:docMk/>
            <pc:sldMk cId="326362598" sldId="579"/>
            <ac:spMk id="691" creationId="{D61D5FEF-4936-EDCB-46E0-17160C0C019B}"/>
          </ac:spMkLst>
        </pc:spChg>
        <pc:spChg chg="del">
          <ac:chgData name="bullingerm.tmt22" userId="9ce3b8b2-035f-4175-b301-998b03a50e38" providerId="ADAL" clId="{D8E03A0D-8A42-4CF5-82BF-586E462557BB}" dt="2024-03-04T17:44:55.358" v="1893" actId="478"/>
          <ac:spMkLst>
            <pc:docMk/>
            <pc:sldMk cId="326362598" sldId="579"/>
            <ac:spMk id="692" creationId="{45E08D2C-DF97-4A79-16D6-F9134B7D0B1B}"/>
          </ac:spMkLst>
        </pc:spChg>
        <pc:spChg chg="del">
          <ac:chgData name="bullingerm.tmt22" userId="9ce3b8b2-035f-4175-b301-998b03a50e38" providerId="ADAL" clId="{D8E03A0D-8A42-4CF5-82BF-586E462557BB}" dt="2024-03-01T10:49:08" v="242" actId="478"/>
          <ac:spMkLst>
            <pc:docMk/>
            <pc:sldMk cId="326362598" sldId="579"/>
            <ac:spMk id="692" creationId="{D07DD7A0-E27F-2AC2-4518-BD65FDCA662E}"/>
          </ac:spMkLst>
        </pc:spChg>
        <pc:spChg chg="del">
          <ac:chgData name="bullingerm.tmt22" userId="9ce3b8b2-035f-4175-b301-998b03a50e38" providerId="ADAL" clId="{D8E03A0D-8A42-4CF5-82BF-586E462557BB}" dt="2024-03-04T17:44:55.358" v="1892" actId="478"/>
          <ac:spMkLst>
            <pc:docMk/>
            <pc:sldMk cId="326362598" sldId="579"/>
            <ac:spMk id="693" creationId="{4C0F0481-2AD3-63D3-EAB7-6E0E1B1B86A3}"/>
          </ac:spMkLst>
        </pc:spChg>
        <pc:spChg chg="del">
          <ac:chgData name="bullingerm.tmt22" userId="9ce3b8b2-035f-4175-b301-998b03a50e38" providerId="ADAL" clId="{D8E03A0D-8A42-4CF5-82BF-586E462557BB}" dt="2024-03-01T10:49:08" v="241" actId="478"/>
          <ac:spMkLst>
            <pc:docMk/>
            <pc:sldMk cId="326362598" sldId="579"/>
            <ac:spMk id="693" creationId="{5A3D1C6D-BC30-CF92-C9DE-68C88F76D2B0}"/>
          </ac:spMkLst>
        </pc:spChg>
        <pc:spChg chg="del">
          <ac:chgData name="bullingerm.tmt22" userId="9ce3b8b2-035f-4175-b301-998b03a50e38" providerId="ADAL" clId="{D8E03A0D-8A42-4CF5-82BF-586E462557BB}" dt="2024-03-04T17:44:55.358" v="1891" actId="478"/>
          <ac:spMkLst>
            <pc:docMk/>
            <pc:sldMk cId="326362598" sldId="579"/>
            <ac:spMk id="694" creationId="{3727C6C6-A193-08B1-35AE-11E0159610FC}"/>
          </ac:spMkLst>
        </pc:spChg>
        <pc:spChg chg="del">
          <ac:chgData name="bullingerm.tmt22" userId="9ce3b8b2-035f-4175-b301-998b03a50e38" providerId="ADAL" clId="{D8E03A0D-8A42-4CF5-82BF-586E462557BB}" dt="2024-03-01T10:49:08" v="240" actId="478"/>
          <ac:spMkLst>
            <pc:docMk/>
            <pc:sldMk cId="326362598" sldId="579"/>
            <ac:spMk id="694" creationId="{A2551603-75A0-3F98-6045-BA4A681DDEF1}"/>
          </ac:spMkLst>
        </pc:spChg>
        <pc:spChg chg="del">
          <ac:chgData name="bullingerm.tmt22" userId="9ce3b8b2-035f-4175-b301-998b03a50e38" providerId="ADAL" clId="{D8E03A0D-8A42-4CF5-82BF-586E462557BB}" dt="2024-03-04T17:44:55.358" v="1890" actId="478"/>
          <ac:spMkLst>
            <pc:docMk/>
            <pc:sldMk cId="326362598" sldId="579"/>
            <ac:spMk id="695" creationId="{08341C66-2CA7-11AF-A070-DB422C81DE71}"/>
          </ac:spMkLst>
        </pc:spChg>
        <pc:spChg chg="del">
          <ac:chgData name="bullingerm.tmt22" userId="9ce3b8b2-035f-4175-b301-998b03a50e38" providerId="ADAL" clId="{D8E03A0D-8A42-4CF5-82BF-586E462557BB}" dt="2024-03-04T17:44:55.368" v="1911" actId="478"/>
          <ac:spMkLst>
            <pc:docMk/>
            <pc:sldMk cId="326362598" sldId="579"/>
            <ac:spMk id="696" creationId="{3315C669-BED2-8E37-3D13-C6B6CE2AE1E4}"/>
          </ac:spMkLst>
        </pc:spChg>
        <pc:spChg chg="del">
          <ac:chgData name="bullingerm.tmt22" userId="9ce3b8b2-035f-4175-b301-998b03a50e38" providerId="ADAL" clId="{D8E03A0D-8A42-4CF5-82BF-586E462557BB}" dt="2024-03-01T10:49:07.968" v="217" actId="478"/>
          <ac:spMkLst>
            <pc:docMk/>
            <pc:sldMk cId="326362598" sldId="579"/>
            <ac:spMk id="697" creationId="{2A464BB7-A45C-321B-5BBA-76C70B37D784}"/>
          </ac:spMkLst>
        </pc:spChg>
        <pc:spChg chg="del">
          <ac:chgData name="bullingerm.tmt22" userId="9ce3b8b2-035f-4175-b301-998b03a50e38" providerId="ADAL" clId="{D8E03A0D-8A42-4CF5-82BF-586E462557BB}" dt="2024-03-04T17:44:55.368" v="1910" actId="478"/>
          <ac:spMkLst>
            <pc:docMk/>
            <pc:sldMk cId="326362598" sldId="579"/>
            <ac:spMk id="697" creationId="{70BF1285-AD5B-CC29-3615-2E9873448073}"/>
          </ac:spMkLst>
        </pc:spChg>
        <pc:spChg chg="del">
          <ac:chgData name="bullingerm.tmt22" userId="9ce3b8b2-035f-4175-b301-998b03a50e38" providerId="ADAL" clId="{D8E03A0D-8A42-4CF5-82BF-586E462557BB}" dt="2024-03-04T17:44:55.368" v="1909" actId="478"/>
          <ac:spMkLst>
            <pc:docMk/>
            <pc:sldMk cId="326362598" sldId="579"/>
            <ac:spMk id="698" creationId="{DCDAC4FD-B06B-29D5-D29B-BE25DD9B0B9E}"/>
          </ac:spMkLst>
        </pc:spChg>
        <pc:spChg chg="del">
          <ac:chgData name="bullingerm.tmt22" userId="9ce3b8b2-035f-4175-b301-998b03a50e38" providerId="ADAL" clId="{D8E03A0D-8A42-4CF5-82BF-586E462557BB}" dt="2024-03-04T17:44:55.368" v="1908" actId="478"/>
          <ac:spMkLst>
            <pc:docMk/>
            <pc:sldMk cId="326362598" sldId="579"/>
            <ac:spMk id="699" creationId="{B9946A52-AA56-119A-0EE9-678A7C183186}"/>
          </ac:spMkLst>
        </pc:spChg>
        <pc:spChg chg="del">
          <ac:chgData name="bullingerm.tmt22" userId="9ce3b8b2-035f-4175-b301-998b03a50e38" providerId="ADAL" clId="{D8E03A0D-8A42-4CF5-82BF-586E462557BB}" dt="2024-03-04T17:44:55.368" v="1907" actId="478"/>
          <ac:spMkLst>
            <pc:docMk/>
            <pc:sldMk cId="326362598" sldId="579"/>
            <ac:spMk id="700" creationId="{8DF4AE11-9897-A11B-95F1-AA039CD832E6}"/>
          </ac:spMkLst>
        </pc:spChg>
        <pc:spChg chg="del">
          <ac:chgData name="bullingerm.tmt22" userId="9ce3b8b2-035f-4175-b301-998b03a50e38" providerId="ADAL" clId="{D8E03A0D-8A42-4CF5-82BF-586E462557BB}" dt="2024-03-04T17:44:55.368" v="1906" actId="478"/>
          <ac:spMkLst>
            <pc:docMk/>
            <pc:sldMk cId="326362598" sldId="579"/>
            <ac:spMk id="701" creationId="{5C42BF15-4F65-3A89-79BD-E91272D307C1}"/>
          </ac:spMkLst>
        </pc:spChg>
        <pc:spChg chg="del">
          <ac:chgData name="bullingerm.tmt22" userId="9ce3b8b2-035f-4175-b301-998b03a50e38" providerId="ADAL" clId="{D8E03A0D-8A42-4CF5-82BF-586E462557BB}" dt="2024-03-04T17:44:55.368" v="1905" actId="478"/>
          <ac:spMkLst>
            <pc:docMk/>
            <pc:sldMk cId="326362598" sldId="579"/>
            <ac:spMk id="702" creationId="{09BBAAF8-8D1F-F1F7-B13D-235396FED597}"/>
          </ac:spMkLst>
        </pc:spChg>
        <pc:spChg chg="del">
          <ac:chgData name="bullingerm.tmt22" userId="9ce3b8b2-035f-4175-b301-998b03a50e38" providerId="ADAL" clId="{D8E03A0D-8A42-4CF5-82BF-586E462557BB}" dt="2024-03-04T17:44:55.368" v="1904" actId="478"/>
          <ac:spMkLst>
            <pc:docMk/>
            <pc:sldMk cId="326362598" sldId="579"/>
            <ac:spMk id="703" creationId="{B886A035-0AB0-09EF-9EF3-614B5A831C2E}"/>
          </ac:spMkLst>
        </pc:spChg>
        <pc:spChg chg="del">
          <ac:chgData name="bullingerm.tmt22" userId="9ce3b8b2-035f-4175-b301-998b03a50e38" providerId="ADAL" clId="{D8E03A0D-8A42-4CF5-82BF-586E462557BB}" dt="2024-03-04T17:44:55.358" v="1882" actId="478"/>
          <ac:spMkLst>
            <pc:docMk/>
            <pc:sldMk cId="326362598" sldId="579"/>
            <ac:spMk id="704" creationId="{0EB912D2-B68E-64A6-DCE3-F617F9F7E8B5}"/>
          </ac:spMkLst>
        </pc:spChg>
        <pc:spChg chg="del">
          <ac:chgData name="bullingerm.tmt22" userId="9ce3b8b2-035f-4175-b301-998b03a50e38" providerId="ADAL" clId="{D8E03A0D-8A42-4CF5-82BF-586E462557BB}" dt="2024-03-04T17:44:55.358" v="1881" actId="478"/>
          <ac:spMkLst>
            <pc:docMk/>
            <pc:sldMk cId="326362598" sldId="579"/>
            <ac:spMk id="705" creationId="{B3796C42-1721-9FFF-92F6-7E2E31100A85}"/>
          </ac:spMkLst>
        </pc:spChg>
        <pc:spChg chg="del">
          <ac:chgData name="bullingerm.tmt22" userId="9ce3b8b2-035f-4175-b301-998b03a50e38" providerId="ADAL" clId="{D8E03A0D-8A42-4CF5-82BF-586E462557BB}" dt="2024-03-04T17:44:55.358" v="1880" actId="478"/>
          <ac:spMkLst>
            <pc:docMk/>
            <pc:sldMk cId="326362598" sldId="579"/>
            <ac:spMk id="706" creationId="{3E119AE9-54F4-AB1C-DF52-0FBF9B1AE62D}"/>
          </ac:spMkLst>
        </pc:spChg>
        <pc:spChg chg="del">
          <ac:chgData name="bullingerm.tmt22" userId="9ce3b8b2-035f-4175-b301-998b03a50e38" providerId="ADAL" clId="{D8E03A0D-8A42-4CF5-82BF-586E462557BB}" dt="2024-03-04T17:44:55.358" v="1879" actId="478"/>
          <ac:spMkLst>
            <pc:docMk/>
            <pc:sldMk cId="326362598" sldId="579"/>
            <ac:spMk id="707" creationId="{846B41B3-E136-23FD-DF81-2191317C3671}"/>
          </ac:spMkLst>
        </pc:spChg>
        <pc:spChg chg="del">
          <ac:chgData name="bullingerm.tmt22" userId="9ce3b8b2-035f-4175-b301-998b03a50e38" providerId="ADAL" clId="{D8E03A0D-8A42-4CF5-82BF-586E462557BB}" dt="2024-03-04T17:44:55.358" v="1878" actId="478"/>
          <ac:spMkLst>
            <pc:docMk/>
            <pc:sldMk cId="326362598" sldId="579"/>
            <ac:spMk id="708" creationId="{0BC6E490-34B1-89DE-6FB5-242908EB4AA8}"/>
          </ac:spMkLst>
        </pc:spChg>
        <pc:spChg chg="del">
          <ac:chgData name="bullingerm.tmt22" userId="9ce3b8b2-035f-4175-b301-998b03a50e38" providerId="ADAL" clId="{D8E03A0D-8A42-4CF5-82BF-586E462557BB}" dt="2024-03-04T17:44:55.358" v="1877" actId="478"/>
          <ac:spMkLst>
            <pc:docMk/>
            <pc:sldMk cId="326362598" sldId="579"/>
            <ac:spMk id="709" creationId="{3E5B276B-02C2-37CD-F3C6-30ABB45536F9}"/>
          </ac:spMkLst>
        </pc:spChg>
        <pc:spChg chg="del">
          <ac:chgData name="bullingerm.tmt22" userId="9ce3b8b2-035f-4175-b301-998b03a50e38" providerId="ADAL" clId="{D8E03A0D-8A42-4CF5-82BF-586E462557BB}" dt="2024-03-04T17:44:55.358" v="1876" actId="478"/>
          <ac:spMkLst>
            <pc:docMk/>
            <pc:sldMk cId="326362598" sldId="579"/>
            <ac:spMk id="710" creationId="{12181388-DB10-330B-1601-2F787613E7F8}"/>
          </ac:spMkLst>
        </pc:spChg>
        <pc:spChg chg="del">
          <ac:chgData name="bullingerm.tmt22" userId="9ce3b8b2-035f-4175-b301-998b03a50e38" providerId="ADAL" clId="{D8E03A0D-8A42-4CF5-82BF-586E462557BB}" dt="2024-03-04T17:44:55.349" v="1875" actId="478"/>
          <ac:spMkLst>
            <pc:docMk/>
            <pc:sldMk cId="326362598" sldId="579"/>
            <ac:spMk id="711" creationId="{DA70A2E2-110E-BA50-9631-593DBC8B4123}"/>
          </ac:spMkLst>
        </pc:spChg>
        <pc:spChg chg="replST">
          <ac:chgData name="bullingerm.tmt22" userId="9ce3b8b2-035f-4175-b301-998b03a50e38" providerId="ADAL" clId="{D8E03A0D-8A42-4CF5-82BF-586E462557BB}" dt="2024-03-04T17:44:55.838" v="2198"/>
          <ac:spMkLst>
            <pc:docMk/>
            <pc:sldMk cId="326362598" sldId="579"/>
            <ac:spMk id="712" creationId="{0695B33C-4B53-EFC1-0311-69F418460E57}"/>
          </ac:spMkLst>
        </pc:spChg>
        <pc:spChg chg="replST">
          <ac:chgData name="bullingerm.tmt22" userId="9ce3b8b2-035f-4175-b301-998b03a50e38" providerId="ADAL" clId="{D8E03A0D-8A42-4CF5-82BF-586E462557BB}" dt="2024-03-04T17:44:55.846" v="2201"/>
          <ac:spMkLst>
            <pc:docMk/>
            <pc:sldMk cId="326362598" sldId="579"/>
            <ac:spMk id="713" creationId="{F20DC2EF-9113-E5F5-A5C9-E902BC512D30}"/>
          </ac:spMkLst>
        </pc:spChg>
        <pc:spChg chg="ord replST">
          <ac:chgData name="bullingerm.tmt22" userId="9ce3b8b2-035f-4175-b301-998b03a50e38" providerId="ADAL" clId="{D8E03A0D-8A42-4CF5-82BF-586E462557BB}" dt="2024-03-04T17:44:55.918" v="2240"/>
          <ac:spMkLst>
            <pc:docMk/>
            <pc:sldMk cId="326362598" sldId="579"/>
            <ac:spMk id="714" creationId="{3A299DAB-8A67-5547-68F2-CF4D85CE8161}"/>
          </ac:spMkLst>
        </pc:spChg>
        <pc:spChg chg="replST">
          <ac:chgData name="bullingerm.tmt22" userId="9ce3b8b2-035f-4175-b301-998b03a50e38" providerId="ADAL" clId="{D8E03A0D-8A42-4CF5-82BF-586E462557BB}" dt="2024-03-04T17:44:55.848" v="2205"/>
          <ac:spMkLst>
            <pc:docMk/>
            <pc:sldMk cId="326362598" sldId="579"/>
            <ac:spMk id="715" creationId="{712480CF-0348-12B3-EDE7-434E7075EA84}"/>
          </ac:spMkLst>
        </pc:spChg>
        <pc:spChg chg="replST">
          <ac:chgData name="bullingerm.tmt22" userId="9ce3b8b2-035f-4175-b301-998b03a50e38" providerId="ADAL" clId="{D8E03A0D-8A42-4CF5-82BF-586E462557BB}" dt="2024-03-04T17:44:55.859" v="2208"/>
          <ac:spMkLst>
            <pc:docMk/>
            <pc:sldMk cId="326362598" sldId="579"/>
            <ac:spMk id="716" creationId="{B6AD25A0-DEA2-5530-0621-5CCF16E8E3AE}"/>
          </ac:spMkLst>
        </pc:spChg>
        <pc:spChg chg="del">
          <ac:chgData name="bullingerm.tmt22" userId="9ce3b8b2-035f-4175-b301-998b03a50e38" providerId="ADAL" clId="{D8E03A0D-8A42-4CF5-82BF-586E462557BB}" dt="2024-03-01T10:49:08.016" v="261" actId="478"/>
          <ac:spMkLst>
            <pc:docMk/>
            <pc:sldMk cId="326362598" sldId="579"/>
            <ac:spMk id="717" creationId="{0795F25E-D3B0-D556-F469-C06B0EFA42B5}"/>
          </ac:spMkLst>
        </pc:spChg>
        <pc:spChg chg="replST">
          <ac:chgData name="bullingerm.tmt22" userId="9ce3b8b2-035f-4175-b301-998b03a50e38" providerId="ADAL" clId="{D8E03A0D-8A42-4CF5-82BF-586E462557BB}" dt="2024-03-04T17:44:55.859" v="2212"/>
          <ac:spMkLst>
            <pc:docMk/>
            <pc:sldMk cId="326362598" sldId="579"/>
            <ac:spMk id="718" creationId="{0E543483-61E0-971E-A4DF-AD728C6B6BAC}"/>
          </ac:spMkLst>
        </pc:spChg>
        <pc:spChg chg="del">
          <ac:chgData name="bullingerm.tmt22" userId="9ce3b8b2-035f-4175-b301-998b03a50e38" providerId="ADAL" clId="{D8E03A0D-8A42-4CF5-82BF-586E462557BB}" dt="2024-03-01T10:49:08.016" v="260" actId="478"/>
          <ac:spMkLst>
            <pc:docMk/>
            <pc:sldMk cId="326362598" sldId="579"/>
            <ac:spMk id="718" creationId="{516B1576-7C6C-19FC-801B-F7DFA53665F8}"/>
          </ac:spMkLst>
        </pc:spChg>
        <pc:spChg chg="replST">
          <ac:chgData name="bullingerm.tmt22" userId="9ce3b8b2-035f-4175-b301-998b03a50e38" providerId="ADAL" clId="{D8E03A0D-8A42-4CF5-82BF-586E462557BB}" dt="2024-03-04T17:44:55.868" v="2215"/>
          <ac:spMkLst>
            <pc:docMk/>
            <pc:sldMk cId="326362598" sldId="579"/>
            <ac:spMk id="719" creationId="{4AB97544-7B40-4BFB-91E4-C91C14E89FC5}"/>
          </ac:spMkLst>
        </pc:spChg>
        <pc:spChg chg="del">
          <ac:chgData name="bullingerm.tmt22" userId="9ce3b8b2-035f-4175-b301-998b03a50e38" providerId="ADAL" clId="{D8E03A0D-8A42-4CF5-82BF-586E462557BB}" dt="2024-03-01T10:49:08" v="259" actId="478"/>
          <ac:spMkLst>
            <pc:docMk/>
            <pc:sldMk cId="326362598" sldId="579"/>
            <ac:spMk id="719" creationId="{776AD67B-C2AE-2278-B54E-F1E8992B4350}"/>
          </ac:spMkLst>
        </pc:spChg>
        <pc:spChg chg="del">
          <ac:chgData name="bullingerm.tmt22" userId="9ce3b8b2-035f-4175-b301-998b03a50e38" providerId="ADAL" clId="{D8E03A0D-8A42-4CF5-82BF-586E462557BB}" dt="2024-03-01T10:49:08" v="258" actId="478"/>
          <ac:spMkLst>
            <pc:docMk/>
            <pc:sldMk cId="326362598" sldId="579"/>
            <ac:spMk id="720" creationId="{2C4B906A-2D71-CA47-CC69-0E086459D496}"/>
          </ac:spMkLst>
        </pc:spChg>
        <pc:spChg chg="replST">
          <ac:chgData name="bullingerm.tmt22" userId="9ce3b8b2-035f-4175-b301-998b03a50e38" providerId="ADAL" clId="{D8E03A0D-8A42-4CF5-82BF-586E462557BB}" dt="2024-03-04T17:44:55.879" v="2219"/>
          <ac:spMkLst>
            <pc:docMk/>
            <pc:sldMk cId="326362598" sldId="579"/>
            <ac:spMk id="721" creationId="{290C51F6-74BC-1E35-84A0-5974A35CB51F}"/>
          </ac:spMkLst>
        </pc:spChg>
        <pc:spChg chg="del">
          <ac:chgData name="bullingerm.tmt22" userId="9ce3b8b2-035f-4175-b301-998b03a50e38" providerId="ADAL" clId="{D8E03A0D-8A42-4CF5-82BF-586E462557BB}" dt="2024-03-01T10:49:08" v="257" actId="478"/>
          <ac:spMkLst>
            <pc:docMk/>
            <pc:sldMk cId="326362598" sldId="579"/>
            <ac:spMk id="721" creationId="{CC368179-FDF5-2CED-B332-D3F43CF3D679}"/>
          </ac:spMkLst>
        </pc:spChg>
        <pc:spChg chg="replST">
          <ac:chgData name="bullingerm.tmt22" userId="9ce3b8b2-035f-4175-b301-998b03a50e38" providerId="ADAL" clId="{D8E03A0D-8A42-4CF5-82BF-586E462557BB}" dt="2024-03-04T17:44:55.879" v="2222"/>
          <ac:spMkLst>
            <pc:docMk/>
            <pc:sldMk cId="326362598" sldId="579"/>
            <ac:spMk id="722" creationId="{4D1E8DE4-F28D-72DC-3E21-88487248934E}"/>
          </ac:spMkLst>
        </pc:spChg>
        <pc:spChg chg="del">
          <ac:chgData name="bullingerm.tmt22" userId="9ce3b8b2-035f-4175-b301-998b03a50e38" providerId="ADAL" clId="{D8E03A0D-8A42-4CF5-82BF-586E462557BB}" dt="2024-03-01T10:49:08" v="256" actId="478"/>
          <ac:spMkLst>
            <pc:docMk/>
            <pc:sldMk cId="326362598" sldId="579"/>
            <ac:spMk id="722" creationId="{99843F5B-D5FF-5098-FD73-16BEBC86E789}"/>
          </ac:spMkLst>
        </pc:spChg>
        <pc:spChg chg="del">
          <ac:chgData name="bullingerm.tmt22" userId="9ce3b8b2-035f-4175-b301-998b03a50e38" providerId="ADAL" clId="{D8E03A0D-8A42-4CF5-82BF-586E462557BB}" dt="2024-03-01T10:49:08" v="255" actId="478"/>
          <ac:spMkLst>
            <pc:docMk/>
            <pc:sldMk cId="326362598" sldId="579"/>
            <ac:spMk id="723" creationId="{32A6E58E-4394-AB39-AA17-52A2ED6B1588}"/>
          </ac:spMkLst>
        </pc:spChg>
        <pc:spChg chg="replST">
          <ac:chgData name="bullingerm.tmt22" userId="9ce3b8b2-035f-4175-b301-998b03a50e38" providerId="ADAL" clId="{D8E03A0D-8A42-4CF5-82BF-586E462557BB}" dt="2024-03-04T17:44:55.888" v="2226"/>
          <ac:spMkLst>
            <pc:docMk/>
            <pc:sldMk cId="326362598" sldId="579"/>
            <ac:spMk id="724" creationId="{45093D75-3BFA-E047-A4FC-540E208059DA}"/>
          </ac:spMkLst>
        </pc:spChg>
        <pc:spChg chg="del">
          <ac:chgData name="bullingerm.tmt22" userId="9ce3b8b2-035f-4175-b301-998b03a50e38" providerId="ADAL" clId="{D8E03A0D-8A42-4CF5-82BF-586E462557BB}" dt="2024-03-01T10:49:08" v="254" actId="478"/>
          <ac:spMkLst>
            <pc:docMk/>
            <pc:sldMk cId="326362598" sldId="579"/>
            <ac:spMk id="724" creationId="{EEDDF1BA-9F1C-0E1C-0075-55B8B212BA50}"/>
          </ac:spMkLst>
        </pc:spChg>
        <pc:spChg chg="del">
          <ac:chgData name="bullingerm.tmt22" userId="9ce3b8b2-035f-4175-b301-998b03a50e38" providerId="ADAL" clId="{D8E03A0D-8A42-4CF5-82BF-586E462557BB}" dt="2024-03-01T10:49:08" v="246" actId="478"/>
          <ac:spMkLst>
            <pc:docMk/>
            <pc:sldMk cId="326362598" sldId="579"/>
            <ac:spMk id="725" creationId="{5BA74919-925A-43DB-6B2D-801EA39585DD}"/>
          </ac:spMkLst>
        </pc:spChg>
        <pc:spChg chg="replST">
          <ac:chgData name="bullingerm.tmt22" userId="9ce3b8b2-035f-4175-b301-998b03a50e38" providerId="ADAL" clId="{D8E03A0D-8A42-4CF5-82BF-586E462557BB}" dt="2024-03-04T17:44:55.888" v="2229"/>
          <ac:spMkLst>
            <pc:docMk/>
            <pc:sldMk cId="326362598" sldId="579"/>
            <ac:spMk id="725" creationId="{E1B765FB-001E-5B69-D109-94A62E622786}"/>
          </ac:spMkLst>
        </pc:spChg>
        <pc:spChg chg="del">
          <ac:chgData name="bullingerm.tmt22" userId="9ce3b8b2-035f-4175-b301-998b03a50e38" providerId="ADAL" clId="{D8E03A0D-8A42-4CF5-82BF-586E462557BB}" dt="2024-03-01T10:49:08" v="239" actId="478"/>
          <ac:spMkLst>
            <pc:docMk/>
            <pc:sldMk cId="326362598" sldId="579"/>
            <ac:spMk id="726" creationId="{0F1452CE-C134-F465-94B8-8CD1D516743B}"/>
          </ac:spMkLst>
        </pc:spChg>
        <pc:spChg chg="del">
          <ac:chgData name="bullingerm.tmt22" userId="9ce3b8b2-035f-4175-b301-998b03a50e38" providerId="ADAL" clId="{D8E03A0D-8A42-4CF5-82BF-586E462557BB}" dt="2024-03-01T10:49:08" v="247" actId="478"/>
          <ac:spMkLst>
            <pc:docMk/>
            <pc:sldMk cId="326362598" sldId="579"/>
            <ac:spMk id="727" creationId="{CFD55CF4-3783-A636-BD42-2B50F4CBC4FC}"/>
          </ac:spMkLst>
        </pc:spChg>
        <pc:spChg chg="replST">
          <ac:chgData name="bullingerm.tmt22" userId="9ce3b8b2-035f-4175-b301-998b03a50e38" providerId="ADAL" clId="{D8E03A0D-8A42-4CF5-82BF-586E462557BB}" dt="2024-03-04T17:44:55.903" v="2233"/>
          <ac:spMkLst>
            <pc:docMk/>
            <pc:sldMk cId="326362598" sldId="579"/>
            <ac:spMk id="727" creationId="{D17C049D-EC35-9079-8BF0-24A5A75688C0}"/>
          </ac:spMkLst>
        </pc:spChg>
        <pc:spChg chg="del">
          <ac:chgData name="bullingerm.tmt22" userId="9ce3b8b2-035f-4175-b301-998b03a50e38" providerId="ADAL" clId="{D8E03A0D-8A42-4CF5-82BF-586E462557BB}" dt="2024-03-01T10:49:08" v="238" actId="478"/>
          <ac:spMkLst>
            <pc:docMk/>
            <pc:sldMk cId="326362598" sldId="579"/>
            <ac:spMk id="728" creationId="{4E708CA7-44E9-6894-1497-4A7620C1113E}"/>
          </ac:spMkLst>
        </pc:spChg>
        <pc:spChg chg="replST">
          <ac:chgData name="bullingerm.tmt22" userId="9ce3b8b2-035f-4175-b301-998b03a50e38" providerId="ADAL" clId="{D8E03A0D-8A42-4CF5-82BF-586E462557BB}" dt="2024-03-04T17:44:55.908" v="2236"/>
          <ac:spMkLst>
            <pc:docMk/>
            <pc:sldMk cId="326362598" sldId="579"/>
            <ac:spMk id="728" creationId="{85D18101-065E-36BD-836B-EDAB64D8C983}"/>
          </ac:spMkLst>
        </pc:spChg>
        <pc:spChg chg="del">
          <ac:chgData name="bullingerm.tmt22" userId="9ce3b8b2-035f-4175-b301-998b03a50e38" providerId="ADAL" clId="{D8E03A0D-8A42-4CF5-82BF-586E462557BB}" dt="2024-03-01T10:49:08" v="237" actId="478"/>
          <ac:spMkLst>
            <pc:docMk/>
            <pc:sldMk cId="326362598" sldId="579"/>
            <ac:spMk id="729" creationId="{F80331DB-235D-1A3F-FEE9-4F0FDB2A16D0}"/>
          </ac:spMkLst>
        </pc:spChg>
        <pc:spChg chg="del">
          <ac:chgData name="bullingerm.tmt22" userId="9ce3b8b2-035f-4175-b301-998b03a50e38" providerId="ADAL" clId="{D8E03A0D-8A42-4CF5-82BF-586E462557BB}" dt="2024-03-01T10:49:08" v="236" actId="478"/>
          <ac:spMkLst>
            <pc:docMk/>
            <pc:sldMk cId="326362598" sldId="579"/>
            <ac:spMk id="730" creationId="{FCB9D773-29A4-35C3-530C-FD314CDE98D6}"/>
          </ac:spMkLst>
        </pc:spChg>
        <pc:spChg chg="del">
          <ac:chgData name="bullingerm.tmt22" userId="9ce3b8b2-035f-4175-b301-998b03a50e38" providerId="ADAL" clId="{D8E03A0D-8A42-4CF5-82BF-586E462557BB}" dt="2024-03-01T10:49:07.984" v="235" actId="478"/>
          <ac:spMkLst>
            <pc:docMk/>
            <pc:sldMk cId="326362598" sldId="579"/>
            <ac:spMk id="731" creationId="{D0C8A211-6AC9-11E6-8E66-BD2E6F9D3BDB}"/>
          </ac:spMkLst>
        </pc:spChg>
        <pc:spChg chg="del">
          <ac:chgData name="bullingerm.tmt22" userId="9ce3b8b2-035f-4175-b301-998b03a50e38" providerId="ADAL" clId="{D8E03A0D-8A42-4CF5-82BF-586E462557BB}" dt="2024-03-01T10:49:07.984" v="234" actId="478"/>
          <ac:spMkLst>
            <pc:docMk/>
            <pc:sldMk cId="326362598" sldId="579"/>
            <ac:spMk id="732" creationId="{5A542D62-1177-2CA4-07B4-911F6D09A54A}"/>
          </ac:spMkLst>
        </pc:spChg>
        <pc:spChg chg="del">
          <ac:chgData name="bullingerm.tmt22" userId="9ce3b8b2-035f-4175-b301-998b03a50e38" providerId="ADAL" clId="{D8E03A0D-8A42-4CF5-82BF-586E462557BB}" dt="2024-03-01T10:49:07.984" v="233" actId="478"/>
          <ac:spMkLst>
            <pc:docMk/>
            <pc:sldMk cId="326362598" sldId="579"/>
            <ac:spMk id="733" creationId="{3D342A66-07ED-8B3D-F22F-4E2E336AC5CC}"/>
          </ac:spMkLst>
        </pc:spChg>
        <pc:spChg chg="del">
          <ac:chgData name="bullingerm.tmt22" userId="9ce3b8b2-035f-4175-b301-998b03a50e38" providerId="ADAL" clId="{D8E03A0D-8A42-4CF5-82BF-586E462557BB}" dt="2024-03-01T10:49:07.984" v="232" actId="478"/>
          <ac:spMkLst>
            <pc:docMk/>
            <pc:sldMk cId="326362598" sldId="579"/>
            <ac:spMk id="734" creationId="{ED71C15E-759D-2137-F206-A6038A4F6031}"/>
          </ac:spMkLst>
        </pc:spChg>
        <pc:spChg chg="del">
          <ac:chgData name="bullingerm.tmt22" userId="9ce3b8b2-035f-4175-b301-998b03a50e38" providerId="ADAL" clId="{D8E03A0D-8A42-4CF5-82BF-586E462557BB}" dt="2024-03-01T10:49:07.984" v="231" actId="478"/>
          <ac:spMkLst>
            <pc:docMk/>
            <pc:sldMk cId="326362598" sldId="579"/>
            <ac:spMk id="735" creationId="{5F29A656-EB8A-4143-9559-A4DC76EBD36A}"/>
          </ac:spMkLst>
        </pc:spChg>
        <pc:cxnChg chg="del ord replST">
          <ac:chgData name="bullingerm.tmt22" userId="9ce3b8b2-035f-4175-b301-998b03a50e38" providerId="ADAL" clId="{D8E03A0D-8A42-4CF5-82BF-586E462557BB}" dt="2024-03-04T17:44:55.336" v="1868" actId="478"/>
          <ac:cxnSpMkLst>
            <pc:docMk/>
            <pc:sldMk cId="326362598" sldId="579"/>
            <ac:cxnSpMk id="652" creationId="{A857ABDC-97B8-897B-46FA-80FD54FCDF20}"/>
          </ac:cxnSpMkLst>
        </pc:cxnChg>
        <pc:cxnChg chg="del ord replST">
          <ac:chgData name="bullingerm.tmt22" userId="9ce3b8b2-035f-4175-b301-998b03a50e38" providerId="ADAL" clId="{D8E03A0D-8A42-4CF5-82BF-586E462557BB}" dt="2024-03-04T17:44:55.336" v="1869" actId="478"/>
          <ac:cxnSpMkLst>
            <pc:docMk/>
            <pc:sldMk cId="326362598" sldId="579"/>
            <ac:cxnSpMk id="655" creationId="{76D4B08E-7F88-636C-32CD-EC83E3F7B119}"/>
          </ac:cxnSpMkLst>
        </pc:cxnChg>
        <pc:cxnChg chg="del ord replST">
          <ac:chgData name="bullingerm.tmt22" userId="9ce3b8b2-035f-4175-b301-998b03a50e38" providerId="ADAL" clId="{D8E03A0D-8A42-4CF5-82BF-586E462557BB}" dt="2024-03-04T17:44:55.336" v="1870" actId="478"/>
          <ac:cxnSpMkLst>
            <pc:docMk/>
            <pc:sldMk cId="326362598" sldId="579"/>
            <ac:cxnSpMk id="659" creationId="{D3EED68C-7CB7-3DFB-CA55-2F155F085CFD}"/>
          </ac:cxnSpMkLst>
        </pc:cxnChg>
        <pc:cxnChg chg="del ord replST">
          <ac:chgData name="bullingerm.tmt22" userId="9ce3b8b2-035f-4175-b301-998b03a50e38" providerId="ADAL" clId="{D8E03A0D-8A42-4CF5-82BF-586E462557BB}" dt="2024-03-04T17:44:55.336" v="1871" actId="478"/>
          <ac:cxnSpMkLst>
            <pc:docMk/>
            <pc:sldMk cId="326362598" sldId="579"/>
            <ac:cxnSpMk id="662" creationId="{994B0A76-F26B-42C7-23F9-823B2CB97F44}"/>
          </ac:cxnSpMkLst>
        </pc:cxnChg>
        <pc:cxnChg chg="del ord replST">
          <ac:chgData name="bullingerm.tmt22" userId="9ce3b8b2-035f-4175-b301-998b03a50e38" providerId="ADAL" clId="{D8E03A0D-8A42-4CF5-82BF-586E462557BB}" dt="2024-03-04T17:44:55.336" v="1872" actId="478"/>
          <ac:cxnSpMkLst>
            <pc:docMk/>
            <pc:sldMk cId="326362598" sldId="579"/>
            <ac:cxnSpMk id="665" creationId="{0519D2B0-6962-F72F-CEB6-C8EBBCAFD2FC}"/>
          </ac:cxnSpMkLst>
        </pc:cxnChg>
        <pc:cxnChg chg="del ord replST">
          <ac:chgData name="bullingerm.tmt22" userId="9ce3b8b2-035f-4175-b301-998b03a50e38" providerId="ADAL" clId="{D8E03A0D-8A42-4CF5-82BF-586E462557BB}" dt="2024-03-04T17:44:55.336" v="1873" actId="478"/>
          <ac:cxnSpMkLst>
            <pc:docMk/>
            <pc:sldMk cId="326362598" sldId="579"/>
            <ac:cxnSpMk id="668" creationId="{03D34925-DFEB-8DEB-D8BC-5C3AAA8239CD}"/>
          </ac:cxnSpMkLst>
        </pc:cxnChg>
        <pc:cxnChg chg="del ord replST">
          <ac:chgData name="bullingerm.tmt22" userId="9ce3b8b2-035f-4175-b301-998b03a50e38" providerId="ADAL" clId="{D8E03A0D-8A42-4CF5-82BF-586E462557BB}" dt="2024-03-04T17:44:55.336" v="1874" actId="478"/>
          <ac:cxnSpMkLst>
            <pc:docMk/>
            <pc:sldMk cId="326362598" sldId="579"/>
            <ac:cxnSpMk id="669" creationId="{C51615C0-E054-93CE-A97E-1FA453015074}"/>
          </ac:cxnSpMkLst>
        </pc:cxnChg>
        <pc:cxnChg chg="del">
          <ac:chgData name="bullingerm.tmt22" userId="9ce3b8b2-035f-4175-b301-998b03a50e38" providerId="ADAL" clId="{D8E03A0D-8A42-4CF5-82BF-586E462557BB}" dt="2024-03-01T10:49:07.968" v="218" actId="478"/>
          <ac:cxnSpMkLst>
            <pc:docMk/>
            <pc:sldMk cId="326362598" sldId="579"/>
            <ac:cxnSpMk id="700" creationId="{D192D492-B669-F9D6-B35A-8D1A403CF0AA}"/>
          </ac:cxnSpMkLst>
        </pc:cxnChg>
        <pc:cxnChg chg="del">
          <ac:chgData name="bullingerm.tmt22" userId="9ce3b8b2-035f-4175-b301-998b03a50e38" providerId="ADAL" clId="{D8E03A0D-8A42-4CF5-82BF-586E462557BB}" dt="2024-03-01T10:49:07.968" v="219" actId="478"/>
          <ac:cxnSpMkLst>
            <pc:docMk/>
            <pc:sldMk cId="326362598" sldId="579"/>
            <ac:cxnSpMk id="703" creationId="{568C64F7-3119-FAE1-5F02-C116D0C99144}"/>
          </ac:cxnSpMkLst>
        </pc:cxnChg>
        <pc:cxnChg chg="del">
          <ac:chgData name="bullingerm.tmt22" userId="9ce3b8b2-035f-4175-b301-998b03a50e38" providerId="ADAL" clId="{D8E03A0D-8A42-4CF5-82BF-586E462557BB}" dt="2024-03-01T10:49:07.968" v="220" actId="478"/>
          <ac:cxnSpMkLst>
            <pc:docMk/>
            <pc:sldMk cId="326362598" sldId="579"/>
            <ac:cxnSpMk id="706" creationId="{427D9992-6F5D-CF2B-0CE5-8881EB3D519E}"/>
          </ac:cxnSpMkLst>
        </pc:cxnChg>
        <pc:cxnChg chg="del">
          <ac:chgData name="bullingerm.tmt22" userId="9ce3b8b2-035f-4175-b301-998b03a50e38" providerId="ADAL" clId="{D8E03A0D-8A42-4CF5-82BF-586E462557BB}" dt="2024-03-01T10:49:07.968" v="221" actId="478"/>
          <ac:cxnSpMkLst>
            <pc:docMk/>
            <pc:sldMk cId="326362598" sldId="579"/>
            <ac:cxnSpMk id="709" creationId="{E2763225-A0C0-956E-837C-9F6069225976}"/>
          </ac:cxnSpMkLst>
        </pc:cxnChg>
        <pc:cxnChg chg="del">
          <ac:chgData name="bullingerm.tmt22" userId="9ce3b8b2-035f-4175-b301-998b03a50e38" providerId="ADAL" clId="{D8E03A0D-8A42-4CF5-82BF-586E462557BB}" dt="2024-03-01T10:49:07.968" v="222" actId="478"/>
          <ac:cxnSpMkLst>
            <pc:docMk/>
            <pc:sldMk cId="326362598" sldId="579"/>
            <ac:cxnSpMk id="712" creationId="{BC1DDFD2-042F-1E40-EBCC-C27BA6574425}"/>
          </ac:cxnSpMkLst>
        </pc:cxnChg>
        <pc:cxnChg chg="del">
          <ac:chgData name="bullingerm.tmt22" userId="9ce3b8b2-035f-4175-b301-998b03a50e38" providerId="ADAL" clId="{D8E03A0D-8A42-4CF5-82BF-586E462557BB}" dt="2024-03-01T10:49:07.968" v="223" actId="478"/>
          <ac:cxnSpMkLst>
            <pc:docMk/>
            <pc:sldMk cId="326362598" sldId="579"/>
            <ac:cxnSpMk id="715" creationId="{4A77FB95-EDDB-0A0C-31F1-E18F6A01C724}"/>
          </ac:cxnSpMkLst>
        </pc:cxnChg>
        <pc:cxnChg chg="del">
          <ac:chgData name="bullingerm.tmt22" userId="9ce3b8b2-035f-4175-b301-998b03a50e38" providerId="ADAL" clId="{D8E03A0D-8A42-4CF5-82BF-586E462557BB}" dt="2024-03-01T10:49:07.968" v="224" actId="478"/>
          <ac:cxnSpMkLst>
            <pc:docMk/>
            <pc:sldMk cId="326362598" sldId="579"/>
            <ac:cxnSpMk id="716" creationId="{14742289-84C3-1348-C861-3523030E1D59}"/>
          </ac:cxnSpMkLst>
        </pc:cxnChg>
        <pc:cxnChg chg="ord replST">
          <ac:chgData name="bullingerm.tmt22" userId="9ce3b8b2-035f-4175-b301-998b03a50e38" providerId="ADAL" clId="{D8E03A0D-8A42-4CF5-82BF-586E462557BB}" dt="2024-03-04T17:44:55.918" v="2241"/>
          <ac:cxnSpMkLst>
            <pc:docMk/>
            <pc:sldMk cId="326362598" sldId="579"/>
            <ac:cxnSpMk id="717" creationId="{727E1397-3CA6-6146-B4F8-42BBADF01146}"/>
          </ac:cxnSpMkLst>
        </pc:cxnChg>
        <pc:cxnChg chg="ord replST">
          <ac:chgData name="bullingerm.tmt22" userId="9ce3b8b2-035f-4175-b301-998b03a50e38" providerId="ADAL" clId="{D8E03A0D-8A42-4CF5-82BF-586E462557BB}" dt="2024-03-04T17:44:55.918" v="2242"/>
          <ac:cxnSpMkLst>
            <pc:docMk/>
            <pc:sldMk cId="326362598" sldId="579"/>
            <ac:cxnSpMk id="720" creationId="{09A49FCD-45F7-57A8-4641-D6918F786796}"/>
          </ac:cxnSpMkLst>
        </pc:cxnChg>
        <pc:cxnChg chg="ord replST">
          <ac:chgData name="bullingerm.tmt22" userId="9ce3b8b2-035f-4175-b301-998b03a50e38" providerId="ADAL" clId="{D8E03A0D-8A42-4CF5-82BF-586E462557BB}" dt="2024-03-04T17:44:55.918" v="2243"/>
          <ac:cxnSpMkLst>
            <pc:docMk/>
            <pc:sldMk cId="326362598" sldId="579"/>
            <ac:cxnSpMk id="723" creationId="{6D50C6D6-21C8-FE63-F992-EF70CC3490A7}"/>
          </ac:cxnSpMkLst>
        </pc:cxnChg>
        <pc:cxnChg chg="ord replST">
          <ac:chgData name="bullingerm.tmt22" userId="9ce3b8b2-035f-4175-b301-998b03a50e38" providerId="ADAL" clId="{D8E03A0D-8A42-4CF5-82BF-586E462557BB}" dt="2024-03-04T17:44:55.918" v="2244"/>
          <ac:cxnSpMkLst>
            <pc:docMk/>
            <pc:sldMk cId="326362598" sldId="579"/>
            <ac:cxnSpMk id="726" creationId="{E781B99D-1407-F7D6-17AD-FC94692125A0}"/>
          </ac:cxnSpMkLst>
        </pc:cxnChg>
        <pc:cxnChg chg="ord replST">
          <ac:chgData name="bullingerm.tmt22" userId="9ce3b8b2-035f-4175-b301-998b03a50e38" providerId="ADAL" clId="{D8E03A0D-8A42-4CF5-82BF-586E462557BB}" dt="2024-03-04T17:44:55.918" v="2245"/>
          <ac:cxnSpMkLst>
            <pc:docMk/>
            <pc:sldMk cId="326362598" sldId="579"/>
            <ac:cxnSpMk id="729" creationId="{3863692E-27D1-7ADB-6016-E661C791C8A9}"/>
          </ac:cxnSpMkLst>
        </pc:cxnChg>
        <pc:cxnChg chg="ord replST">
          <ac:chgData name="bullingerm.tmt22" userId="9ce3b8b2-035f-4175-b301-998b03a50e38" providerId="ADAL" clId="{D8E03A0D-8A42-4CF5-82BF-586E462557BB}" dt="2024-03-04T17:44:55.918" v="2246"/>
          <ac:cxnSpMkLst>
            <pc:docMk/>
            <pc:sldMk cId="326362598" sldId="579"/>
            <ac:cxnSpMk id="730" creationId="{1E59F5CC-506E-B003-6BA7-7586FC46C7B2}"/>
          </ac:cxnSpMkLst>
        </pc:cxnChg>
      </pc:sldChg>
      <pc:sldChg chg="addSp delSp modSp mod">
        <pc:chgData name="bullingerm.tmt22" userId="9ce3b8b2-035f-4175-b301-998b03a50e38" providerId="ADAL" clId="{D8E03A0D-8A42-4CF5-82BF-586E462557BB}" dt="2024-03-04T17:44:56.128" v="2299"/>
        <pc:sldMkLst>
          <pc:docMk/>
          <pc:sldMk cId="459806595" sldId="580"/>
        </pc:sldMkLst>
        <pc:spChg chg="del">
          <ac:chgData name="bullingerm.tmt22" userId="9ce3b8b2-035f-4175-b301-998b03a50e38" providerId="ADAL" clId="{D8E03A0D-8A42-4CF5-82BF-586E462557BB}" dt="2024-03-01T10:49:08.050" v="276" actId="478"/>
          <ac:spMkLst>
            <pc:docMk/>
            <pc:sldMk cId="459806595" sldId="580"/>
            <ac:spMk id="640" creationId="{2C6AF027-E7ED-E5E4-AA28-3E7031F46157}"/>
          </ac:spMkLst>
        </pc:spChg>
        <pc:spChg chg="del">
          <ac:chgData name="bullingerm.tmt22" userId="9ce3b8b2-035f-4175-b301-998b03a50e38" providerId="ADAL" clId="{D8E03A0D-8A42-4CF5-82BF-586E462557BB}" dt="2024-03-04T17:44:55.428" v="1942" actId="478"/>
          <ac:spMkLst>
            <pc:docMk/>
            <pc:sldMk cId="459806595" sldId="580"/>
            <ac:spMk id="640" creationId="{7E4E3F01-11F4-9CEF-694B-2D55CB545D28}"/>
          </ac:spMkLst>
        </pc:spChg>
        <pc:spChg chg="del">
          <ac:chgData name="bullingerm.tmt22" userId="9ce3b8b2-035f-4175-b301-998b03a50e38" providerId="ADAL" clId="{D8E03A0D-8A42-4CF5-82BF-586E462557BB}" dt="2024-03-01T10:49:08.050" v="275" actId="478"/>
          <ac:spMkLst>
            <pc:docMk/>
            <pc:sldMk cId="459806595" sldId="580"/>
            <ac:spMk id="641" creationId="{004BE47C-D713-071C-2276-7D8BD7EA02D0}"/>
          </ac:spMkLst>
        </pc:spChg>
        <pc:spChg chg="del">
          <ac:chgData name="bullingerm.tmt22" userId="9ce3b8b2-035f-4175-b301-998b03a50e38" providerId="ADAL" clId="{D8E03A0D-8A42-4CF5-82BF-586E462557BB}" dt="2024-03-04T17:44:55.418" v="1935" actId="478"/>
          <ac:spMkLst>
            <pc:docMk/>
            <pc:sldMk cId="459806595" sldId="580"/>
            <ac:spMk id="641" creationId="{8EE85E08-527A-4151-58DF-FFCDC58EECDC}"/>
          </ac:spMkLst>
        </pc:spChg>
        <pc:spChg chg="del">
          <ac:chgData name="bullingerm.tmt22" userId="9ce3b8b2-035f-4175-b301-998b03a50e38" providerId="ADAL" clId="{D8E03A0D-8A42-4CF5-82BF-586E462557BB}" dt="2024-03-04T17:44:55.428" v="1943" actId="478"/>
          <ac:spMkLst>
            <pc:docMk/>
            <pc:sldMk cId="459806595" sldId="580"/>
            <ac:spMk id="642" creationId="{77E6EAF4-493F-D19A-C883-B0DA60FFB8C7}"/>
          </ac:spMkLst>
        </pc:spChg>
        <pc:spChg chg="del">
          <ac:chgData name="bullingerm.tmt22" userId="9ce3b8b2-035f-4175-b301-998b03a50e38" providerId="ADAL" clId="{D8E03A0D-8A42-4CF5-82BF-586E462557BB}" dt="2024-03-01T10:49:08.050" v="274" actId="478"/>
          <ac:spMkLst>
            <pc:docMk/>
            <pc:sldMk cId="459806595" sldId="580"/>
            <ac:spMk id="642" creationId="{CBEE62EC-0FDF-60D4-60F9-F3972570F5E7}"/>
          </ac:spMkLst>
        </pc:spChg>
        <pc:spChg chg="del">
          <ac:chgData name="bullingerm.tmt22" userId="9ce3b8b2-035f-4175-b301-998b03a50e38" providerId="ADAL" clId="{D8E03A0D-8A42-4CF5-82BF-586E462557BB}" dt="2024-03-01T10:49:08.050" v="273" actId="478"/>
          <ac:spMkLst>
            <pc:docMk/>
            <pc:sldMk cId="459806595" sldId="580"/>
            <ac:spMk id="643" creationId="{89C3EA77-2A22-6832-CB0A-62143D37588C}"/>
          </ac:spMkLst>
        </pc:spChg>
        <pc:spChg chg="del">
          <ac:chgData name="bullingerm.tmt22" userId="9ce3b8b2-035f-4175-b301-998b03a50e38" providerId="ADAL" clId="{D8E03A0D-8A42-4CF5-82BF-586E462557BB}" dt="2024-03-04T17:44:55.418" v="1934" actId="478"/>
          <ac:spMkLst>
            <pc:docMk/>
            <pc:sldMk cId="459806595" sldId="580"/>
            <ac:spMk id="643" creationId="{BB7F147E-C24D-F914-3185-E3A74D1B6E54}"/>
          </ac:spMkLst>
        </pc:spChg>
        <pc:spChg chg="del">
          <ac:chgData name="bullingerm.tmt22" userId="9ce3b8b2-035f-4175-b301-998b03a50e38" providerId="ADAL" clId="{D8E03A0D-8A42-4CF5-82BF-586E462557BB}" dt="2024-03-01T10:49:08.050" v="272" actId="478"/>
          <ac:spMkLst>
            <pc:docMk/>
            <pc:sldMk cId="459806595" sldId="580"/>
            <ac:spMk id="644" creationId="{9CB53D8D-F757-3807-206D-D2534E3B9607}"/>
          </ac:spMkLst>
        </pc:spChg>
        <pc:spChg chg="del">
          <ac:chgData name="bullingerm.tmt22" userId="9ce3b8b2-035f-4175-b301-998b03a50e38" providerId="ADAL" clId="{D8E03A0D-8A42-4CF5-82BF-586E462557BB}" dt="2024-03-04T17:44:55.418" v="1933" actId="478"/>
          <ac:spMkLst>
            <pc:docMk/>
            <pc:sldMk cId="459806595" sldId="580"/>
            <ac:spMk id="644" creationId="{D20BEA24-67C3-1BCC-A02C-0D29A28A3D1B}"/>
          </ac:spMkLst>
        </pc:spChg>
        <pc:spChg chg="del">
          <ac:chgData name="bullingerm.tmt22" userId="9ce3b8b2-035f-4175-b301-998b03a50e38" providerId="ADAL" clId="{D8E03A0D-8A42-4CF5-82BF-586E462557BB}" dt="2024-03-04T17:44:55.418" v="1932" actId="478"/>
          <ac:spMkLst>
            <pc:docMk/>
            <pc:sldMk cId="459806595" sldId="580"/>
            <ac:spMk id="645" creationId="{410F8350-BE6F-0F14-F972-B3AD99C41DCF}"/>
          </ac:spMkLst>
        </pc:spChg>
        <pc:spChg chg="del">
          <ac:chgData name="bullingerm.tmt22" userId="9ce3b8b2-035f-4175-b301-998b03a50e38" providerId="ADAL" clId="{D8E03A0D-8A42-4CF5-82BF-586E462557BB}" dt="2024-03-01T10:49:08.050" v="271" actId="478"/>
          <ac:spMkLst>
            <pc:docMk/>
            <pc:sldMk cId="459806595" sldId="580"/>
            <ac:spMk id="645" creationId="{60576A90-94BD-E1A9-0F21-AD0ACB8A80D2}"/>
          </ac:spMkLst>
        </pc:spChg>
        <pc:spChg chg="replST">
          <ac:chgData name="bullingerm.tmt22" userId="9ce3b8b2-035f-4175-b301-998b03a50e38" providerId="ADAL" clId="{D8E03A0D-8A42-4CF5-82BF-586E462557BB}" dt="2024-03-01T10:49:08.774" v="663"/>
          <ac:spMkLst>
            <pc:docMk/>
            <pc:sldMk cId="459806595" sldId="580"/>
            <ac:spMk id="647" creationId="{E634FBFD-90FC-3AB2-3E4F-3FDA80C2FEFE}"/>
          </ac:spMkLst>
        </pc:spChg>
        <pc:spChg chg="replST">
          <ac:chgData name="bullingerm.tmt22" userId="9ce3b8b2-035f-4175-b301-998b03a50e38" providerId="ADAL" clId="{D8E03A0D-8A42-4CF5-82BF-586E462557BB}" dt="2024-03-01T10:49:08.774" v="666"/>
          <ac:spMkLst>
            <pc:docMk/>
            <pc:sldMk cId="459806595" sldId="580"/>
            <ac:spMk id="648" creationId="{2E73CBEA-5640-D468-0B2F-10FE38621E08}"/>
          </ac:spMkLst>
        </pc:spChg>
        <pc:spChg chg="replST">
          <ac:chgData name="bullingerm.tmt22" userId="9ce3b8b2-035f-4175-b301-998b03a50e38" providerId="ADAL" clId="{D8E03A0D-8A42-4CF5-82BF-586E462557BB}" dt="2024-03-01T10:49:08.774" v="670"/>
          <ac:spMkLst>
            <pc:docMk/>
            <pc:sldMk cId="459806595" sldId="580"/>
            <ac:spMk id="650" creationId="{0E8BA3CD-6916-35A2-7589-939592D8C8D9}"/>
          </ac:spMkLst>
        </pc:spChg>
        <pc:spChg chg="replST">
          <ac:chgData name="bullingerm.tmt22" userId="9ce3b8b2-035f-4175-b301-998b03a50e38" providerId="ADAL" clId="{D8E03A0D-8A42-4CF5-82BF-586E462557BB}" dt="2024-03-01T10:49:08.792" v="673"/>
          <ac:spMkLst>
            <pc:docMk/>
            <pc:sldMk cId="459806595" sldId="580"/>
            <ac:spMk id="651" creationId="{11BCD2FA-B161-A008-593A-551D97F9572A}"/>
          </ac:spMkLst>
        </pc:spChg>
        <pc:spChg chg="del ord replST">
          <ac:chgData name="bullingerm.tmt22" userId="9ce3b8b2-035f-4175-b301-998b03a50e38" providerId="ADAL" clId="{D8E03A0D-8A42-4CF5-82BF-586E462557BB}" dt="2024-03-04T17:44:55.389" v="1914" actId="478"/>
          <ac:spMkLst>
            <pc:docMk/>
            <pc:sldMk cId="459806595" sldId="580"/>
            <ac:spMk id="652" creationId="{1C1AE383-C1D9-1014-9138-B60B6D8D6BED}"/>
          </ac:spMkLst>
        </pc:spChg>
        <pc:spChg chg="replST">
          <ac:chgData name="bullingerm.tmt22" userId="9ce3b8b2-035f-4175-b301-998b03a50e38" providerId="ADAL" clId="{D8E03A0D-8A42-4CF5-82BF-586E462557BB}" dt="2024-03-01T10:49:08.792" v="677"/>
          <ac:spMkLst>
            <pc:docMk/>
            <pc:sldMk cId="459806595" sldId="580"/>
            <ac:spMk id="653" creationId="{13EDC0D7-82DD-D554-A0AC-58AD915F9191}"/>
          </ac:spMkLst>
        </pc:spChg>
        <pc:spChg chg="replST">
          <ac:chgData name="bullingerm.tmt22" userId="9ce3b8b2-035f-4175-b301-998b03a50e38" providerId="ADAL" clId="{D8E03A0D-8A42-4CF5-82BF-586E462557BB}" dt="2024-03-01T10:49:08.807" v="680"/>
          <ac:spMkLst>
            <pc:docMk/>
            <pc:sldMk cId="459806595" sldId="580"/>
            <ac:spMk id="654" creationId="{DE1FBB8F-157D-571A-3822-554C3B35CA42}"/>
          </ac:spMkLst>
        </pc:spChg>
        <pc:spChg chg="replST">
          <ac:chgData name="bullingerm.tmt22" userId="9ce3b8b2-035f-4175-b301-998b03a50e38" providerId="ADAL" clId="{D8E03A0D-8A42-4CF5-82BF-586E462557BB}" dt="2024-03-01T10:49:08.807" v="684"/>
          <ac:spMkLst>
            <pc:docMk/>
            <pc:sldMk cId="459806595" sldId="580"/>
            <ac:spMk id="656" creationId="{13BB287A-5C3A-940D-A720-373D681F952E}"/>
          </ac:spMkLst>
        </pc:spChg>
        <pc:spChg chg="del">
          <ac:chgData name="bullingerm.tmt22" userId="9ce3b8b2-035f-4175-b301-998b03a50e38" providerId="ADAL" clId="{D8E03A0D-8A42-4CF5-82BF-586E462557BB}" dt="2024-03-04T17:44:55.418" v="1931" actId="478"/>
          <ac:spMkLst>
            <pc:docMk/>
            <pc:sldMk cId="459806595" sldId="580"/>
            <ac:spMk id="657" creationId="{4848C482-BD44-8CE6-AE1C-383E8CBBED6F}"/>
          </ac:spMkLst>
        </pc:spChg>
        <pc:spChg chg="del">
          <ac:chgData name="bullingerm.tmt22" userId="9ce3b8b2-035f-4175-b301-998b03a50e38" providerId="ADAL" clId="{D8E03A0D-8A42-4CF5-82BF-586E462557BB}" dt="2024-03-01T10:49:08.032" v="262" actId="478"/>
          <ac:spMkLst>
            <pc:docMk/>
            <pc:sldMk cId="459806595" sldId="580"/>
            <ac:spMk id="657" creationId="{B28BF7E5-BF5E-DB7E-072B-42E8CBB7A618}"/>
          </ac:spMkLst>
        </pc:spChg>
        <pc:spChg chg="replST">
          <ac:chgData name="bullingerm.tmt22" userId="9ce3b8b2-035f-4175-b301-998b03a50e38" providerId="ADAL" clId="{D8E03A0D-8A42-4CF5-82BF-586E462557BB}" dt="2024-03-01T10:49:08.807" v="687"/>
          <ac:spMkLst>
            <pc:docMk/>
            <pc:sldMk cId="459806595" sldId="580"/>
            <ac:spMk id="658" creationId="{23017A01-A8E3-F1D6-5E66-4E74492F6379}"/>
          </ac:spMkLst>
        </pc:spChg>
        <pc:spChg chg="replST">
          <ac:chgData name="bullingerm.tmt22" userId="9ce3b8b2-035f-4175-b301-998b03a50e38" providerId="ADAL" clId="{D8E03A0D-8A42-4CF5-82BF-586E462557BB}" dt="2024-03-01T10:49:08.823" v="691"/>
          <ac:spMkLst>
            <pc:docMk/>
            <pc:sldMk cId="459806595" sldId="580"/>
            <ac:spMk id="660" creationId="{1E3FE0E1-B103-B13B-F4B6-55FA6AAC7DE6}"/>
          </ac:spMkLst>
        </pc:spChg>
        <pc:spChg chg="replST">
          <ac:chgData name="bullingerm.tmt22" userId="9ce3b8b2-035f-4175-b301-998b03a50e38" providerId="ADAL" clId="{D8E03A0D-8A42-4CF5-82BF-586E462557BB}" dt="2024-03-01T10:49:08.823" v="694"/>
          <ac:spMkLst>
            <pc:docMk/>
            <pc:sldMk cId="459806595" sldId="580"/>
            <ac:spMk id="661" creationId="{7ADADBD2-B978-794D-4EA5-E5E4165BE9A7}"/>
          </ac:spMkLst>
        </pc:spChg>
        <pc:spChg chg="replST">
          <ac:chgData name="bullingerm.tmt22" userId="9ce3b8b2-035f-4175-b301-998b03a50e38" providerId="ADAL" clId="{D8E03A0D-8A42-4CF5-82BF-586E462557BB}" dt="2024-03-01T10:49:08.839" v="698"/>
          <ac:spMkLst>
            <pc:docMk/>
            <pc:sldMk cId="459806595" sldId="580"/>
            <ac:spMk id="663" creationId="{1201A47D-B57C-B85B-AD8C-F218758C96E5}"/>
          </ac:spMkLst>
        </pc:spChg>
        <pc:spChg chg="replST">
          <ac:chgData name="bullingerm.tmt22" userId="9ce3b8b2-035f-4175-b301-998b03a50e38" providerId="ADAL" clId="{D8E03A0D-8A42-4CF5-82BF-586E462557BB}" dt="2024-03-01T10:49:08.839" v="701"/>
          <ac:spMkLst>
            <pc:docMk/>
            <pc:sldMk cId="459806595" sldId="580"/>
            <ac:spMk id="664" creationId="{B4DD6285-18A6-2E76-382E-0BD030160818}"/>
          </ac:spMkLst>
        </pc:spChg>
        <pc:spChg chg="replST">
          <ac:chgData name="bullingerm.tmt22" userId="9ce3b8b2-035f-4175-b301-998b03a50e38" providerId="ADAL" clId="{D8E03A0D-8A42-4CF5-82BF-586E462557BB}" dt="2024-03-01T10:49:08.839" v="705"/>
          <ac:spMkLst>
            <pc:docMk/>
            <pc:sldMk cId="459806595" sldId="580"/>
            <ac:spMk id="666" creationId="{C6401E61-DA9C-2D6C-B6CE-9620C70D48D5}"/>
          </ac:spMkLst>
        </pc:spChg>
        <pc:spChg chg="replST">
          <ac:chgData name="bullingerm.tmt22" userId="9ce3b8b2-035f-4175-b301-998b03a50e38" providerId="ADAL" clId="{D8E03A0D-8A42-4CF5-82BF-586E462557BB}" dt="2024-03-01T10:49:08.855" v="708"/>
          <ac:spMkLst>
            <pc:docMk/>
            <pc:sldMk cId="459806595" sldId="580"/>
            <ac:spMk id="667" creationId="{BFB061DD-F2FE-38F0-5DCF-FD3CCF7BF0D6}"/>
          </ac:spMkLst>
        </pc:spChg>
        <pc:spChg chg="del">
          <ac:chgData name="bullingerm.tmt22" userId="9ce3b8b2-035f-4175-b301-998b03a50e38" providerId="ADAL" clId="{D8E03A0D-8A42-4CF5-82BF-586E462557BB}" dt="2024-03-04T17:44:55.418" v="1930" actId="478"/>
          <ac:spMkLst>
            <pc:docMk/>
            <pc:sldMk cId="459806595" sldId="580"/>
            <ac:spMk id="670" creationId="{9DAF9DAF-F9EE-98A9-A98D-AD67ECFE4BC1}"/>
          </ac:spMkLst>
        </pc:spChg>
        <pc:spChg chg="del">
          <ac:chgData name="bullingerm.tmt22" userId="9ce3b8b2-035f-4175-b301-998b03a50e38" providerId="ADAL" clId="{D8E03A0D-8A42-4CF5-82BF-586E462557BB}" dt="2024-03-04T17:44:55.418" v="1929" actId="478"/>
          <ac:spMkLst>
            <pc:docMk/>
            <pc:sldMk cId="459806595" sldId="580"/>
            <ac:spMk id="671" creationId="{A107EF5A-4781-7948-9F52-E94F6F2BD79A}"/>
          </ac:spMkLst>
        </pc:spChg>
        <pc:spChg chg="add mod">
          <ac:chgData name="bullingerm.tmt22" userId="9ce3b8b2-035f-4175-b301-998b03a50e38" providerId="ADAL" clId="{D8E03A0D-8A42-4CF5-82BF-586E462557BB}" dt="2024-03-01T10:49:08.032" v="262" actId="478"/>
          <ac:spMkLst>
            <pc:docMk/>
            <pc:sldMk cId="459806595" sldId="580"/>
            <ac:spMk id="681" creationId="{ED16D56C-9E52-8ED4-A07D-20FF1C854288}"/>
          </ac:spMkLst>
        </pc:spChg>
        <pc:spChg chg="add mod">
          <ac:chgData name="bullingerm.tmt22" userId="9ce3b8b2-035f-4175-b301-998b03a50e38" providerId="ADAL" clId="{D8E03A0D-8A42-4CF5-82BF-586E462557BB}" dt="2024-03-04T17:44:55.389" v="1912" actId="478"/>
          <ac:spMkLst>
            <pc:docMk/>
            <pc:sldMk cId="459806595" sldId="580"/>
            <ac:spMk id="681" creationId="{F7635276-BD73-A9F9-989A-AC709F480C9D}"/>
          </ac:spMkLst>
        </pc:spChg>
        <pc:spChg chg="del mod ord replST">
          <ac:chgData name="bullingerm.tmt22" userId="9ce3b8b2-035f-4175-b301-998b03a50e38" providerId="ADAL" clId="{D8E03A0D-8A42-4CF5-82BF-586E462557BB}" dt="2024-03-04T17:44:55.389" v="1912" actId="478"/>
          <ac:spMkLst>
            <pc:docMk/>
            <pc:sldMk cId="459806595" sldId="580"/>
            <ac:spMk id="682" creationId="{85C1AED5-305D-3AFC-E75A-1272B5BAF19A}"/>
          </ac:spMkLst>
        </pc:spChg>
        <pc:spChg chg="mod ord replST">
          <ac:chgData name="bullingerm.tmt22" userId="9ce3b8b2-035f-4175-b301-998b03a50e38" providerId="ADAL" clId="{D8E03A0D-8A42-4CF5-82BF-586E462557BB}" dt="2024-03-04T17:44:56.118" v="2292"/>
          <ac:spMkLst>
            <pc:docMk/>
            <pc:sldMk cId="459806595" sldId="580"/>
            <ac:spMk id="683" creationId="{566EFFC3-2CAC-3919-B2F9-2EB3AF1A9AFF}"/>
          </ac:spMkLst>
        </pc:spChg>
        <pc:spChg chg="del">
          <ac:chgData name="bullingerm.tmt22" userId="9ce3b8b2-035f-4175-b301-998b03a50e38" providerId="ADAL" clId="{D8E03A0D-8A42-4CF5-82BF-586E462557BB}" dt="2024-03-01T10:49:08.066" v="299" actId="478"/>
          <ac:spMkLst>
            <pc:docMk/>
            <pc:sldMk cId="459806595" sldId="580"/>
            <ac:spMk id="683" creationId="{8B145BED-4102-3684-6566-31EBEFE325CA}"/>
          </ac:spMkLst>
        </pc:spChg>
        <pc:spChg chg="del">
          <ac:chgData name="bullingerm.tmt22" userId="9ce3b8b2-035f-4175-b301-998b03a50e38" providerId="ADAL" clId="{D8E03A0D-8A42-4CF5-82BF-586E462557BB}" dt="2024-03-01T10:49:08.066" v="298" actId="478"/>
          <ac:spMkLst>
            <pc:docMk/>
            <pc:sldMk cId="459806595" sldId="580"/>
            <ac:spMk id="684" creationId="{221901E8-8698-9586-A354-8BD28503EFDB}"/>
          </ac:spMkLst>
        </pc:spChg>
        <pc:spChg chg="del">
          <ac:chgData name="bullingerm.tmt22" userId="9ce3b8b2-035f-4175-b301-998b03a50e38" providerId="ADAL" clId="{D8E03A0D-8A42-4CF5-82BF-586E462557BB}" dt="2024-03-04T17:44:55.428" v="1949" actId="478"/>
          <ac:spMkLst>
            <pc:docMk/>
            <pc:sldMk cId="459806595" sldId="580"/>
            <ac:spMk id="684" creationId="{9E488C51-2F8C-5B65-CB45-49217CAEF928}"/>
          </ac:spMkLst>
        </pc:spChg>
        <pc:spChg chg="del">
          <ac:chgData name="bullingerm.tmt22" userId="9ce3b8b2-035f-4175-b301-998b03a50e38" providerId="ADAL" clId="{D8E03A0D-8A42-4CF5-82BF-586E462557BB}" dt="2024-03-01T10:49:08.066" v="297" actId="478"/>
          <ac:spMkLst>
            <pc:docMk/>
            <pc:sldMk cId="459806595" sldId="580"/>
            <ac:spMk id="685" creationId="{185DB881-E1AE-1090-3B1D-C58FCD0349BB}"/>
          </ac:spMkLst>
        </pc:spChg>
        <pc:spChg chg="del">
          <ac:chgData name="bullingerm.tmt22" userId="9ce3b8b2-035f-4175-b301-998b03a50e38" providerId="ADAL" clId="{D8E03A0D-8A42-4CF5-82BF-586E462557BB}" dt="2024-03-04T17:44:55.428" v="1948" actId="478"/>
          <ac:spMkLst>
            <pc:docMk/>
            <pc:sldMk cId="459806595" sldId="580"/>
            <ac:spMk id="685" creationId="{E952DCAD-75A8-6E86-7549-8FAA298B75A4}"/>
          </ac:spMkLst>
        </pc:spChg>
        <pc:spChg chg="del">
          <ac:chgData name="bullingerm.tmt22" userId="9ce3b8b2-035f-4175-b301-998b03a50e38" providerId="ADAL" clId="{D8E03A0D-8A42-4CF5-82BF-586E462557BB}" dt="2024-03-01T10:49:08.066" v="296" actId="478"/>
          <ac:spMkLst>
            <pc:docMk/>
            <pc:sldMk cId="459806595" sldId="580"/>
            <ac:spMk id="686" creationId="{31387885-2891-5B2E-DD37-9E4BFE69268D}"/>
          </ac:spMkLst>
        </pc:spChg>
        <pc:spChg chg="del">
          <ac:chgData name="bullingerm.tmt22" userId="9ce3b8b2-035f-4175-b301-998b03a50e38" providerId="ADAL" clId="{D8E03A0D-8A42-4CF5-82BF-586E462557BB}" dt="2024-03-04T17:44:55.428" v="1947" actId="478"/>
          <ac:spMkLst>
            <pc:docMk/>
            <pc:sldMk cId="459806595" sldId="580"/>
            <ac:spMk id="686" creationId="{EC94F44E-25C2-5A41-59D0-00903A6BE2E8}"/>
          </ac:spMkLst>
        </pc:spChg>
        <pc:spChg chg="del">
          <ac:chgData name="bullingerm.tmt22" userId="9ce3b8b2-035f-4175-b301-998b03a50e38" providerId="ADAL" clId="{D8E03A0D-8A42-4CF5-82BF-586E462557BB}" dt="2024-03-04T17:44:55.428" v="1946" actId="478"/>
          <ac:spMkLst>
            <pc:docMk/>
            <pc:sldMk cId="459806595" sldId="580"/>
            <ac:spMk id="687" creationId="{A5884D52-9F1C-F992-256C-AA33EEBF20D7}"/>
          </ac:spMkLst>
        </pc:spChg>
        <pc:spChg chg="del">
          <ac:chgData name="bullingerm.tmt22" userId="9ce3b8b2-035f-4175-b301-998b03a50e38" providerId="ADAL" clId="{D8E03A0D-8A42-4CF5-82BF-586E462557BB}" dt="2024-03-01T10:49:08.066" v="295" actId="478"/>
          <ac:spMkLst>
            <pc:docMk/>
            <pc:sldMk cId="459806595" sldId="580"/>
            <ac:spMk id="687" creationId="{E83CDCC7-5237-61B5-168D-FD237903C5DB}"/>
          </ac:spMkLst>
        </pc:spChg>
        <pc:spChg chg="del">
          <ac:chgData name="bullingerm.tmt22" userId="9ce3b8b2-035f-4175-b301-998b03a50e38" providerId="ADAL" clId="{D8E03A0D-8A42-4CF5-82BF-586E462557BB}" dt="2024-03-04T17:44:55.428" v="1945" actId="478"/>
          <ac:spMkLst>
            <pc:docMk/>
            <pc:sldMk cId="459806595" sldId="580"/>
            <ac:spMk id="688" creationId="{A2BEEEA8-AB95-3CBB-5AB8-2B722F9AE5C8}"/>
          </ac:spMkLst>
        </pc:spChg>
        <pc:spChg chg="del">
          <ac:chgData name="bullingerm.tmt22" userId="9ce3b8b2-035f-4175-b301-998b03a50e38" providerId="ADAL" clId="{D8E03A0D-8A42-4CF5-82BF-586E462557BB}" dt="2024-03-01T10:49:08.066" v="294" actId="478"/>
          <ac:spMkLst>
            <pc:docMk/>
            <pc:sldMk cId="459806595" sldId="580"/>
            <ac:spMk id="688" creationId="{D5815284-14F2-FB10-2FD5-5B9F3A6BF8FE}"/>
          </ac:spMkLst>
        </pc:spChg>
        <pc:spChg chg="del">
          <ac:chgData name="bullingerm.tmt22" userId="9ce3b8b2-035f-4175-b301-998b03a50e38" providerId="ADAL" clId="{D8E03A0D-8A42-4CF5-82BF-586E462557BB}" dt="2024-03-01T10:49:08.066" v="291" actId="478"/>
          <ac:spMkLst>
            <pc:docMk/>
            <pc:sldMk cId="459806595" sldId="580"/>
            <ac:spMk id="689" creationId="{23332415-87BD-82F1-B8E7-3945AFE8E04D}"/>
          </ac:spMkLst>
        </pc:spChg>
        <pc:spChg chg="del">
          <ac:chgData name="bullingerm.tmt22" userId="9ce3b8b2-035f-4175-b301-998b03a50e38" providerId="ADAL" clId="{D8E03A0D-8A42-4CF5-82BF-586E462557BB}" dt="2024-03-04T17:44:55.428" v="1944" actId="478"/>
          <ac:spMkLst>
            <pc:docMk/>
            <pc:sldMk cId="459806595" sldId="580"/>
            <ac:spMk id="689" creationId="{B6AA8079-B878-4D7A-C79F-FF0784199B4F}"/>
          </ac:spMkLst>
        </pc:spChg>
        <pc:spChg chg="del">
          <ac:chgData name="bullingerm.tmt22" userId="9ce3b8b2-035f-4175-b301-998b03a50e38" providerId="ADAL" clId="{D8E03A0D-8A42-4CF5-82BF-586E462557BB}" dt="2024-03-01T10:49:08.066" v="290" actId="478"/>
          <ac:spMkLst>
            <pc:docMk/>
            <pc:sldMk cId="459806595" sldId="580"/>
            <ac:spMk id="690" creationId="{99732C5A-DF34-857F-F59C-29C993E5A62C}"/>
          </ac:spMkLst>
        </pc:spChg>
        <pc:spChg chg="del">
          <ac:chgData name="bullingerm.tmt22" userId="9ce3b8b2-035f-4175-b301-998b03a50e38" providerId="ADAL" clId="{D8E03A0D-8A42-4CF5-82BF-586E462557BB}" dt="2024-03-04T17:44:55.428" v="1941" actId="478"/>
          <ac:spMkLst>
            <pc:docMk/>
            <pc:sldMk cId="459806595" sldId="580"/>
            <ac:spMk id="690" creationId="{D40F26A4-A341-6C8A-F84E-A0B4EA7680D1}"/>
          </ac:spMkLst>
        </pc:spChg>
        <pc:spChg chg="del">
          <ac:chgData name="bullingerm.tmt22" userId="9ce3b8b2-035f-4175-b301-998b03a50e38" providerId="ADAL" clId="{D8E03A0D-8A42-4CF5-82BF-586E462557BB}" dt="2024-03-04T17:44:55.428" v="1940" actId="478"/>
          <ac:spMkLst>
            <pc:docMk/>
            <pc:sldMk cId="459806595" sldId="580"/>
            <ac:spMk id="691" creationId="{0DE550F6-520F-7A68-A41B-A4D749FA5A57}"/>
          </ac:spMkLst>
        </pc:spChg>
        <pc:spChg chg="del">
          <ac:chgData name="bullingerm.tmt22" userId="9ce3b8b2-035f-4175-b301-998b03a50e38" providerId="ADAL" clId="{D8E03A0D-8A42-4CF5-82BF-586E462557BB}" dt="2024-03-01T10:49:08.066" v="289" actId="478"/>
          <ac:spMkLst>
            <pc:docMk/>
            <pc:sldMk cId="459806595" sldId="580"/>
            <ac:spMk id="691" creationId="{FBE3EA99-DD38-CF59-8909-4E2AA043D857}"/>
          </ac:spMkLst>
        </pc:spChg>
        <pc:spChg chg="del">
          <ac:chgData name="bullingerm.tmt22" userId="9ce3b8b2-035f-4175-b301-998b03a50e38" providerId="ADAL" clId="{D8E03A0D-8A42-4CF5-82BF-586E462557BB}" dt="2024-03-04T17:44:55.428" v="1939" actId="478"/>
          <ac:spMkLst>
            <pc:docMk/>
            <pc:sldMk cId="459806595" sldId="580"/>
            <ac:spMk id="692" creationId="{043F258E-A3D3-DFAA-2C54-E74B3E8672FE}"/>
          </ac:spMkLst>
        </pc:spChg>
        <pc:spChg chg="del">
          <ac:chgData name="bullingerm.tmt22" userId="9ce3b8b2-035f-4175-b301-998b03a50e38" providerId="ADAL" clId="{D8E03A0D-8A42-4CF5-82BF-586E462557BB}" dt="2024-03-01T10:49:08.066" v="288" actId="478"/>
          <ac:spMkLst>
            <pc:docMk/>
            <pc:sldMk cId="459806595" sldId="580"/>
            <ac:spMk id="692" creationId="{D833FC8A-E44B-B16D-65E7-549431629BA4}"/>
          </ac:spMkLst>
        </pc:spChg>
        <pc:spChg chg="del">
          <ac:chgData name="bullingerm.tmt22" userId="9ce3b8b2-035f-4175-b301-998b03a50e38" providerId="ADAL" clId="{D8E03A0D-8A42-4CF5-82BF-586E462557BB}" dt="2024-03-04T17:44:55.428" v="1938" actId="478"/>
          <ac:spMkLst>
            <pc:docMk/>
            <pc:sldMk cId="459806595" sldId="580"/>
            <ac:spMk id="693" creationId="{C0B61550-B87A-BDC9-0102-E06FFF147E52}"/>
          </ac:spMkLst>
        </pc:spChg>
        <pc:spChg chg="del">
          <ac:chgData name="bullingerm.tmt22" userId="9ce3b8b2-035f-4175-b301-998b03a50e38" providerId="ADAL" clId="{D8E03A0D-8A42-4CF5-82BF-586E462557BB}" dt="2024-03-01T10:49:08.066" v="287" actId="478"/>
          <ac:spMkLst>
            <pc:docMk/>
            <pc:sldMk cId="459806595" sldId="580"/>
            <ac:spMk id="693" creationId="{C81B14B4-16D3-8DC0-7B12-0627D42633A9}"/>
          </ac:spMkLst>
        </pc:spChg>
        <pc:spChg chg="del">
          <ac:chgData name="bullingerm.tmt22" userId="9ce3b8b2-035f-4175-b301-998b03a50e38" providerId="ADAL" clId="{D8E03A0D-8A42-4CF5-82BF-586E462557BB}" dt="2024-03-01T10:49:08.066" v="286" actId="478"/>
          <ac:spMkLst>
            <pc:docMk/>
            <pc:sldMk cId="459806595" sldId="580"/>
            <ac:spMk id="694" creationId="{0AE3F8AD-A0CC-1951-04C7-A0380CE8AE56}"/>
          </ac:spMkLst>
        </pc:spChg>
        <pc:spChg chg="del">
          <ac:chgData name="bullingerm.tmt22" userId="9ce3b8b2-035f-4175-b301-998b03a50e38" providerId="ADAL" clId="{D8E03A0D-8A42-4CF5-82BF-586E462557BB}" dt="2024-03-04T17:44:55.428" v="1937" actId="478"/>
          <ac:spMkLst>
            <pc:docMk/>
            <pc:sldMk cId="459806595" sldId="580"/>
            <ac:spMk id="694" creationId="{B23CA98D-0F04-3E6C-76E8-F901589BD9DF}"/>
          </ac:spMkLst>
        </pc:spChg>
        <pc:spChg chg="del">
          <ac:chgData name="bullingerm.tmt22" userId="9ce3b8b2-035f-4175-b301-998b03a50e38" providerId="ADAL" clId="{D8E03A0D-8A42-4CF5-82BF-586E462557BB}" dt="2024-03-04T17:44:55.418" v="1936" actId="478"/>
          <ac:spMkLst>
            <pc:docMk/>
            <pc:sldMk cId="459806595" sldId="580"/>
            <ac:spMk id="695" creationId="{956BF77C-764C-F174-2CD4-C8278F91568D}"/>
          </ac:spMkLst>
        </pc:spChg>
        <pc:spChg chg="del">
          <ac:chgData name="bullingerm.tmt22" userId="9ce3b8b2-035f-4175-b301-998b03a50e38" providerId="ADAL" clId="{D8E03A0D-8A42-4CF5-82BF-586E462557BB}" dt="2024-03-04T17:44:55.436" v="1957" actId="478"/>
          <ac:spMkLst>
            <pc:docMk/>
            <pc:sldMk cId="459806595" sldId="580"/>
            <ac:spMk id="696" creationId="{E03AD802-BE34-AF4D-F9DD-0DAC198588CE}"/>
          </ac:spMkLst>
        </pc:spChg>
        <pc:spChg chg="del">
          <ac:chgData name="bullingerm.tmt22" userId="9ce3b8b2-035f-4175-b301-998b03a50e38" providerId="ADAL" clId="{D8E03A0D-8A42-4CF5-82BF-586E462557BB}" dt="2024-03-04T17:44:55.436" v="1956" actId="478"/>
          <ac:spMkLst>
            <pc:docMk/>
            <pc:sldMk cId="459806595" sldId="580"/>
            <ac:spMk id="697" creationId="{D1C4B7CE-029C-0CF5-9344-02B4B2307590}"/>
          </ac:spMkLst>
        </pc:spChg>
        <pc:spChg chg="del">
          <ac:chgData name="bullingerm.tmt22" userId="9ce3b8b2-035f-4175-b301-998b03a50e38" providerId="ADAL" clId="{D8E03A0D-8A42-4CF5-82BF-586E462557BB}" dt="2024-03-04T17:44:55.436" v="1955" actId="478"/>
          <ac:spMkLst>
            <pc:docMk/>
            <pc:sldMk cId="459806595" sldId="580"/>
            <ac:spMk id="698" creationId="{9D4AFF9D-5878-280F-FE9B-73C669B4641F}"/>
          </ac:spMkLst>
        </pc:spChg>
        <pc:spChg chg="del">
          <ac:chgData name="bullingerm.tmt22" userId="9ce3b8b2-035f-4175-b301-998b03a50e38" providerId="ADAL" clId="{D8E03A0D-8A42-4CF5-82BF-586E462557BB}" dt="2024-03-04T17:44:55.436" v="1954" actId="478"/>
          <ac:spMkLst>
            <pc:docMk/>
            <pc:sldMk cId="459806595" sldId="580"/>
            <ac:spMk id="699" creationId="{69FA5803-53B8-F636-EBB9-4E5E74DF31E7}"/>
          </ac:spMkLst>
        </pc:spChg>
        <pc:spChg chg="del">
          <ac:chgData name="bullingerm.tmt22" userId="9ce3b8b2-035f-4175-b301-998b03a50e38" providerId="ADAL" clId="{D8E03A0D-8A42-4CF5-82BF-586E462557BB}" dt="2024-03-01T10:49:08.032" v="264" actId="478"/>
          <ac:spMkLst>
            <pc:docMk/>
            <pc:sldMk cId="459806595" sldId="580"/>
            <ac:spMk id="700" creationId="{1AA8B504-00E7-687C-5087-954B893830B2}"/>
          </ac:spMkLst>
        </pc:spChg>
        <pc:spChg chg="del">
          <ac:chgData name="bullingerm.tmt22" userId="9ce3b8b2-035f-4175-b301-998b03a50e38" providerId="ADAL" clId="{D8E03A0D-8A42-4CF5-82BF-586E462557BB}" dt="2024-03-04T17:44:55.436" v="1953" actId="478"/>
          <ac:spMkLst>
            <pc:docMk/>
            <pc:sldMk cId="459806595" sldId="580"/>
            <ac:spMk id="700" creationId="{71474C35-F5EB-28AD-BA42-8156BA0E4E16}"/>
          </ac:spMkLst>
        </pc:spChg>
        <pc:spChg chg="del">
          <ac:chgData name="bullingerm.tmt22" userId="9ce3b8b2-035f-4175-b301-998b03a50e38" providerId="ADAL" clId="{D8E03A0D-8A42-4CF5-82BF-586E462557BB}" dt="2024-03-04T17:44:55.436" v="1952" actId="478"/>
          <ac:spMkLst>
            <pc:docMk/>
            <pc:sldMk cId="459806595" sldId="580"/>
            <ac:spMk id="701" creationId="{2B173175-6288-33F7-BD9B-8D28A7062D33}"/>
          </ac:spMkLst>
        </pc:spChg>
        <pc:spChg chg="del">
          <ac:chgData name="bullingerm.tmt22" userId="9ce3b8b2-035f-4175-b301-998b03a50e38" providerId="ADAL" clId="{D8E03A0D-8A42-4CF5-82BF-586E462557BB}" dt="2024-03-04T17:44:55.436" v="1951" actId="478"/>
          <ac:spMkLst>
            <pc:docMk/>
            <pc:sldMk cId="459806595" sldId="580"/>
            <ac:spMk id="702" creationId="{6859E02A-370D-86CB-EC87-9B58B170CD05}"/>
          </ac:spMkLst>
        </pc:spChg>
        <pc:spChg chg="del">
          <ac:chgData name="bullingerm.tmt22" userId="9ce3b8b2-035f-4175-b301-998b03a50e38" providerId="ADAL" clId="{D8E03A0D-8A42-4CF5-82BF-586E462557BB}" dt="2024-03-04T17:44:55.436" v="1950" actId="478"/>
          <ac:spMkLst>
            <pc:docMk/>
            <pc:sldMk cId="459806595" sldId="580"/>
            <ac:spMk id="703" creationId="{6630182E-104B-A9E8-28B9-8F5DB90FB004}"/>
          </ac:spMkLst>
        </pc:spChg>
        <pc:spChg chg="del">
          <ac:chgData name="bullingerm.tmt22" userId="9ce3b8b2-035f-4175-b301-998b03a50e38" providerId="ADAL" clId="{D8E03A0D-8A42-4CF5-82BF-586E462557BB}" dt="2024-03-04T17:44:55.418" v="1928" actId="478"/>
          <ac:spMkLst>
            <pc:docMk/>
            <pc:sldMk cId="459806595" sldId="580"/>
            <ac:spMk id="704" creationId="{9C7B0FF8-3AF0-91B4-E7EF-1A2DAEAA81AD}"/>
          </ac:spMkLst>
        </pc:spChg>
        <pc:spChg chg="del">
          <ac:chgData name="bullingerm.tmt22" userId="9ce3b8b2-035f-4175-b301-998b03a50e38" providerId="ADAL" clId="{D8E03A0D-8A42-4CF5-82BF-586E462557BB}" dt="2024-03-04T17:44:55.418" v="1927" actId="478"/>
          <ac:spMkLst>
            <pc:docMk/>
            <pc:sldMk cId="459806595" sldId="580"/>
            <ac:spMk id="705" creationId="{8F1AAB5A-4826-AFE3-6475-5BB691724957}"/>
          </ac:spMkLst>
        </pc:spChg>
        <pc:spChg chg="del">
          <ac:chgData name="bullingerm.tmt22" userId="9ce3b8b2-035f-4175-b301-998b03a50e38" providerId="ADAL" clId="{D8E03A0D-8A42-4CF5-82BF-586E462557BB}" dt="2024-03-04T17:44:55.418" v="1926" actId="478"/>
          <ac:spMkLst>
            <pc:docMk/>
            <pc:sldMk cId="459806595" sldId="580"/>
            <ac:spMk id="706" creationId="{3ADBA77A-2114-26FF-1742-847726DA3C2D}"/>
          </ac:spMkLst>
        </pc:spChg>
        <pc:spChg chg="del">
          <ac:chgData name="bullingerm.tmt22" userId="9ce3b8b2-035f-4175-b301-998b03a50e38" providerId="ADAL" clId="{D8E03A0D-8A42-4CF5-82BF-586E462557BB}" dt="2024-03-04T17:44:55.418" v="1925" actId="478"/>
          <ac:spMkLst>
            <pc:docMk/>
            <pc:sldMk cId="459806595" sldId="580"/>
            <ac:spMk id="707" creationId="{47F18849-A561-6782-35A4-0411D9244F0E}"/>
          </ac:spMkLst>
        </pc:spChg>
        <pc:spChg chg="del">
          <ac:chgData name="bullingerm.tmt22" userId="9ce3b8b2-035f-4175-b301-998b03a50e38" providerId="ADAL" clId="{D8E03A0D-8A42-4CF5-82BF-586E462557BB}" dt="2024-03-04T17:44:55.418" v="1924" actId="478"/>
          <ac:spMkLst>
            <pc:docMk/>
            <pc:sldMk cId="459806595" sldId="580"/>
            <ac:spMk id="708" creationId="{E35D41F9-8ECB-9FFD-DEE3-70937158495F}"/>
          </ac:spMkLst>
        </pc:spChg>
        <pc:spChg chg="del">
          <ac:chgData name="bullingerm.tmt22" userId="9ce3b8b2-035f-4175-b301-998b03a50e38" providerId="ADAL" clId="{D8E03A0D-8A42-4CF5-82BF-586E462557BB}" dt="2024-03-04T17:44:55.418" v="1923" actId="478"/>
          <ac:spMkLst>
            <pc:docMk/>
            <pc:sldMk cId="459806595" sldId="580"/>
            <ac:spMk id="709" creationId="{B18A6A62-3890-C636-0E87-2B7931B40EC9}"/>
          </ac:spMkLst>
        </pc:spChg>
        <pc:spChg chg="del">
          <ac:chgData name="bullingerm.tmt22" userId="9ce3b8b2-035f-4175-b301-998b03a50e38" providerId="ADAL" clId="{D8E03A0D-8A42-4CF5-82BF-586E462557BB}" dt="2024-03-04T17:44:55.418" v="1922" actId="478"/>
          <ac:spMkLst>
            <pc:docMk/>
            <pc:sldMk cId="459806595" sldId="580"/>
            <ac:spMk id="710" creationId="{A8EEAA40-AD1A-4978-49FD-3F6EC0FB3080}"/>
          </ac:spMkLst>
        </pc:spChg>
        <pc:spChg chg="del">
          <ac:chgData name="bullingerm.tmt22" userId="9ce3b8b2-035f-4175-b301-998b03a50e38" providerId="ADAL" clId="{D8E03A0D-8A42-4CF5-82BF-586E462557BB}" dt="2024-03-04T17:44:55.418" v="1921" actId="478"/>
          <ac:spMkLst>
            <pc:docMk/>
            <pc:sldMk cId="459806595" sldId="580"/>
            <ac:spMk id="711" creationId="{1E823B77-F4B4-E314-3C9F-B6E1DA53A082}"/>
          </ac:spMkLst>
        </pc:spChg>
        <pc:spChg chg="replST">
          <ac:chgData name="bullingerm.tmt22" userId="9ce3b8b2-035f-4175-b301-998b03a50e38" providerId="ADAL" clId="{D8E03A0D-8A42-4CF5-82BF-586E462557BB}" dt="2024-03-04T17:44:56.028" v="2251"/>
          <ac:spMkLst>
            <pc:docMk/>
            <pc:sldMk cId="459806595" sldId="580"/>
            <ac:spMk id="712" creationId="{9315175B-4B97-2D7D-9772-D25B0639B9AA}"/>
          </ac:spMkLst>
        </pc:spChg>
        <pc:spChg chg="replST">
          <ac:chgData name="bullingerm.tmt22" userId="9ce3b8b2-035f-4175-b301-998b03a50e38" providerId="ADAL" clId="{D8E03A0D-8A42-4CF5-82BF-586E462557BB}" dt="2024-03-04T17:44:56.038" v="2254"/>
          <ac:spMkLst>
            <pc:docMk/>
            <pc:sldMk cId="459806595" sldId="580"/>
            <ac:spMk id="713" creationId="{299202E8-A9DC-7D3C-551A-3321A0C4D669}"/>
          </ac:spMkLst>
        </pc:spChg>
        <pc:spChg chg="replST">
          <ac:chgData name="bullingerm.tmt22" userId="9ce3b8b2-035f-4175-b301-998b03a50e38" providerId="ADAL" clId="{D8E03A0D-8A42-4CF5-82BF-586E462557BB}" dt="2024-03-04T17:44:56.049" v="2258"/>
          <ac:spMkLst>
            <pc:docMk/>
            <pc:sldMk cId="459806595" sldId="580"/>
            <ac:spMk id="715" creationId="{28536803-9F36-7511-839C-FD8E05A5A855}"/>
          </ac:spMkLst>
        </pc:spChg>
        <pc:spChg chg="replST">
          <ac:chgData name="bullingerm.tmt22" userId="9ce3b8b2-035f-4175-b301-998b03a50e38" providerId="ADAL" clId="{D8E03A0D-8A42-4CF5-82BF-586E462557BB}" dt="2024-03-04T17:44:56.058" v="2261"/>
          <ac:spMkLst>
            <pc:docMk/>
            <pc:sldMk cId="459806595" sldId="580"/>
            <ac:spMk id="716" creationId="{71C0461F-C608-1D11-126B-979485C101F2}"/>
          </ac:spMkLst>
        </pc:spChg>
        <pc:spChg chg="ord replST">
          <ac:chgData name="bullingerm.tmt22" userId="9ce3b8b2-035f-4175-b301-998b03a50e38" providerId="ADAL" clId="{D8E03A0D-8A42-4CF5-82BF-586E462557BB}" dt="2024-03-04T17:44:56.118" v="2294"/>
          <ac:spMkLst>
            <pc:docMk/>
            <pc:sldMk cId="459806595" sldId="580"/>
            <ac:spMk id="717" creationId="{78CE89E3-54AD-8033-F87B-B19E01D4231E}"/>
          </ac:spMkLst>
        </pc:spChg>
        <pc:spChg chg="del">
          <ac:chgData name="bullingerm.tmt22" userId="9ce3b8b2-035f-4175-b301-998b03a50e38" providerId="ADAL" clId="{D8E03A0D-8A42-4CF5-82BF-586E462557BB}" dt="2024-03-01T10:49:08.066" v="307" actId="478"/>
          <ac:spMkLst>
            <pc:docMk/>
            <pc:sldMk cId="459806595" sldId="580"/>
            <ac:spMk id="717" creationId="{9D2C812C-7B98-AF9C-AE86-478690FD6AB9}"/>
          </ac:spMkLst>
        </pc:spChg>
        <pc:spChg chg="del">
          <ac:chgData name="bullingerm.tmt22" userId="9ce3b8b2-035f-4175-b301-998b03a50e38" providerId="ADAL" clId="{D8E03A0D-8A42-4CF5-82BF-586E462557BB}" dt="2024-03-01T10:49:08.066" v="306" actId="478"/>
          <ac:spMkLst>
            <pc:docMk/>
            <pc:sldMk cId="459806595" sldId="580"/>
            <ac:spMk id="718" creationId="{36F84A09-3CCD-6096-7EFA-E034F4FE201C}"/>
          </ac:spMkLst>
        </pc:spChg>
        <pc:spChg chg="replST">
          <ac:chgData name="bullingerm.tmt22" userId="9ce3b8b2-035f-4175-b301-998b03a50e38" providerId="ADAL" clId="{D8E03A0D-8A42-4CF5-82BF-586E462557BB}" dt="2024-03-04T17:44:56.068" v="2265"/>
          <ac:spMkLst>
            <pc:docMk/>
            <pc:sldMk cId="459806595" sldId="580"/>
            <ac:spMk id="718" creationId="{FF21CD56-84A8-8CF3-2864-FC830C021CA2}"/>
          </ac:spMkLst>
        </pc:spChg>
        <pc:spChg chg="del">
          <ac:chgData name="bullingerm.tmt22" userId="9ce3b8b2-035f-4175-b301-998b03a50e38" providerId="ADAL" clId="{D8E03A0D-8A42-4CF5-82BF-586E462557BB}" dt="2024-03-01T10:49:08.066" v="305" actId="478"/>
          <ac:spMkLst>
            <pc:docMk/>
            <pc:sldMk cId="459806595" sldId="580"/>
            <ac:spMk id="719" creationId="{2B518954-1591-02D5-DC2C-467F2B46E843}"/>
          </ac:spMkLst>
        </pc:spChg>
        <pc:spChg chg="replST">
          <ac:chgData name="bullingerm.tmt22" userId="9ce3b8b2-035f-4175-b301-998b03a50e38" providerId="ADAL" clId="{D8E03A0D-8A42-4CF5-82BF-586E462557BB}" dt="2024-03-04T17:44:56.068" v="2268"/>
          <ac:spMkLst>
            <pc:docMk/>
            <pc:sldMk cId="459806595" sldId="580"/>
            <ac:spMk id="719" creationId="{D9E4FEB5-D1CD-9063-717C-E10038614CC4}"/>
          </ac:spMkLst>
        </pc:spChg>
        <pc:spChg chg="del">
          <ac:chgData name="bullingerm.tmt22" userId="9ce3b8b2-035f-4175-b301-998b03a50e38" providerId="ADAL" clId="{D8E03A0D-8A42-4CF5-82BF-586E462557BB}" dt="2024-03-01T10:49:08.066" v="304" actId="478"/>
          <ac:spMkLst>
            <pc:docMk/>
            <pc:sldMk cId="459806595" sldId="580"/>
            <ac:spMk id="720" creationId="{A815E8B7-779B-AC58-E898-054B02D617AE}"/>
          </ac:spMkLst>
        </pc:spChg>
        <pc:spChg chg="del">
          <ac:chgData name="bullingerm.tmt22" userId="9ce3b8b2-035f-4175-b301-998b03a50e38" providerId="ADAL" clId="{D8E03A0D-8A42-4CF5-82BF-586E462557BB}" dt="2024-03-01T10:49:08.066" v="303" actId="478"/>
          <ac:spMkLst>
            <pc:docMk/>
            <pc:sldMk cId="459806595" sldId="580"/>
            <ac:spMk id="721" creationId="{66945DAB-CF7A-D4F1-BE61-4BF03C231333}"/>
          </ac:spMkLst>
        </pc:spChg>
        <pc:spChg chg="replST">
          <ac:chgData name="bullingerm.tmt22" userId="9ce3b8b2-035f-4175-b301-998b03a50e38" providerId="ADAL" clId="{D8E03A0D-8A42-4CF5-82BF-586E462557BB}" dt="2024-03-04T17:44:56.079" v="2272"/>
          <ac:spMkLst>
            <pc:docMk/>
            <pc:sldMk cId="459806595" sldId="580"/>
            <ac:spMk id="721" creationId="{B74197F4-F2B1-AEF6-5E4C-FB7DB09EDF81}"/>
          </ac:spMkLst>
        </pc:spChg>
        <pc:spChg chg="replST">
          <ac:chgData name="bullingerm.tmt22" userId="9ce3b8b2-035f-4175-b301-998b03a50e38" providerId="ADAL" clId="{D8E03A0D-8A42-4CF5-82BF-586E462557BB}" dt="2024-03-04T17:44:56.079" v="2275"/>
          <ac:spMkLst>
            <pc:docMk/>
            <pc:sldMk cId="459806595" sldId="580"/>
            <ac:spMk id="722" creationId="{A98CD8FA-514C-999D-BB2E-460A9C2D7AC1}"/>
          </ac:spMkLst>
        </pc:spChg>
        <pc:spChg chg="del">
          <ac:chgData name="bullingerm.tmt22" userId="9ce3b8b2-035f-4175-b301-998b03a50e38" providerId="ADAL" clId="{D8E03A0D-8A42-4CF5-82BF-586E462557BB}" dt="2024-03-01T10:49:08.066" v="302" actId="478"/>
          <ac:spMkLst>
            <pc:docMk/>
            <pc:sldMk cId="459806595" sldId="580"/>
            <ac:spMk id="722" creationId="{CC844714-FF52-2BAC-602F-390A1785E04E}"/>
          </ac:spMkLst>
        </pc:spChg>
        <pc:spChg chg="del">
          <ac:chgData name="bullingerm.tmt22" userId="9ce3b8b2-035f-4175-b301-998b03a50e38" providerId="ADAL" clId="{D8E03A0D-8A42-4CF5-82BF-586E462557BB}" dt="2024-03-01T10:49:08.066" v="301" actId="478"/>
          <ac:spMkLst>
            <pc:docMk/>
            <pc:sldMk cId="459806595" sldId="580"/>
            <ac:spMk id="723" creationId="{B3F02EA2-8A08-B02A-7A7B-CFB85DCA87F3}"/>
          </ac:spMkLst>
        </pc:spChg>
        <pc:spChg chg="del">
          <ac:chgData name="bullingerm.tmt22" userId="9ce3b8b2-035f-4175-b301-998b03a50e38" providerId="ADAL" clId="{D8E03A0D-8A42-4CF5-82BF-586E462557BB}" dt="2024-03-01T10:49:08.066" v="300" actId="478"/>
          <ac:spMkLst>
            <pc:docMk/>
            <pc:sldMk cId="459806595" sldId="580"/>
            <ac:spMk id="724" creationId="{437CF7E8-135E-F781-494C-A9D366FD5A7A}"/>
          </ac:spMkLst>
        </pc:spChg>
        <pc:spChg chg="replST">
          <ac:chgData name="bullingerm.tmt22" userId="9ce3b8b2-035f-4175-b301-998b03a50e38" providerId="ADAL" clId="{D8E03A0D-8A42-4CF5-82BF-586E462557BB}" dt="2024-03-04T17:44:56.088" v="2279"/>
          <ac:spMkLst>
            <pc:docMk/>
            <pc:sldMk cId="459806595" sldId="580"/>
            <ac:spMk id="724" creationId="{D75E884B-FA77-2D7B-E848-6C618C3022D3}"/>
          </ac:spMkLst>
        </pc:spChg>
        <pc:spChg chg="del">
          <ac:chgData name="bullingerm.tmt22" userId="9ce3b8b2-035f-4175-b301-998b03a50e38" providerId="ADAL" clId="{D8E03A0D-8A42-4CF5-82BF-586E462557BB}" dt="2024-03-01T10:49:08.066" v="292" actId="478"/>
          <ac:spMkLst>
            <pc:docMk/>
            <pc:sldMk cId="459806595" sldId="580"/>
            <ac:spMk id="725" creationId="{9B672B94-7238-0A45-8021-E90881D8D8C5}"/>
          </ac:spMkLst>
        </pc:spChg>
        <pc:spChg chg="replST">
          <ac:chgData name="bullingerm.tmt22" userId="9ce3b8b2-035f-4175-b301-998b03a50e38" providerId="ADAL" clId="{D8E03A0D-8A42-4CF5-82BF-586E462557BB}" dt="2024-03-04T17:44:56.098" v="2282"/>
          <ac:spMkLst>
            <pc:docMk/>
            <pc:sldMk cId="459806595" sldId="580"/>
            <ac:spMk id="725" creationId="{CA1D093F-35FB-9C88-E0FC-7F099BB00FD7}"/>
          </ac:spMkLst>
        </pc:spChg>
        <pc:spChg chg="del">
          <ac:chgData name="bullingerm.tmt22" userId="9ce3b8b2-035f-4175-b301-998b03a50e38" providerId="ADAL" clId="{D8E03A0D-8A42-4CF5-82BF-586E462557BB}" dt="2024-03-01T10:49:08.066" v="285" actId="478"/>
          <ac:spMkLst>
            <pc:docMk/>
            <pc:sldMk cId="459806595" sldId="580"/>
            <ac:spMk id="726" creationId="{75414520-8E9D-F500-914D-B12D00816518}"/>
          </ac:spMkLst>
        </pc:spChg>
        <pc:spChg chg="replST">
          <ac:chgData name="bullingerm.tmt22" userId="9ce3b8b2-035f-4175-b301-998b03a50e38" providerId="ADAL" clId="{D8E03A0D-8A42-4CF5-82BF-586E462557BB}" dt="2024-03-04T17:44:56.103" v="2286"/>
          <ac:spMkLst>
            <pc:docMk/>
            <pc:sldMk cId="459806595" sldId="580"/>
            <ac:spMk id="727" creationId="{56C6C85E-0F5D-0643-B2AB-7D9E0DE1D1AF}"/>
          </ac:spMkLst>
        </pc:spChg>
        <pc:spChg chg="del">
          <ac:chgData name="bullingerm.tmt22" userId="9ce3b8b2-035f-4175-b301-998b03a50e38" providerId="ADAL" clId="{D8E03A0D-8A42-4CF5-82BF-586E462557BB}" dt="2024-03-01T10:49:08.066" v="293" actId="478"/>
          <ac:spMkLst>
            <pc:docMk/>
            <pc:sldMk cId="459806595" sldId="580"/>
            <ac:spMk id="727" creationId="{CB765A11-A7E2-4EFE-6753-733690567D86}"/>
          </ac:spMkLst>
        </pc:spChg>
        <pc:spChg chg="replST">
          <ac:chgData name="bullingerm.tmt22" userId="9ce3b8b2-035f-4175-b301-998b03a50e38" providerId="ADAL" clId="{D8E03A0D-8A42-4CF5-82BF-586E462557BB}" dt="2024-03-04T17:44:56.108" v="2289"/>
          <ac:spMkLst>
            <pc:docMk/>
            <pc:sldMk cId="459806595" sldId="580"/>
            <ac:spMk id="728" creationId="{623D93E5-B779-0867-4AF0-4245A59ED286}"/>
          </ac:spMkLst>
        </pc:spChg>
        <pc:spChg chg="del">
          <ac:chgData name="bullingerm.tmt22" userId="9ce3b8b2-035f-4175-b301-998b03a50e38" providerId="ADAL" clId="{D8E03A0D-8A42-4CF5-82BF-586E462557BB}" dt="2024-03-01T10:49:08.066" v="284" actId="478"/>
          <ac:spMkLst>
            <pc:docMk/>
            <pc:sldMk cId="459806595" sldId="580"/>
            <ac:spMk id="728" creationId="{B5E717C7-9579-CBC0-44FF-B00D7997DC61}"/>
          </ac:spMkLst>
        </pc:spChg>
        <pc:spChg chg="del">
          <ac:chgData name="bullingerm.tmt22" userId="9ce3b8b2-035f-4175-b301-998b03a50e38" providerId="ADAL" clId="{D8E03A0D-8A42-4CF5-82BF-586E462557BB}" dt="2024-03-01T10:49:08.066" v="283" actId="478"/>
          <ac:spMkLst>
            <pc:docMk/>
            <pc:sldMk cId="459806595" sldId="580"/>
            <ac:spMk id="729" creationId="{ADA937C9-85AF-5C43-8DA6-32E3DB994492}"/>
          </ac:spMkLst>
        </pc:spChg>
        <pc:spChg chg="del">
          <ac:chgData name="bullingerm.tmt22" userId="9ce3b8b2-035f-4175-b301-998b03a50e38" providerId="ADAL" clId="{D8E03A0D-8A42-4CF5-82BF-586E462557BB}" dt="2024-03-01T10:49:08.050" v="282" actId="478"/>
          <ac:spMkLst>
            <pc:docMk/>
            <pc:sldMk cId="459806595" sldId="580"/>
            <ac:spMk id="730" creationId="{204D2588-665E-04BE-C311-6694778C3174}"/>
          </ac:spMkLst>
        </pc:spChg>
        <pc:spChg chg="del">
          <ac:chgData name="bullingerm.tmt22" userId="9ce3b8b2-035f-4175-b301-998b03a50e38" providerId="ADAL" clId="{D8E03A0D-8A42-4CF5-82BF-586E462557BB}" dt="2024-03-01T10:49:08.050" v="281" actId="478"/>
          <ac:spMkLst>
            <pc:docMk/>
            <pc:sldMk cId="459806595" sldId="580"/>
            <ac:spMk id="731" creationId="{398DA790-A244-0517-217A-27A853E63361}"/>
          </ac:spMkLst>
        </pc:spChg>
        <pc:spChg chg="del">
          <ac:chgData name="bullingerm.tmt22" userId="9ce3b8b2-035f-4175-b301-998b03a50e38" providerId="ADAL" clId="{D8E03A0D-8A42-4CF5-82BF-586E462557BB}" dt="2024-03-01T10:49:08.050" v="280" actId="478"/>
          <ac:spMkLst>
            <pc:docMk/>
            <pc:sldMk cId="459806595" sldId="580"/>
            <ac:spMk id="732" creationId="{2C00A554-EFC3-699A-AF5B-F5DC2EF7CA6C}"/>
          </ac:spMkLst>
        </pc:spChg>
        <pc:spChg chg="del">
          <ac:chgData name="bullingerm.tmt22" userId="9ce3b8b2-035f-4175-b301-998b03a50e38" providerId="ADAL" clId="{D8E03A0D-8A42-4CF5-82BF-586E462557BB}" dt="2024-03-01T10:49:08.050" v="279" actId="478"/>
          <ac:spMkLst>
            <pc:docMk/>
            <pc:sldMk cId="459806595" sldId="580"/>
            <ac:spMk id="733" creationId="{6CB3BA07-5265-8FE7-5E4B-DD09906021CF}"/>
          </ac:spMkLst>
        </pc:spChg>
        <pc:spChg chg="del">
          <ac:chgData name="bullingerm.tmt22" userId="9ce3b8b2-035f-4175-b301-998b03a50e38" providerId="ADAL" clId="{D8E03A0D-8A42-4CF5-82BF-586E462557BB}" dt="2024-03-01T10:49:08.050" v="278" actId="478"/>
          <ac:spMkLst>
            <pc:docMk/>
            <pc:sldMk cId="459806595" sldId="580"/>
            <ac:spMk id="734" creationId="{639CA434-4EE5-6E8A-6B54-B6640040DDC9}"/>
          </ac:spMkLst>
        </pc:spChg>
        <pc:spChg chg="del">
          <ac:chgData name="bullingerm.tmt22" userId="9ce3b8b2-035f-4175-b301-998b03a50e38" providerId="ADAL" clId="{D8E03A0D-8A42-4CF5-82BF-586E462557BB}" dt="2024-03-01T10:49:08.050" v="277" actId="478"/>
          <ac:spMkLst>
            <pc:docMk/>
            <pc:sldMk cId="459806595" sldId="580"/>
            <ac:spMk id="735" creationId="{4F78B8FA-116F-016F-1FEF-E806EC9E7553}"/>
          </ac:spMkLst>
        </pc:spChg>
        <pc:cxnChg chg="del ord replST">
          <ac:chgData name="bullingerm.tmt22" userId="9ce3b8b2-035f-4175-b301-998b03a50e38" providerId="ADAL" clId="{D8E03A0D-8A42-4CF5-82BF-586E462557BB}" dt="2024-03-04T17:44:55.389" v="1913" actId="478"/>
          <ac:cxnSpMkLst>
            <pc:docMk/>
            <pc:sldMk cId="459806595" sldId="580"/>
            <ac:cxnSpMk id="649" creationId="{FF91529F-E888-0BBE-01C4-F1EC45863CDC}"/>
          </ac:cxnSpMkLst>
        </pc:cxnChg>
        <pc:cxnChg chg="del ord replST">
          <ac:chgData name="bullingerm.tmt22" userId="9ce3b8b2-035f-4175-b301-998b03a50e38" providerId="ADAL" clId="{D8E03A0D-8A42-4CF5-82BF-586E462557BB}" dt="2024-03-04T17:44:55.389" v="1915" actId="478"/>
          <ac:cxnSpMkLst>
            <pc:docMk/>
            <pc:sldMk cId="459806595" sldId="580"/>
            <ac:cxnSpMk id="655" creationId="{6215482F-6269-69AA-4A1A-DFE31FCC5A00}"/>
          </ac:cxnSpMkLst>
        </pc:cxnChg>
        <pc:cxnChg chg="del ord replST">
          <ac:chgData name="bullingerm.tmt22" userId="9ce3b8b2-035f-4175-b301-998b03a50e38" providerId="ADAL" clId="{D8E03A0D-8A42-4CF5-82BF-586E462557BB}" dt="2024-03-04T17:44:55.399" v="1916" actId="478"/>
          <ac:cxnSpMkLst>
            <pc:docMk/>
            <pc:sldMk cId="459806595" sldId="580"/>
            <ac:cxnSpMk id="659" creationId="{E736E785-6D53-3FA2-042E-DDD1CF920BF7}"/>
          </ac:cxnSpMkLst>
        </pc:cxnChg>
        <pc:cxnChg chg="del ord replST">
          <ac:chgData name="bullingerm.tmt22" userId="9ce3b8b2-035f-4175-b301-998b03a50e38" providerId="ADAL" clId="{D8E03A0D-8A42-4CF5-82BF-586E462557BB}" dt="2024-03-04T17:44:55.399" v="1917" actId="478"/>
          <ac:cxnSpMkLst>
            <pc:docMk/>
            <pc:sldMk cId="459806595" sldId="580"/>
            <ac:cxnSpMk id="662" creationId="{15B9DF0A-8584-86EA-5841-A864BFAECF98}"/>
          </ac:cxnSpMkLst>
        </pc:cxnChg>
        <pc:cxnChg chg="del ord replST">
          <ac:chgData name="bullingerm.tmt22" userId="9ce3b8b2-035f-4175-b301-998b03a50e38" providerId="ADAL" clId="{D8E03A0D-8A42-4CF5-82BF-586E462557BB}" dt="2024-03-04T17:44:55.399" v="1918" actId="478"/>
          <ac:cxnSpMkLst>
            <pc:docMk/>
            <pc:sldMk cId="459806595" sldId="580"/>
            <ac:cxnSpMk id="665" creationId="{77DF184C-40D9-1134-21C8-718EFB24B786}"/>
          </ac:cxnSpMkLst>
        </pc:cxnChg>
        <pc:cxnChg chg="del ord replST">
          <ac:chgData name="bullingerm.tmt22" userId="9ce3b8b2-035f-4175-b301-998b03a50e38" providerId="ADAL" clId="{D8E03A0D-8A42-4CF5-82BF-586E462557BB}" dt="2024-03-04T17:44:55.402" v="1919" actId="478"/>
          <ac:cxnSpMkLst>
            <pc:docMk/>
            <pc:sldMk cId="459806595" sldId="580"/>
            <ac:cxnSpMk id="668" creationId="{0D1890A3-04E2-20E2-A53D-1AD497992F23}"/>
          </ac:cxnSpMkLst>
        </pc:cxnChg>
        <pc:cxnChg chg="del ord replST">
          <ac:chgData name="bullingerm.tmt22" userId="9ce3b8b2-035f-4175-b301-998b03a50e38" providerId="ADAL" clId="{D8E03A0D-8A42-4CF5-82BF-586E462557BB}" dt="2024-03-04T17:44:55.402" v="1920" actId="478"/>
          <ac:cxnSpMkLst>
            <pc:docMk/>
            <pc:sldMk cId="459806595" sldId="580"/>
            <ac:cxnSpMk id="669" creationId="{0A675F39-C056-C794-F6EC-440933F9CA46}"/>
          </ac:cxnSpMkLst>
        </pc:cxnChg>
        <pc:cxnChg chg="del">
          <ac:chgData name="bullingerm.tmt22" userId="9ce3b8b2-035f-4175-b301-998b03a50e38" providerId="ADAL" clId="{D8E03A0D-8A42-4CF5-82BF-586E462557BB}" dt="2024-03-01T10:49:08.032" v="263" actId="478"/>
          <ac:cxnSpMkLst>
            <pc:docMk/>
            <pc:sldMk cId="459806595" sldId="580"/>
            <ac:cxnSpMk id="697" creationId="{9663FDB6-AAB7-D961-926F-5AA0BD7FCF66}"/>
          </ac:cxnSpMkLst>
        </pc:cxnChg>
        <pc:cxnChg chg="del">
          <ac:chgData name="bullingerm.tmt22" userId="9ce3b8b2-035f-4175-b301-998b03a50e38" providerId="ADAL" clId="{D8E03A0D-8A42-4CF5-82BF-586E462557BB}" dt="2024-03-01T10:49:08.032" v="265" actId="478"/>
          <ac:cxnSpMkLst>
            <pc:docMk/>
            <pc:sldMk cId="459806595" sldId="580"/>
            <ac:cxnSpMk id="703" creationId="{82752B00-7FB8-BA7A-D3B1-6280CA59BAB4}"/>
          </ac:cxnSpMkLst>
        </pc:cxnChg>
        <pc:cxnChg chg="del">
          <ac:chgData name="bullingerm.tmt22" userId="9ce3b8b2-035f-4175-b301-998b03a50e38" providerId="ADAL" clId="{D8E03A0D-8A42-4CF5-82BF-586E462557BB}" dt="2024-03-01T10:49:08.032" v="266" actId="478"/>
          <ac:cxnSpMkLst>
            <pc:docMk/>
            <pc:sldMk cId="459806595" sldId="580"/>
            <ac:cxnSpMk id="706" creationId="{1568D633-5838-4469-FD22-EFE1A5EAD8DE}"/>
          </ac:cxnSpMkLst>
        </pc:cxnChg>
        <pc:cxnChg chg="del">
          <ac:chgData name="bullingerm.tmt22" userId="9ce3b8b2-035f-4175-b301-998b03a50e38" providerId="ADAL" clId="{D8E03A0D-8A42-4CF5-82BF-586E462557BB}" dt="2024-03-01T10:49:08.032" v="267" actId="478"/>
          <ac:cxnSpMkLst>
            <pc:docMk/>
            <pc:sldMk cId="459806595" sldId="580"/>
            <ac:cxnSpMk id="709" creationId="{903E06C1-FAF4-9C0C-2301-186A9E26F3C3}"/>
          </ac:cxnSpMkLst>
        </pc:cxnChg>
        <pc:cxnChg chg="del">
          <ac:chgData name="bullingerm.tmt22" userId="9ce3b8b2-035f-4175-b301-998b03a50e38" providerId="ADAL" clId="{D8E03A0D-8A42-4CF5-82BF-586E462557BB}" dt="2024-03-01T10:49:08.032" v="268" actId="478"/>
          <ac:cxnSpMkLst>
            <pc:docMk/>
            <pc:sldMk cId="459806595" sldId="580"/>
            <ac:cxnSpMk id="712" creationId="{86740ABB-5186-3D1D-B3BF-DEA42569D0EF}"/>
          </ac:cxnSpMkLst>
        </pc:cxnChg>
        <pc:cxnChg chg="ord replST">
          <ac:chgData name="bullingerm.tmt22" userId="9ce3b8b2-035f-4175-b301-998b03a50e38" providerId="ADAL" clId="{D8E03A0D-8A42-4CF5-82BF-586E462557BB}" dt="2024-03-04T17:44:56.118" v="2293"/>
          <ac:cxnSpMkLst>
            <pc:docMk/>
            <pc:sldMk cId="459806595" sldId="580"/>
            <ac:cxnSpMk id="714" creationId="{2035BD9E-5C4A-4DF3-E3E1-1627F31310C4}"/>
          </ac:cxnSpMkLst>
        </pc:cxnChg>
        <pc:cxnChg chg="del">
          <ac:chgData name="bullingerm.tmt22" userId="9ce3b8b2-035f-4175-b301-998b03a50e38" providerId="ADAL" clId="{D8E03A0D-8A42-4CF5-82BF-586E462557BB}" dt="2024-03-01T10:49:08.032" v="269" actId="478"/>
          <ac:cxnSpMkLst>
            <pc:docMk/>
            <pc:sldMk cId="459806595" sldId="580"/>
            <ac:cxnSpMk id="715" creationId="{59CABC16-45D2-8D85-5078-B9BEBEC503A6}"/>
          </ac:cxnSpMkLst>
        </pc:cxnChg>
        <pc:cxnChg chg="del">
          <ac:chgData name="bullingerm.tmt22" userId="9ce3b8b2-035f-4175-b301-998b03a50e38" providerId="ADAL" clId="{D8E03A0D-8A42-4CF5-82BF-586E462557BB}" dt="2024-03-01T10:49:08.032" v="270" actId="478"/>
          <ac:cxnSpMkLst>
            <pc:docMk/>
            <pc:sldMk cId="459806595" sldId="580"/>
            <ac:cxnSpMk id="716" creationId="{376C8D26-D870-5558-F0EF-2F628C81FEBB}"/>
          </ac:cxnSpMkLst>
        </pc:cxnChg>
        <pc:cxnChg chg="ord replST">
          <ac:chgData name="bullingerm.tmt22" userId="9ce3b8b2-035f-4175-b301-998b03a50e38" providerId="ADAL" clId="{D8E03A0D-8A42-4CF5-82BF-586E462557BB}" dt="2024-03-04T17:44:56.123" v="2295"/>
          <ac:cxnSpMkLst>
            <pc:docMk/>
            <pc:sldMk cId="459806595" sldId="580"/>
            <ac:cxnSpMk id="720" creationId="{B9672D42-081E-38CC-6C91-AAAE314C3892}"/>
          </ac:cxnSpMkLst>
        </pc:cxnChg>
        <pc:cxnChg chg="ord replST">
          <ac:chgData name="bullingerm.tmt22" userId="9ce3b8b2-035f-4175-b301-998b03a50e38" providerId="ADAL" clId="{D8E03A0D-8A42-4CF5-82BF-586E462557BB}" dt="2024-03-04T17:44:56.123" v="2296"/>
          <ac:cxnSpMkLst>
            <pc:docMk/>
            <pc:sldMk cId="459806595" sldId="580"/>
            <ac:cxnSpMk id="723" creationId="{B574418D-6369-8329-1109-C4DFDB72F555}"/>
          </ac:cxnSpMkLst>
        </pc:cxnChg>
        <pc:cxnChg chg="ord replST">
          <ac:chgData name="bullingerm.tmt22" userId="9ce3b8b2-035f-4175-b301-998b03a50e38" providerId="ADAL" clId="{D8E03A0D-8A42-4CF5-82BF-586E462557BB}" dt="2024-03-04T17:44:56.123" v="2297"/>
          <ac:cxnSpMkLst>
            <pc:docMk/>
            <pc:sldMk cId="459806595" sldId="580"/>
            <ac:cxnSpMk id="726" creationId="{0A1AD68D-B041-9A0F-6347-FC22A9600CCF}"/>
          </ac:cxnSpMkLst>
        </pc:cxnChg>
        <pc:cxnChg chg="ord replST">
          <ac:chgData name="bullingerm.tmt22" userId="9ce3b8b2-035f-4175-b301-998b03a50e38" providerId="ADAL" clId="{D8E03A0D-8A42-4CF5-82BF-586E462557BB}" dt="2024-03-04T17:44:56.123" v="2298"/>
          <ac:cxnSpMkLst>
            <pc:docMk/>
            <pc:sldMk cId="459806595" sldId="580"/>
            <ac:cxnSpMk id="729" creationId="{17324FA3-816D-F04A-ECEE-61CCAF93E87F}"/>
          </ac:cxnSpMkLst>
        </pc:cxnChg>
        <pc:cxnChg chg="ord replST">
          <ac:chgData name="bullingerm.tmt22" userId="9ce3b8b2-035f-4175-b301-998b03a50e38" providerId="ADAL" clId="{D8E03A0D-8A42-4CF5-82BF-586E462557BB}" dt="2024-03-04T17:44:56.128" v="2299"/>
          <ac:cxnSpMkLst>
            <pc:docMk/>
            <pc:sldMk cId="459806595" sldId="580"/>
            <ac:cxnSpMk id="730" creationId="{141F647F-B10C-D877-61FC-6D73D082FBEF}"/>
          </ac:cxnSpMkLst>
        </pc:cxnChg>
      </pc:sldChg>
      <pc:sldChg chg="addSp delSp modSp mod">
        <pc:chgData name="bullingerm.tmt22" userId="9ce3b8b2-035f-4175-b301-998b03a50e38" providerId="ADAL" clId="{D8E03A0D-8A42-4CF5-82BF-586E462557BB}" dt="2024-03-04T17:44:56.423" v="2405"/>
        <pc:sldMkLst>
          <pc:docMk/>
          <pc:sldMk cId="965765845" sldId="581"/>
        </pc:sldMkLst>
        <pc:spChg chg="del">
          <ac:chgData name="bullingerm.tmt22" userId="9ce3b8b2-035f-4175-b301-998b03a50e38" providerId="ADAL" clId="{D8E03A0D-8A42-4CF5-82BF-586E462557BB}" dt="2024-03-01T10:49:08.168" v="369" actId="478"/>
          <ac:spMkLst>
            <pc:docMk/>
            <pc:sldMk cId="965765845" sldId="581"/>
            <ac:spMk id="640" creationId="{1532DABD-10E5-DC7C-BF49-24BE91096833}"/>
          </ac:spMkLst>
        </pc:spChg>
        <pc:spChg chg="del">
          <ac:chgData name="bullingerm.tmt22" userId="9ce3b8b2-035f-4175-b301-998b03a50e38" providerId="ADAL" clId="{D8E03A0D-8A42-4CF5-82BF-586E462557BB}" dt="2024-03-04T17:44:55.553" v="2042" actId="478"/>
          <ac:spMkLst>
            <pc:docMk/>
            <pc:sldMk cId="965765845" sldId="581"/>
            <ac:spMk id="640" creationId="{45E57302-EC34-957A-BB18-093037CBFFF1}"/>
          </ac:spMkLst>
        </pc:spChg>
        <pc:spChg chg="del">
          <ac:chgData name="bullingerm.tmt22" userId="9ce3b8b2-035f-4175-b301-998b03a50e38" providerId="ADAL" clId="{D8E03A0D-8A42-4CF5-82BF-586E462557BB}" dt="2024-03-01T10:49:08.168" v="368" actId="478"/>
          <ac:spMkLst>
            <pc:docMk/>
            <pc:sldMk cId="965765845" sldId="581"/>
            <ac:spMk id="641" creationId="{AAEA7D29-16E5-F125-FD97-857F6F6689F9}"/>
          </ac:spMkLst>
        </pc:spChg>
        <pc:spChg chg="del">
          <ac:chgData name="bullingerm.tmt22" userId="9ce3b8b2-035f-4175-b301-998b03a50e38" providerId="ADAL" clId="{D8E03A0D-8A42-4CF5-82BF-586E462557BB}" dt="2024-03-04T17:44:55.549" v="2034" actId="478"/>
          <ac:spMkLst>
            <pc:docMk/>
            <pc:sldMk cId="965765845" sldId="581"/>
            <ac:spMk id="641" creationId="{CC4C6C97-164B-AAC9-96EB-1590D1A906A6}"/>
          </ac:spMkLst>
        </pc:spChg>
        <pc:spChg chg="del">
          <ac:chgData name="bullingerm.tmt22" userId="9ce3b8b2-035f-4175-b301-998b03a50e38" providerId="ADAL" clId="{D8E03A0D-8A42-4CF5-82BF-586E462557BB}" dt="2024-03-01T10:49:08.168" v="367" actId="478"/>
          <ac:spMkLst>
            <pc:docMk/>
            <pc:sldMk cId="965765845" sldId="581"/>
            <ac:spMk id="642" creationId="{36860253-8ED0-30F2-081D-518356BDFD8E}"/>
          </ac:spMkLst>
        </pc:spChg>
        <pc:spChg chg="del">
          <ac:chgData name="bullingerm.tmt22" userId="9ce3b8b2-035f-4175-b301-998b03a50e38" providerId="ADAL" clId="{D8E03A0D-8A42-4CF5-82BF-586E462557BB}" dt="2024-03-04T17:44:55.538" v="2027" actId="478"/>
          <ac:spMkLst>
            <pc:docMk/>
            <pc:sldMk cId="965765845" sldId="581"/>
            <ac:spMk id="642" creationId="{B88143B9-8239-106F-B4DC-8E9B2F1ABE8E}"/>
          </ac:spMkLst>
        </pc:spChg>
        <pc:spChg chg="del">
          <ac:chgData name="bullingerm.tmt22" userId="9ce3b8b2-035f-4175-b301-998b03a50e38" providerId="ADAL" clId="{D8E03A0D-8A42-4CF5-82BF-586E462557BB}" dt="2024-03-01T10:49:08.168" v="366" actId="478"/>
          <ac:spMkLst>
            <pc:docMk/>
            <pc:sldMk cId="965765845" sldId="581"/>
            <ac:spMk id="643" creationId="{B9EFE54A-DD3F-F0DF-3BBC-D1F2AAA4D511}"/>
          </ac:spMkLst>
        </pc:spChg>
        <pc:spChg chg="del">
          <ac:chgData name="bullingerm.tmt22" userId="9ce3b8b2-035f-4175-b301-998b03a50e38" providerId="ADAL" clId="{D8E03A0D-8A42-4CF5-82BF-586E462557BB}" dt="2024-03-04T17:44:55.549" v="2035" actId="478"/>
          <ac:spMkLst>
            <pc:docMk/>
            <pc:sldMk cId="965765845" sldId="581"/>
            <ac:spMk id="643" creationId="{D0EAA80F-DFA8-E296-735A-DD7FCBD22D89}"/>
          </ac:spMkLst>
        </pc:spChg>
        <pc:spChg chg="del">
          <ac:chgData name="bullingerm.tmt22" userId="9ce3b8b2-035f-4175-b301-998b03a50e38" providerId="ADAL" clId="{D8E03A0D-8A42-4CF5-82BF-586E462557BB}" dt="2024-03-04T17:44:55.538" v="2026" actId="478"/>
          <ac:spMkLst>
            <pc:docMk/>
            <pc:sldMk cId="965765845" sldId="581"/>
            <ac:spMk id="644" creationId="{73A9B88E-3828-4EF6-25C4-BCB09539FC58}"/>
          </ac:spMkLst>
        </pc:spChg>
        <pc:spChg chg="del">
          <ac:chgData name="bullingerm.tmt22" userId="9ce3b8b2-035f-4175-b301-998b03a50e38" providerId="ADAL" clId="{D8E03A0D-8A42-4CF5-82BF-586E462557BB}" dt="2024-03-01T10:49:08.168" v="365" actId="478"/>
          <ac:spMkLst>
            <pc:docMk/>
            <pc:sldMk cId="965765845" sldId="581"/>
            <ac:spMk id="644" creationId="{BBB35750-01A5-CB40-D33C-1991D7F76DCA}"/>
          </ac:spMkLst>
        </pc:spChg>
        <pc:spChg chg="del">
          <ac:chgData name="bullingerm.tmt22" userId="9ce3b8b2-035f-4175-b301-998b03a50e38" providerId="ADAL" clId="{D8E03A0D-8A42-4CF5-82BF-586E462557BB}" dt="2024-03-04T17:44:55.538" v="2025" actId="478"/>
          <ac:spMkLst>
            <pc:docMk/>
            <pc:sldMk cId="965765845" sldId="581"/>
            <ac:spMk id="645" creationId="{71C533B5-69D0-8241-4B06-144623F4FFB4}"/>
          </ac:spMkLst>
        </pc:spChg>
        <pc:spChg chg="del">
          <ac:chgData name="bullingerm.tmt22" userId="9ce3b8b2-035f-4175-b301-998b03a50e38" providerId="ADAL" clId="{D8E03A0D-8A42-4CF5-82BF-586E462557BB}" dt="2024-03-01T10:49:08.168" v="364" actId="478"/>
          <ac:spMkLst>
            <pc:docMk/>
            <pc:sldMk cId="965765845" sldId="581"/>
            <ac:spMk id="645" creationId="{A93E7DFB-D84C-CBBC-2FAA-BAAC6C7BAB35}"/>
          </ac:spMkLst>
        </pc:spChg>
        <pc:spChg chg="del">
          <ac:chgData name="bullingerm.tmt22" userId="9ce3b8b2-035f-4175-b301-998b03a50e38" providerId="ADAL" clId="{D8E03A0D-8A42-4CF5-82BF-586E462557BB}" dt="2024-03-01T10:49:08.168" v="363" actId="478"/>
          <ac:spMkLst>
            <pc:docMk/>
            <pc:sldMk cId="965765845" sldId="581"/>
            <ac:spMk id="646" creationId="{16F06F9C-36BF-32D8-9214-5524A0AB6C4D}"/>
          </ac:spMkLst>
        </pc:spChg>
        <pc:spChg chg="del">
          <ac:chgData name="bullingerm.tmt22" userId="9ce3b8b2-035f-4175-b301-998b03a50e38" providerId="ADAL" clId="{D8E03A0D-8A42-4CF5-82BF-586E462557BB}" dt="2024-03-04T17:44:55.538" v="2024" actId="478"/>
          <ac:spMkLst>
            <pc:docMk/>
            <pc:sldMk cId="965765845" sldId="581"/>
            <ac:spMk id="646" creationId="{AE7287EF-BACB-F7A9-66D4-A9B8BEA9DA89}"/>
          </ac:spMkLst>
        </pc:spChg>
        <pc:spChg chg="replST">
          <ac:chgData name="bullingerm.tmt22" userId="9ce3b8b2-035f-4175-b301-998b03a50e38" providerId="ADAL" clId="{D8E03A0D-8A42-4CF5-82BF-586E462557BB}" dt="2024-03-01T10:49:09.040" v="785"/>
          <ac:spMkLst>
            <pc:docMk/>
            <pc:sldMk cId="965765845" sldId="581"/>
            <ac:spMk id="647" creationId="{CF651350-3FCF-57FF-71A2-19D01D13D34F}"/>
          </ac:spMkLst>
        </pc:spChg>
        <pc:spChg chg="replST">
          <ac:chgData name="bullingerm.tmt22" userId="9ce3b8b2-035f-4175-b301-998b03a50e38" providerId="ADAL" clId="{D8E03A0D-8A42-4CF5-82BF-586E462557BB}" dt="2024-03-01T10:49:09.040" v="788"/>
          <ac:spMkLst>
            <pc:docMk/>
            <pc:sldMk cId="965765845" sldId="581"/>
            <ac:spMk id="648" creationId="{DEE90A95-E7B1-313B-6DEE-2DE9EBD4B637}"/>
          </ac:spMkLst>
        </pc:spChg>
        <pc:spChg chg="replST">
          <ac:chgData name="bullingerm.tmt22" userId="9ce3b8b2-035f-4175-b301-998b03a50e38" providerId="ADAL" clId="{D8E03A0D-8A42-4CF5-82BF-586E462557BB}" dt="2024-03-01T10:49:09.056" v="792"/>
          <ac:spMkLst>
            <pc:docMk/>
            <pc:sldMk cId="965765845" sldId="581"/>
            <ac:spMk id="650" creationId="{02CA3CD1-3E34-EECA-4DC9-F0F1247DD6E7}"/>
          </ac:spMkLst>
        </pc:spChg>
        <pc:spChg chg="replST">
          <ac:chgData name="bullingerm.tmt22" userId="9ce3b8b2-035f-4175-b301-998b03a50e38" providerId="ADAL" clId="{D8E03A0D-8A42-4CF5-82BF-586E462557BB}" dt="2024-03-01T10:49:09.056" v="795"/>
          <ac:spMkLst>
            <pc:docMk/>
            <pc:sldMk cId="965765845" sldId="581"/>
            <ac:spMk id="651" creationId="{EEEA1F3D-0329-FCA2-44D2-92AF9A7D6D01}"/>
          </ac:spMkLst>
        </pc:spChg>
        <pc:spChg chg="replST">
          <ac:chgData name="bullingerm.tmt22" userId="9ce3b8b2-035f-4175-b301-998b03a50e38" providerId="ADAL" clId="{D8E03A0D-8A42-4CF5-82BF-586E462557BB}" dt="2024-03-01T10:49:09.073" v="799"/>
          <ac:spMkLst>
            <pc:docMk/>
            <pc:sldMk cId="965765845" sldId="581"/>
            <ac:spMk id="653" creationId="{41392C11-9529-AA74-4A75-939931BC45EF}"/>
          </ac:spMkLst>
        </pc:spChg>
        <pc:spChg chg="replST">
          <ac:chgData name="bullingerm.tmt22" userId="9ce3b8b2-035f-4175-b301-998b03a50e38" providerId="ADAL" clId="{D8E03A0D-8A42-4CF5-82BF-586E462557BB}" dt="2024-03-01T10:49:09.073" v="802"/>
          <ac:spMkLst>
            <pc:docMk/>
            <pc:sldMk cId="965765845" sldId="581"/>
            <ac:spMk id="654" creationId="{7B7E9D28-B7AC-292B-651D-DBA45D0252ED}"/>
          </ac:spMkLst>
        </pc:spChg>
        <pc:spChg chg="replST">
          <ac:chgData name="bullingerm.tmt22" userId="9ce3b8b2-035f-4175-b301-998b03a50e38" providerId="ADAL" clId="{D8E03A0D-8A42-4CF5-82BF-586E462557BB}" dt="2024-03-01T10:49:09.073" v="806"/>
          <ac:spMkLst>
            <pc:docMk/>
            <pc:sldMk cId="965765845" sldId="581"/>
            <ac:spMk id="656" creationId="{8D017F06-5485-AC6F-BFDE-82878F423512}"/>
          </ac:spMkLst>
        </pc:spChg>
        <pc:spChg chg="del">
          <ac:chgData name="bullingerm.tmt22" userId="9ce3b8b2-035f-4175-b301-998b03a50e38" providerId="ADAL" clId="{D8E03A0D-8A42-4CF5-82BF-586E462557BB}" dt="2024-03-04T17:44:55.538" v="2023" actId="478"/>
          <ac:spMkLst>
            <pc:docMk/>
            <pc:sldMk cId="965765845" sldId="581"/>
            <ac:spMk id="657" creationId="{500A4D89-AE8B-3F17-304E-39FD51ACB1C5}"/>
          </ac:spMkLst>
        </pc:spChg>
        <pc:spChg chg="del">
          <ac:chgData name="bullingerm.tmt22" userId="9ce3b8b2-035f-4175-b301-998b03a50e38" providerId="ADAL" clId="{D8E03A0D-8A42-4CF5-82BF-586E462557BB}" dt="2024-03-01T10:49:08.150" v="354" actId="478"/>
          <ac:spMkLst>
            <pc:docMk/>
            <pc:sldMk cId="965765845" sldId="581"/>
            <ac:spMk id="657" creationId="{D715065B-41C7-F019-A03C-29B3277DA655}"/>
          </ac:spMkLst>
        </pc:spChg>
        <pc:spChg chg="replST">
          <ac:chgData name="bullingerm.tmt22" userId="9ce3b8b2-035f-4175-b301-998b03a50e38" providerId="ADAL" clId="{D8E03A0D-8A42-4CF5-82BF-586E462557BB}" dt="2024-03-01T10:49:09.089" v="809"/>
          <ac:spMkLst>
            <pc:docMk/>
            <pc:sldMk cId="965765845" sldId="581"/>
            <ac:spMk id="658" creationId="{4656C231-ACF2-FD45-ABD4-4D86C85EB23B}"/>
          </ac:spMkLst>
        </pc:spChg>
        <pc:spChg chg="del ord replST">
          <ac:chgData name="bullingerm.tmt22" userId="9ce3b8b2-035f-4175-b301-998b03a50e38" providerId="ADAL" clId="{D8E03A0D-8A42-4CF5-82BF-586E462557BB}" dt="2024-03-04T17:44:55.519" v="2008" actId="478"/>
          <ac:spMkLst>
            <pc:docMk/>
            <pc:sldMk cId="965765845" sldId="581"/>
            <ac:spMk id="659" creationId="{5BAAB656-30A2-ACAB-35FF-F728E88B2498}"/>
          </ac:spMkLst>
        </pc:spChg>
        <pc:spChg chg="replST">
          <ac:chgData name="bullingerm.tmt22" userId="9ce3b8b2-035f-4175-b301-998b03a50e38" providerId="ADAL" clId="{D8E03A0D-8A42-4CF5-82BF-586E462557BB}" dt="2024-03-01T10:49:09.092" v="813"/>
          <ac:spMkLst>
            <pc:docMk/>
            <pc:sldMk cId="965765845" sldId="581"/>
            <ac:spMk id="660" creationId="{D7A41419-3B95-B3D9-F2BC-84EEC8020BC9}"/>
          </ac:spMkLst>
        </pc:spChg>
        <pc:spChg chg="replST">
          <ac:chgData name="bullingerm.tmt22" userId="9ce3b8b2-035f-4175-b301-998b03a50e38" providerId="ADAL" clId="{D8E03A0D-8A42-4CF5-82BF-586E462557BB}" dt="2024-03-01T10:49:09.092" v="816"/>
          <ac:spMkLst>
            <pc:docMk/>
            <pc:sldMk cId="965765845" sldId="581"/>
            <ac:spMk id="661" creationId="{A2ECFB58-C149-B8E9-54C6-0ECCBC107FDB}"/>
          </ac:spMkLst>
        </pc:spChg>
        <pc:spChg chg="replST">
          <ac:chgData name="bullingerm.tmt22" userId="9ce3b8b2-035f-4175-b301-998b03a50e38" providerId="ADAL" clId="{D8E03A0D-8A42-4CF5-82BF-586E462557BB}" dt="2024-03-01T10:49:09.108" v="820"/>
          <ac:spMkLst>
            <pc:docMk/>
            <pc:sldMk cId="965765845" sldId="581"/>
            <ac:spMk id="663" creationId="{E813FBB8-AEEC-F04E-CC51-D2CA7EE6D292}"/>
          </ac:spMkLst>
        </pc:spChg>
        <pc:spChg chg="replST">
          <ac:chgData name="bullingerm.tmt22" userId="9ce3b8b2-035f-4175-b301-998b03a50e38" providerId="ADAL" clId="{D8E03A0D-8A42-4CF5-82BF-586E462557BB}" dt="2024-03-01T10:49:09.108" v="823"/>
          <ac:spMkLst>
            <pc:docMk/>
            <pc:sldMk cId="965765845" sldId="581"/>
            <ac:spMk id="664" creationId="{B497811A-FD40-83BA-459D-BB929BD9B14A}"/>
          </ac:spMkLst>
        </pc:spChg>
        <pc:spChg chg="replST">
          <ac:chgData name="bullingerm.tmt22" userId="9ce3b8b2-035f-4175-b301-998b03a50e38" providerId="ADAL" clId="{D8E03A0D-8A42-4CF5-82BF-586E462557BB}" dt="2024-03-01T10:49:09.124" v="827"/>
          <ac:spMkLst>
            <pc:docMk/>
            <pc:sldMk cId="965765845" sldId="581"/>
            <ac:spMk id="666" creationId="{2F151157-7C7E-3797-0D8F-6496E8CAB835}"/>
          </ac:spMkLst>
        </pc:spChg>
        <pc:spChg chg="replST">
          <ac:chgData name="bullingerm.tmt22" userId="9ce3b8b2-035f-4175-b301-998b03a50e38" providerId="ADAL" clId="{D8E03A0D-8A42-4CF5-82BF-586E462557BB}" dt="2024-03-01T10:49:09.124" v="830"/>
          <ac:spMkLst>
            <pc:docMk/>
            <pc:sldMk cId="965765845" sldId="581"/>
            <ac:spMk id="667" creationId="{1A7693BB-73DE-F9C0-A0D4-073324CA89BD}"/>
          </ac:spMkLst>
        </pc:spChg>
        <pc:spChg chg="del">
          <ac:chgData name="bullingerm.tmt22" userId="9ce3b8b2-035f-4175-b301-998b03a50e38" providerId="ADAL" clId="{D8E03A0D-8A42-4CF5-82BF-586E462557BB}" dt="2024-03-04T17:44:55.538" v="2022" actId="478"/>
          <ac:spMkLst>
            <pc:docMk/>
            <pc:sldMk cId="965765845" sldId="581"/>
            <ac:spMk id="670" creationId="{28762B5B-F822-45CA-716D-2B5FED873021}"/>
          </ac:spMkLst>
        </pc:spChg>
        <pc:spChg chg="del">
          <ac:chgData name="bullingerm.tmt22" userId="9ce3b8b2-035f-4175-b301-998b03a50e38" providerId="ADAL" clId="{D8E03A0D-8A42-4CF5-82BF-586E462557BB}" dt="2024-03-04T17:44:55.538" v="2021" actId="478"/>
          <ac:spMkLst>
            <pc:docMk/>
            <pc:sldMk cId="965765845" sldId="581"/>
            <ac:spMk id="671" creationId="{0D31133E-3572-FCBE-7E65-09B47C81DEC7}"/>
          </ac:spMkLst>
        </pc:spChg>
        <pc:spChg chg="add mod">
          <ac:chgData name="bullingerm.tmt22" userId="9ce3b8b2-035f-4175-b301-998b03a50e38" providerId="ADAL" clId="{D8E03A0D-8A42-4CF5-82BF-586E462557BB}" dt="2024-03-01T10:49:08.150" v="354" actId="478"/>
          <ac:spMkLst>
            <pc:docMk/>
            <pc:sldMk cId="965765845" sldId="581"/>
            <ac:spMk id="682" creationId="{9BC2F445-4518-0345-DBCF-0B82D03738AA}"/>
          </ac:spMkLst>
        </pc:spChg>
        <pc:spChg chg="add mod">
          <ac:chgData name="bullingerm.tmt22" userId="9ce3b8b2-035f-4175-b301-998b03a50e38" providerId="ADAL" clId="{D8E03A0D-8A42-4CF5-82BF-586E462557BB}" dt="2024-03-04T17:44:55.513" v="2004" actId="478"/>
          <ac:spMkLst>
            <pc:docMk/>
            <pc:sldMk cId="965765845" sldId="581"/>
            <ac:spMk id="682" creationId="{B3E30738-9C6B-3A3A-4899-43FE6FBDE87A}"/>
          </ac:spMkLst>
        </pc:spChg>
        <pc:spChg chg="del mod ord replST">
          <ac:chgData name="bullingerm.tmt22" userId="9ce3b8b2-035f-4175-b301-998b03a50e38" providerId="ADAL" clId="{D8E03A0D-8A42-4CF5-82BF-586E462557BB}" dt="2024-03-04T17:44:55.513" v="2004" actId="478"/>
          <ac:spMkLst>
            <pc:docMk/>
            <pc:sldMk cId="965765845" sldId="581"/>
            <ac:spMk id="683" creationId="{A9DFC8A9-5066-70F9-E018-9292CBD204EF}"/>
          </ac:spMkLst>
        </pc:spChg>
        <pc:spChg chg="mod ord replST">
          <ac:chgData name="bullingerm.tmt22" userId="9ce3b8b2-035f-4175-b301-998b03a50e38" providerId="ADAL" clId="{D8E03A0D-8A42-4CF5-82BF-586E462557BB}" dt="2024-03-04T17:44:56.408" v="2398"/>
          <ac:spMkLst>
            <pc:docMk/>
            <pc:sldMk cId="965765845" sldId="581"/>
            <ac:spMk id="684" creationId="{4F2DD243-9133-D33A-A1D1-58505D7FCF45}"/>
          </ac:spMkLst>
        </pc:spChg>
        <pc:spChg chg="del">
          <ac:chgData name="bullingerm.tmt22" userId="9ce3b8b2-035f-4175-b301-998b03a50e38" providerId="ADAL" clId="{D8E03A0D-8A42-4CF5-82BF-586E462557BB}" dt="2024-03-01T10:49:08.183" v="391" actId="478"/>
          <ac:spMkLst>
            <pc:docMk/>
            <pc:sldMk cId="965765845" sldId="581"/>
            <ac:spMk id="684" creationId="{7187129E-D0BB-4DCD-EFF6-EDAD72C235AD}"/>
          </ac:spMkLst>
        </pc:spChg>
        <pc:spChg chg="del">
          <ac:chgData name="bullingerm.tmt22" userId="9ce3b8b2-035f-4175-b301-998b03a50e38" providerId="ADAL" clId="{D8E03A0D-8A42-4CF5-82BF-586E462557BB}" dt="2024-03-01T10:49:08.183" v="390" actId="478"/>
          <ac:spMkLst>
            <pc:docMk/>
            <pc:sldMk cId="965765845" sldId="581"/>
            <ac:spMk id="685" creationId="{068BA1D1-AB26-25BB-D39C-1181DB3B15D2}"/>
          </ac:spMkLst>
        </pc:spChg>
        <pc:spChg chg="del">
          <ac:chgData name="bullingerm.tmt22" userId="9ce3b8b2-035f-4175-b301-998b03a50e38" providerId="ADAL" clId="{D8E03A0D-8A42-4CF5-82BF-586E462557BB}" dt="2024-03-04T17:44:55.553" v="2041" actId="478"/>
          <ac:spMkLst>
            <pc:docMk/>
            <pc:sldMk cId="965765845" sldId="581"/>
            <ac:spMk id="685" creationId="{862ECBAE-79CE-208F-C00D-1058C45F37C5}"/>
          </ac:spMkLst>
        </pc:spChg>
        <pc:spChg chg="del">
          <ac:chgData name="bullingerm.tmt22" userId="9ce3b8b2-035f-4175-b301-998b03a50e38" providerId="ADAL" clId="{D8E03A0D-8A42-4CF5-82BF-586E462557BB}" dt="2024-03-01T10:49:08.183" v="389" actId="478"/>
          <ac:spMkLst>
            <pc:docMk/>
            <pc:sldMk cId="965765845" sldId="581"/>
            <ac:spMk id="686" creationId="{5E6ABDB0-300D-A2F8-80C4-086579441DAF}"/>
          </ac:spMkLst>
        </pc:spChg>
        <pc:spChg chg="del">
          <ac:chgData name="bullingerm.tmt22" userId="9ce3b8b2-035f-4175-b301-998b03a50e38" providerId="ADAL" clId="{D8E03A0D-8A42-4CF5-82BF-586E462557BB}" dt="2024-03-04T17:44:55.553" v="2040" actId="478"/>
          <ac:spMkLst>
            <pc:docMk/>
            <pc:sldMk cId="965765845" sldId="581"/>
            <ac:spMk id="686" creationId="{995BFF6F-463D-1D89-FC92-7CEB08ECE344}"/>
          </ac:spMkLst>
        </pc:spChg>
        <pc:spChg chg="del">
          <ac:chgData name="bullingerm.tmt22" userId="9ce3b8b2-035f-4175-b301-998b03a50e38" providerId="ADAL" clId="{D8E03A0D-8A42-4CF5-82BF-586E462557BB}" dt="2024-03-01T10:49:08.183" v="388" actId="478"/>
          <ac:spMkLst>
            <pc:docMk/>
            <pc:sldMk cId="965765845" sldId="581"/>
            <ac:spMk id="687" creationId="{5C653ECC-D137-47D9-A412-32F0713ED5EB}"/>
          </ac:spMkLst>
        </pc:spChg>
        <pc:spChg chg="del">
          <ac:chgData name="bullingerm.tmt22" userId="9ce3b8b2-035f-4175-b301-998b03a50e38" providerId="ADAL" clId="{D8E03A0D-8A42-4CF5-82BF-586E462557BB}" dt="2024-03-04T17:44:55.553" v="2039" actId="478"/>
          <ac:spMkLst>
            <pc:docMk/>
            <pc:sldMk cId="965765845" sldId="581"/>
            <ac:spMk id="687" creationId="{C7ACF0F5-4749-47F3-9B0F-25F2EB85F3BD}"/>
          </ac:spMkLst>
        </pc:spChg>
        <pc:spChg chg="del">
          <ac:chgData name="bullingerm.tmt22" userId="9ce3b8b2-035f-4175-b301-998b03a50e38" providerId="ADAL" clId="{D8E03A0D-8A42-4CF5-82BF-586E462557BB}" dt="2024-03-04T17:44:55.549" v="2038" actId="478"/>
          <ac:spMkLst>
            <pc:docMk/>
            <pc:sldMk cId="965765845" sldId="581"/>
            <ac:spMk id="688" creationId="{30693D2F-7ABC-1C1F-EBD9-9EF5660B8760}"/>
          </ac:spMkLst>
        </pc:spChg>
        <pc:spChg chg="del">
          <ac:chgData name="bullingerm.tmt22" userId="9ce3b8b2-035f-4175-b301-998b03a50e38" providerId="ADAL" clId="{D8E03A0D-8A42-4CF5-82BF-586E462557BB}" dt="2024-03-01T10:49:08.183" v="387" actId="478"/>
          <ac:spMkLst>
            <pc:docMk/>
            <pc:sldMk cId="965765845" sldId="581"/>
            <ac:spMk id="688" creationId="{F1005B82-2744-B121-3B42-79EF89AE41D6}"/>
          </ac:spMkLst>
        </pc:spChg>
        <pc:spChg chg="del">
          <ac:chgData name="bullingerm.tmt22" userId="9ce3b8b2-035f-4175-b301-998b03a50e38" providerId="ADAL" clId="{D8E03A0D-8A42-4CF5-82BF-586E462557BB}" dt="2024-03-01T10:49:08.183" v="386" actId="478"/>
          <ac:spMkLst>
            <pc:docMk/>
            <pc:sldMk cId="965765845" sldId="581"/>
            <ac:spMk id="689" creationId="{94684A50-C0C5-DF34-B910-F673899AD0BE}"/>
          </ac:spMkLst>
        </pc:spChg>
        <pc:spChg chg="del">
          <ac:chgData name="bullingerm.tmt22" userId="9ce3b8b2-035f-4175-b301-998b03a50e38" providerId="ADAL" clId="{D8E03A0D-8A42-4CF5-82BF-586E462557BB}" dt="2024-03-04T17:44:55.549" v="2037" actId="478"/>
          <ac:spMkLst>
            <pc:docMk/>
            <pc:sldMk cId="965765845" sldId="581"/>
            <ac:spMk id="689" creationId="{F0F1EB12-C755-EFCA-6298-7C532E1838B4}"/>
          </ac:spMkLst>
        </pc:spChg>
        <pc:spChg chg="del">
          <ac:chgData name="bullingerm.tmt22" userId="9ce3b8b2-035f-4175-b301-998b03a50e38" providerId="ADAL" clId="{D8E03A0D-8A42-4CF5-82BF-586E462557BB}" dt="2024-03-01T10:49:08.183" v="383" actId="478"/>
          <ac:spMkLst>
            <pc:docMk/>
            <pc:sldMk cId="965765845" sldId="581"/>
            <ac:spMk id="690" creationId="{CA881FB7-0D90-43FB-7AB8-0C9140F305FC}"/>
          </ac:spMkLst>
        </pc:spChg>
        <pc:spChg chg="del">
          <ac:chgData name="bullingerm.tmt22" userId="9ce3b8b2-035f-4175-b301-998b03a50e38" providerId="ADAL" clId="{D8E03A0D-8A42-4CF5-82BF-586E462557BB}" dt="2024-03-04T17:44:55.549" v="2036" actId="478"/>
          <ac:spMkLst>
            <pc:docMk/>
            <pc:sldMk cId="965765845" sldId="581"/>
            <ac:spMk id="690" creationId="{EAD5B42F-1CF2-3E57-F3FB-AC534F7BF74F}"/>
          </ac:spMkLst>
        </pc:spChg>
        <pc:spChg chg="del">
          <ac:chgData name="bullingerm.tmt22" userId="9ce3b8b2-035f-4175-b301-998b03a50e38" providerId="ADAL" clId="{D8E03A0D-8A42-4CF5-82BF-586E462557BB}" dt="2024-03-01T10:49:08.183" v="382" actId="478"/>
          <ac:spMkLst>
            <pc:docMk/>
            <pc:sldMk cId="965765845" sldId="581"/>
            <ac:spMk id="691" creationId="{161C6863-9CC7-F3FF-2DE8-2D809B7BBBC3}"/>
          </ac:spMkLst>
        </pc:spChg>
        <pc:spChg chg="del">
          <ac:chgData name="bullingerm.tmt22" userId="9ce3b8b2-035f-4175-b301-998b03a50e38" providerId="ADAL" clId="{D8E03A0D-8A42-4CF5-82BF-586E462557BB}" dt="2024-03-04T17:44:55.549" v="2033" actId="478"/>
          <ac:spMkLst>
            <pc:docMk/>
            <pc:sldMk cId="965765845" sldId="581"/>
            <ac:spMk id="691" creationId="{679F7E48-731F-CC48-AF40-1188DFD108B3}"/>
          </ac:spMkLst>
        </pc:spChg>
        <pc:spChg chg="del">
          <ac:chgData name="bullingerm.tmt22" userId="9ce3b8b2-035f-4175-b301-998b03a50e38" providerId="ADAL" clId="{D8E03A0D-8A42-4CF5-82BF-586E462557BB}" dt="2024-03-04T17:44:55.549" v="2032" actId="478"/>
          <ac:spMkLst>
            <pc:docMk/>
            <pc:sldMk cId="965765845" sldId="581"/>
            <ac:spMk id="692" creationId="{399F58CB-DD1E-D1FD-49ED-AB41643BE06D}"/>
          </ac:spMkLst>
        </pc:spChg>
        <pc:spChg chg="del">
          <ac:chgData name="bullingerm.tmt22" userId="9ce3b8b2-035f-4175-b301-998b03a50e38" providerId="ADAL" clId="{D8E03A0D-8A42-4CF5-82BF-586E462557BB}" dt="2024-03-01T10:49:08.183" v="381" actId="478"/>
          <ac:spMkLst>
            <pc:docMk/>
            <pc:sldMk cId="965765845" sldId="581"/>
            <ac:spMk id="692" creationId="{9C5E0A13-4B36-F91C-7947-505B535A322D}"/>
          </ac:spMkLst>
        </pc:spChg>
        <pc:spChg chg="del">
          <ac:chgData name="bullingerm.tmt22" userId="9ce3b8b2-035f-4175-b301-998b03a50e38" providerId="ADAL" clId="{D8E03A0D-8A42-4CF5-82BF-586E462557BB}" dt="2024-03-04T17:44:55.548" v="2031" actId="478"/>
          <ac:spMkLst>
            <pc:docMk/>
            <pc:sldMk cId="965765845" sldId="581"/>
            <ac:spMk id="693" creationId="{1252826B-9B06-0A9E-19B9-F75779E11731}"/>
          </ac:spMkLst>
        </pc:spChg>
        <pc:spChg chg="del">
          <ac:chgData name="bullingerm.tmt22" userId="9ce3b8b2-035f-4175-b301-998b03a50e38" providerId="ADAL" clId="{D8E03A0D-8A42-4CF5-82BF-586E462557BB}" dt="2024-03-01T10:49:08.183" v="380" actId="478"/>
          <ac:spMkLst>
            <pc:docMk/>
            <pc:sldMk cId="965765845" sldId="581"/>
            <ac:spMk id="693" creationId="{CA772E15-4582-0A28-B124-EFA6DC1FD23B}"/>
          </ac:spMkLst>
        </pc:spChg>
        <pc:spChg chg="del">
          <ac:chgData name="bullingerm.tmt22" userId="9ce3b8b2-035f-4175-b301-998b03a50e38" providerId="ADAL" clId="{D8E03A0D-8A42-4CF5-82BF-586E462557BB}" dt="2024-03-04T17:44:55.538" v="2030" actId="478"/>
          <ac:spMkLst>
            <pc:docMk/>
            <pc:sldMk cId="965765845" sldId="581"/>
            <ac:spMk id="694" creationId="{19834698-27B9-47BD-F56F-E7783EA2CBBC}"/>
          </ac:spMkLst>
        </pc:spChg>
        <pc:spChg chg="del">
          <ac:chgData name="bullingerm.tmt22" userId="9ce3b8b2-035f-4175-b301-998b03a50e38" providerId="ADAL" clId="{D8E03A0D-8A42-4CF5-82BF-586E462557BB}" dt="2024-03-01T10:49:08.183" v="379" actId="478"/>
          <ac:spMkLst>
            <pc:docMk/>
            <pc:sldMk cId="965765845" sldId="581"/>
            <ac:spMk id="694" creationId="{2518117B-A2FC-FFF0-9195-5B1D0691BF58}"/>
          </ac:spMkLst>
        </pc:spChg>
        <pc:spChg chg="del">
          <ac:chgData name="bullingerm.tmt22" userId="9ce3b8b2-035f-4175-b301-998b03a50e38" providerId="ADAL" clId="{D8E03A0D-8A42-4CF5-82BF-586E462557BB}" dt="2024-03-04T17:44:55.538" v="2029" actId="478"/>
          <ac:spMkLst>
            <pc:docMk/>
            <pc:sldMk cId="965765845" sldId="581"/>
            <ac:spMk id="695" creationId="{1FBCCACA-34FE-63F3-589A-B3DE00E2B23A}"/>
          </ac:spMkLst>
        </pc:spChg>
        <pc:spChg chg="del">
          <ac:chgData name="bullingerm.tmt22" userId="9ce3b8b2-035f-4175-b301-998b03a50e38" providerId="ADAL" clId="{D8E03A0D-8A42-4CF5-82BF-586E462557BB}" dt="2024-03-04T17:44:55.538" v="2028" actId="478"/>
          <ac:spMkLst>
            <pc:docMk/>
            <pc:sldMk cId="965765845" sldId="581"/>
            <ac:spMk id="696" creationId="{C7C59444-E647-37CE-5822-0F8B7C0049D9}"/>
          </ac:spMkLst>
        </pc:spChg>
        <pc:spChg chg="del">
          <ac:chgData name="bullingerm.tmt22" userId="9ce3b8b2-035f-4175-b301-998b03a50e38" providerId="ADAL" clId="{D8E03A0D-8A42-4CF5-82BF-586E462557BB}" dt="2024-03-04T17:44:55.558" v="2049" actId="478"/>
          <ac:spMkLst>
            <pc:docMk/>
            <pc:sldMk cId="965765845" sldId="581"/>
            <ac:spMk id="697" creationId="{A9716445-8466-599B-7584-D7B77DCC3A31}"/>
          </ac:spMkLst>
        </pc:spChg>
        <pc:spChg chg="del">
          <ac:chgData name="bullingerm.tmt22" userId="9ce3b8b2-035f-4175-b301-998b03a50e38" providerId="ADAL" clId="{D8E03A0D-8A42-4CF5-82BF-586E462557BB}" dt="2024-03-04T17:44:55.558" v="2048" actId="478"/>
          <ac:spMkLst>
            <pc:docMk/>
            <pc:sldMk cId="965765845" sldId="581"/>
            <ac:spMk id="698" creationId="{2CBA5FB3-1F33-BFED-5DA8-F895641B367D}"/>
          </ac:spMkLst>
        </pc:spChg>
        <pc:spChg chg="del">
          <ac:chgData name="bullingerm.tmt22" userId="9ce3b8b2-035f-4175-b301-998b03a50e38" providerId="ADAL" clId="{D8E03A0D-8A42-4CF5-82BF-586E462557BB}" dt="2024-03-04T17:44:55.553" v="2047" actId="478"/>
          <ac:spMkLst>
            <pc:docMk/>
            <pc:sldMk cId="965765845" sldId="581"/>
            <ac:spMk id="699" creationId="{191FBC07-D083-8389-B8D0-B8CD48F57E05}"/>
          </ac:spMkLst>
        </pc:spChg>
        <pc:spChg chg="del">
          <ac:chgData name="bullingerm.tmt22" userId="9ce3b8b2-035f-4175-b301-998b03a50e38" providerId="ADAL" clId="{D8E03A0D-8A42-4CF5-82BF-586E462557BB}" dt="2024-03-04T17:44:55.553" v="2046" actId="478"/>
          <ac:spMkLst>
            <pc:docMk/>
            <pc:sldMk cId="965765845" sldId="581"/>
            <ac:spMk id="700" creationId="{919EACE5-A463-E7EE-4AD4-B15B40016116}"/>
          </ac:spMkLst>
        </pc:spChg>
        <pc:spChg chg="del">
          <ac:chgData name="bullingerm.tmt22" userId="9ce3b8b2-035f-4175-b301-998b03a50e38" providerId="ADAL" clId="{D8E03A0D-8A42-4CF5-82BF-586E462557BB}" dt="2024-03-04T17:44:55.553" v="2045" actId="478"/>
          <ac:spMkLst>
            <pc:docMk/>
            <pc:sldMk cId="965765845" sldId="581"/>
            <ac:spMk id="701" creationId="{C31DA524-4E4D-9967-4812-F698C8B6AE9A}"/>
          </ac:spMkLst>
        </pc:spChg>
        <pc:spChg chg="del">
          <ac:chgData name="bullingerm.tmt22" userId="9ce3b8b2-035f-4175-b301-998b03a50e38" providerId="ADAL" clId="{D8E03A0D-8A42-4CF5-82BF-586E462557BB}" dt="2024-03-04T17:44:55.553" v="2044" actId="478"/>
          <ac:spMkLst>
            <pc:docMk/>
            <pc:sldMk cId="965765845" sldId="581"/>
            <ac:spMk id="702" creationId="{3AC8BAC6-8B0A-99DE-D7FF-D33EDF36DA2D}"/>
          </ac:spMkLst>
        </pc:spChg>
        <pc:spChg chg="del">
          <ac:chgData name="bullingerm.tmt22" userId="9ce3b8b2-035f-4175-b301-998b03a50e38" providerId="ADAL" clId="{D8E03A0D-8A42-4CF5-82BF-586E462557BB}" dt="2024-03-04T17:44:55.553" v="2043" actId="478"/>
          <ac:spMkLst>
            <pc:docMk/>
            <pc:sldMk cId="965765845" sldId="581"/>
            <ac:spMk id="703" creationId="{B0165292-CE08-895A-A2D3-62146D7A56E1}"/>
          </ac:spMkLst>
        </pc:spChg>
        <pc:spChg chg="del">
          <ac:chgData name="bullingerm.tmt22" userId="9ce3b8b2-035f-4175-b301-998b03a50e38" providerId="ADAL" clId="{D8E03A0D-8A42-4CF5-82BF-586E462557BB}" dt="2024-03-04T17:44:55.538" v="2020" actId="478"/>
          <ac:spMkLst>
            <pc:docMk/>
            <pc:sldMk cId="965765845" sldId="581"/>
            <ac:spMk id="704" creationId="{74D02224-D7A7-6C16-9C4C-22F73C66C4C0}"/>
          </ac:spMkLst>
        </pc:spChg>
        <pc:spChg chg="del">
          <ac:chgData name="bullingerm.tmt22" userId="9ce3b8b2-035f-4175-b301-998b03a50e38" providerId="ADAL" clId="{D8E03A0D-8A42-4CF5-82BF-586E462557BB}" dt="2024-03-04T17:44:55.538" v="2019" actId="478"/>
          <ac:spMkLst>
            <pc:docMk/>
            <pc:sldMk cId="965765845" sldId="581"/>
            <ac:spMk id="705" creationId="{48C93336-1705-F08B-DA9B-907AAB2E9007}"/>
          </ac:spMkLst>
        </pc:spChg>
        <pc:spChg chg="del">
          <ac:chgData name="bullingerm.tmt22" userId="9ce3b8b2-035f-4175-b301-998b03a50e38" providerId="ADAL" clId="{D8E03A0D-8A42-4CF5-82BF-586E462557BB}" dt="2024-03-04T17:44:55.538" v="2018" actId="478"/>
          <ac:spMkLst>
            <pc:docMk/>
            <pc:sldMk cId="965765845" sldId="581"/>
            <ac:spMk id="706" creationId="{2453DD48-9EAE-1F5D-95D0-DB2CD8CA4578}"/>
          </ac:spMkLst>
        </pc:spChg>
        <pc:spChg chg="del">
          <ac:chgData name="bullingerm.tmt22" userId="9ce3b8b2-035f-4175-b301-998b03a50e38" providerId="ADAL" clId="{D8E03A0D-8A42-4CF5-82BF-586E462557BB}" dt="2024-03-01T10:49:08.150" v="358" actId="478"/>
          <ac:spMkLst>
            <pc:docMk/>
            <pc:sldMk cId="965765845" sldId="581"/>
            <ac:spMk id="706" creationId="{FDC0C3FB-2353-4E6D-DCE6-B2CF4105CA7A}"/>
          </ac:spMkLst>
        </pc:spChg>
        <pc:spChg chg="del">
          <ac:chgData name="bullingerm.tmt22" userId="9ce3b8b2-035f-4175-b301-998b03a50e38" providerId="ADAL" clId="{D8E03A0D-8A42-4CF5-82BF-586E462557BB}" dt="2024-03-04T17:44:55.538" v="2017" actId="478"/>
          <ac:spMkLst>
            <pc:docMk/>
            <pc:sldMk cId="965765845" sldId="581"/>
            <ac:spMk id="707" creationId="{926537E7-B0E9-7517-2A08-4006DA526B61}"/>
          </ac:spMkLst>
        </pc:spChg>
        <pc:spChg chg="del">
          <ac:chgData name="bullingerm.tmt22" userId="9ce3b8b2-035f-4175-b301-998b03a50e38" providerId="ADAL" clId="{D8E03A0D-8A42-4CF5-82BF-586E462557BB}" dt="2024-03-04T17:44:55.538" v="2016" actId="478"/>
          <ac:spMkLst>
            <pc:docMk/>
            <pc:sldMk cId="965765845" sldId="581"/>
            <ac:spMk id="708" creationId="{00ADDA81-0EB7-E4A2-54BD-1F63D0DC4B29}"/>
          </ac:spMkLst>
        </pc:spChg>
        <pc:spChg chg="del">
          <ac:chgData name="bullingerm.tmt22" userId="9ce3b8b2-035f-4175-b301-998b03a50e38" providerId="ADAL" clId="{D8E03A0D-8A42-4CF5-82BF-586E462557BB}" dt="2024-03-04T17:44:55.538" v="2015" actId="478"/>
          <ac:spMkLst>
            <pc:docMk/>
            <pc:sldMk cId="965765845" sldId="581"/>
            <ac:spMk id="709" creationId="{41900586-E03C-7E68-76BD-B252305067F6}"/>
          </ac:spMkLst>
        </pc:spChg>
        <pc:spChg chg="del">
          <ac:chgData name="bullingerm.tmt22" userId="9ce3b8b2-035f-4175-b301-998b03a50e38" providerId="ADAL" clId="{D8E03A0D-8A42-4CF5-82BF-586E462557BB}" dt="2024-03-04T17:44:55.533" v="2014" actId="478"/>
          <ac:spMkLst>
            <pc:docMk/>
            <pc:sldMk cId="965765845" sldId="581"/>
            <ac:spMk id="710" creationId="{AB951E63-15CD-B458-C4DB-10EF1F25B1BC}"/>
          </ac:spMkLst>
        </pc:spChg>
        <pc:spChg chg="del">
          <ac:chgData name="bullingerm.tmt22" userId="9ce3b8b2-035f-4175-b301-998b03a50e38" providerId="ADAL" clId="{D8E03A0D-8A42-4CF5-82BF-586E462557BB}" dt="2024-03-04T17:44:55.533" v="2013" actId="478"/>
          <ac:spMkLst>
            <pc:docMk/>
            <pc:sldMk cId="965765845" sldId="581"/>
            <ac:spMk id="711" creationId="{EF17A419-2176-135A-E574-43CFDFB991BD}"/>
          </ac:spMkLst>
        </pc:spChg>
        <pc:spChg chg="replST">
          <ac:chgData name="bullingerm.tmt22" userId="9ce3b8b2-035f-4175-b301-998b03a50e38" providerId="ADAL" clId="{D8E03A0D-8A42-4CF5-82BF-586E462557BB}" dt="2024-03-04T17:44:56.279" v="2357"/>
          <ac:spMkLst>
            <pc:docMk/>
            <pc:sldMk cId="965765845" sldId="581"/>
            <ac:spMk id="712" creationId="{DF04F2E9-DA1C-E037-D110-7E993A3BFB31}"/>
          </ac:spMkLst>
        </pc:spChg>
        <pc:spChg chg="replST">
          <ac:chgData name="bullingerm.tmt22" userId="9ce3b8b2-035f-4175-b301-998b03a50e38" providerId="ADAL" clId="{D8E03A0D-8A42-4CF5-82BF-586E462557BB}" dt="2024-03-04T17:44:56.289" v="2360"/>
          <ac:spMkLst>
            <pc:docMk/>
            <pc:sldMk cId="965765845" sldId="581"/>
            <ac:spMk id="713" creationId="{0479116B-A350-492E-19C0-A934D9141A06}"/>
          </ac:spMkLst>
        </pc:spChg>
        <pc:spChg chg="replST">
          <ac:chgData name="bullingerm.tmt22" userId="9ce3b8b2-035f-4175-b301-998b03a50e38" providerId="ADAL" clId="{D8E03A0D-8A42-4CF5-82BF-586E462557BB}" dt="2024-03-04T17:44:56.309" v="2364"/>
          <ac:spMkLst>
            <pc:docMk/>
            <pc:sldMk cId="965765845" sldId="581"/>
            <ac:spMk id="715" creationId="{499DA4D6-E8A5-64AE-49B7-0382A6FABFC7}"/>
          </ac:spMkLst>
        </pc:spChg>
        <pc:spChg chg="replST">
          <ac:chgData name="bullingerm.tmt22" userId="9ce3b8b2-035f-4175-b301-998b03a50e38" providerId="ADAL" clId="{D8E03A0D-8A42-4CF5-82BF-586E462557BB}" dt="2024-03-04T17:44:56.318" v="2367"/>
          <ac:spMkLst>
            <pc:docMk/>
            <pc:sldMk cId="965765845" sldId="581"/>
            <ac:spMk id="716" creationId="{33D1561A-F471-1393-B0EB-F3DC0F05451E}"/>
          </ac:spMkLst>
        </pc:spChg>
        <pc:spChg chg="del">
          <ac:chgData name="bullingerm.tmt22" userId="9ce3b8b2-035f-4175-b301-998b03a50e38" providerId="ADAL" clId="{D8E03A0D-8A42-4CF5-82BF-586E462557BB}" dt="2024-03-01T10:49:08.183" v="378" actId="478"/>
          <ac:spMkLst>
            <pc:docMk/>
            <pc:sldMk cId="965765845" sldId="581"/>
            <ac:spMk id="717" creationId="{91DABD15-F3B4-69C4-0261-51FE62B5ED94}"/>
          </ac:spMkLst>
        </pc:spChg>
        <pc:spChg chg="replST">
          <ac:chgData name="bullingerm.tmt22" userId="9ce3b8b2-035f-4175-b301-998b03a50e38" providerId="ADAL" clId="{D8E03A0D-8A42-4CF5-82BF-586E462557BB}" dt="2024-03-04T17:44:56.328" v="2371"/>
          <ac:spMkLst>
            <pc:docMk/>
            <pc:sldMk cId="965765845" sldId="581"/>
            <ac:spMk id="718" creationId="{1D4CE7D5-A2A5-A225-4B12-14F8F81A725A}"/>
          </ac:spMkLst>
        </pc:spChg>
        <pc:spChg chg="del">
          <ac:chgData name="bullingerm.tmt22" userId="9ce3b8b2-035f-4175-b301-998b03a50e38" providerId="ADAL" clId="{D8E03A0D-8A42-4CF5-82BF-586E462557BB}" dt="2024-03-01T10:49:08.200" v="399" actId="478"/>
          <ac:spMkLst>
            <pc:docMk/>
            <pc:sldMk cId="965765845" sldId="581"/>
            <ac:spMk id="718" creationId="{38D5F41B-CBF6-974A-8310-2377EB18D405}"/>
          </ac:spMkLst>
        </pc:spChg>
        <pc:spChg chg="replST">
          <ac:chgData name="bullingerm.tmt22" userId="9ce3b8b2-035f-4175-b301-998b03a50e38" providerId="ADAL" clId="{D8E03A0D-8A42-4CF5-82BF-586E462557BB}" dt="2024-03-04T17:44:56.348" v="2374"/>
          <ac:spMkLst>
            <pc:docMk/>
            <pc:sldMk cId="965765845" sldId="581"/>
            <ac:spMk id="719" creationId="{16BD1C9E-C601-A830-1879-191FDBD451D9}"/>
          </ac:spMkLst>
        </pc:spChg>
        <pc:spChg chg="del">
          <ac:chgData name="bullingerm.tmt22" userId="9ce3b8b2-035f-4175-b301-998b03a50e38" providerId="ADAL" clId="{D8E03A0D-8A42-4CF5-82BF-586E462557BB}" dt="2024-03-01T10:49:08.199" v="398" actId="478"/>
          <ac:spMkLst>
            <pc:docMk/>
            <pc:sldMk cId="965765845" sldId="581"/>
            <ac:spMk id="719" creationId="{177C3B7A-9F19-A55D-A903-150A7E2E5173}"/>
          </ac:spMkLst>
        </pc:spChg>
        <pc:spChg chg="del">
          <ac:chgData name="bullingerm.tmt22" userId="9ce3b8b2-035f-4175-b301-998b03a50e38" providerId="ADAL" clId="{D8E03A0D-8A42-4CF5-82BF-586E462557BB}" dt="2024-03-01T10:49:08.183" v="397" actId="478"/>
          <ac:spMkLst>
            <pc:docMk/>
            <pc:sldMk cId="965765845" sldId="581"/>
            <ac:spMk id="720" creationId="{7FC935CE-AF36-DA06-7AE7-57845CDFA8CD}"/>
          </ac:spMkLst>
        </pc:spChg>
        <pc:spChg chg="del">
          <ac:chgData name="bullingerm.tmt22" userId="9ce3b8b2-035f-4175-b301-998b03a50e38" providerId="ADAL" clId="{D8E03A0D-8A42-4CF5-82BF-586E462557BB}" dt="2024-03-01T10:49:08.183" v="396" actId="478"/>
          <ac:spMkLst>
            <pc:docMk/>
            <pc:sldMk cId="965765845" sldId="581"/>
            <ac:spMk id="721" creationId="{95217C41-B461-1EE9-60BE-87A1F400C994}"/>
          </ac:spMkLst>
        </pc:spChg>
        <pc:spChg chg="replST">
          <ac:chgData name="bullingerm.tmt22" userId="9ce3b8b2-035f-4175-b301-998b03a50e38" providerId="ADAL" clId="{D8E03A0D-8A42-4CF5-82BF-586E462557BB}" dt="2024-03-04T17:44:56.361" v="2378"/>
          <ac:spMkLst>
            <pc:docMk/>
            <pc:sldMk cId="965765845" sldId="581"/>
            <ac:spMk id="721" creationId="{B9D315AF-11CF-6FDD-2A7E-5AD980C977C6}"/>
          </ac:spMkLst>
        </pc:spChg>
        <pc:spChg chg="replST">
          <ac:chgData name="bullingerm.tmt22" userId="9ce3b8b2-035f-4175-b301-998b03a50e38" providerId="ADAL" clId="{D8E03A0D-8A42-4CF5-82BF-586E462557BB}" dt="2024-03-04T17:44:56.368" v="2381"/>
          <ac:spMkLst>
            <pc:docMk/>
            <pc:sldMk cId="965765845" sldId="581"/>
            <ac:spMk id="722" creationId="{3D3296E4-4726-3B1B-9451-4F297A00946E}"/>
          </ac:spMkLst>
        </pc:spChg>
        <pc:spChg chg="del">
          <ac:chgData name="bullingerm.tmt22" userId="9ce3b8b2-035f-4175-b301-998b03a50e38" providerId="ADAL" clId="{D8E03A0D-8A42-4CF5-82BF-586E462557BB}" dt="2024-03-01T10:49:08.183" v="395" actId="478"/>
          <ac:spMkLst>
            <pc:docMk/>
            <pc:sldMk cId="965765845" sldId="581"/>
            <ac:spMk id="722" creationId="{7A11F0BC-715D-C7DF-21EF-88690503F2B9}"/>
          </ac:spMkLst>
        </pc:spChg>
        <pc:spChg chg="del">
          <ac:chgData name="bullingerm.tmt22" userId="9ce3b8b2-035f-4175-b301-998b03a50e38" providerId="ADAL" clId="{D8E03A0D-8A42-4CF5-82BF-586E462557BB}" dt="2024-03-01T10:49:08.183" v="394" actId="478"/>
          <ac:spMkLst>
            <pc:docMk/>
            <pc:sldMk cId="965765845" sldId="581"/>
            <ac:spMk id="723" creationId="{17AD0912-E376-93C8-9C0A-9BC8817EEEEB}"/>
          </ac:spMkLst>
        </pc:spChg>
        <pc:spChg chg="ord replST">
          <ac:chgData name="bullingerm.tmt22" userId="9ce3b8b2-035f-4175-b301-998b03a50e38" providerId="ADAL" clId="{D8E03A0D-8A42-4CF5-82BF-586E462557BB}" dt="2024-03-04T17:44:56.419" v="2402"/>
          <ac:spMkLst>
            <pc:docMk/>
            <pc:sldMk cId="965765845" sldId="581"/>
            <ac:spMk id="723" creationId="{6095A507-617A-561F-05A8-1A910D63C81D}"/>
          </ac:spMkLst>
        </pc:spChg>
        <pc:spChg chg="del">
          <ac:chgData name="bullingerm.tmt22" userId="9ce3b8b2-035f-4175-b301-998b03a50e38" providerId="ADAL" clId="{D8E03A0D-8A42-4CF5-82BF-586E462557BB}" dt="2024-03-01T10:49:08.183" v="393" actId="478"/>
          <ac:spMkLst>
            <pc:docMk/>
            <pc:sldMk cId="965765845" sldId="581"/>
            <ac:spMk id="724" creationId="{0AE0A797-4028-BD78-FA7F-EE0A47D10E76}"/>
          </ac:spMkLst>
        </pc:spChg>
        <pc:spChg chg="replST">
          <ac:chgData name="bullingerm.tmt22" userId="9ce3b8b2-035f-4175-b301-998b03a50e38" providerId="ADAL" clId="{D8E03A0D-8A42-4CF5-82BF-586E462557BB}" dt="2024-03-04T17:44:56.383" v="2385"/>
          <ac:spMkLst>
            <pc:docMk/>
            <pc:sldMk cId="965765845" sldId="581"/>
            <ac:spMk id="724" creationId="{A9A412A2-14EA-2F25-F737-35E0EBBAF526}"/>
          </ac:spMkLst>
        </pc:spChg>
        <pc:spChg chg="del">
          <ac:chgData name="bullingerm.tmt22" userId="9ce3b8b2-035f-4175-b301-998b03a50e38" providerId="ADAL" clId="{D8E03A0D-8A42-4CF5-82BF-586E462557BB}" dt="2024-03-01T10:49:08.183" v="392" actId="478"/>
          <ac:spMkLst>
            <pc:docMk/>
            <pc:sldMk cId="965765845" sldId="581"/>
            <ac:spMk id="725" creationId="{0A53498A-EA26-9AEB-B0F2-823925EF6585}"/>
          </ac:spMkLst>
        </pc:spChg>
        <pc:spChg chg="replST">
          <ac:chgData name="bullingerm.tmt22" userId="9ce3b8b2-035f-4175-b301-998b03a50e38" providerId="ADAL" clId="{D8E03A0D-8A42-4CF5-82BF-586E462557BB}" dt="2024-03-04T17:44:56.393" v="2388"/>
          <ac:spMkLst>
            <pc:docMk/>
            <pc:sldMk cId="965765845" sldId="581"/>
            <ac:spMk id="725" creationId="{FD287D95-2443-49A4-9A21-6520CAE73C2E}"/>
          </ac:spMkLst>
        </pc:spChg>
        <pc:spChg chg="del">
          <ac:chgData name="bullingerm.tmt22" userId="9ce3b8b2-035f-4175-b301-998b03a50e38" providerId="ADAL" clId="{D8E03A0D-8A42-4CF5-82BF-586E462557BB}" dt="2024-03-01T10:49:08.183" v="384" actId="478"/>
          <ac:spMkLst>
            <pc:docMk/>
            <pc:sldMk cId="965765845" sldId="581"/>
            <ac:spMk id="726" creationId="{948045AC-4C12-883E-7526-47E35B3752CB}"/>
          </ac:spMkLst>
        </pc:spChg>
        <pc:spChg chg="replST">
          <ac:chgData name="bullingerm.tmt22" userId="9ce3b8b2-035f-4175-b301-998b03a50e38" providerId="ADAL" clId="{D8E03A0D-8A42-4CF5-82BF-586E462557BB}" dt="2024-03-04T17:44:56.403" v="2392"/>
          <ac:spMkLst>
            <pc:docMk/>
            <pc:sldMk cId="965765845" sldId="581"/>
            <ac:spMk id="727" creationId="{158E8CEC-3737-463C-9FCA-8AC55AB74606}"/>
          </ac:spMkLst>
        </pc:spChg>
        <pc:spChg chg="del">
          <ac:chgData name="bullingerm.tmt22" userId="9ce3b8b2-035f-4175-b301-998b03a50e38" providerId="ADAL" clId="{D8E03A0D-8A42-4CF5-82BF-586E462557BB}" dt="2024-03-01T10:49:08.183" v="377" actId="478"/>
          <ac:spMkLst>
            <pc:docMk/>
            <pc:sldMk cId="965765845" sldId="581"/>
            <ac:spMk id="727" creationId="{93FCB2A0-48D6-8CCB-017A-90E9A72537D1}"/>
          </ac:spMkLst>
        </pc:spChg>
        <pc:spChg chg="del">
          <ac:chgData name="bullingerm.tmt22" userId="9ce3b8b2-035f-4175-b301-998b03a50e38" providerId="ADAL" clId="{D8E03A0D-8A42-4CF5-82BF-586E462557BB}" dt="2024-03-01T10:49:08.183" v="385" actId="478"/>
          <ac:spMkLst>
            <pc:docMk/>
            <pc:sldMk cId="965765845" sldId="581"/>
            <ac:spMk id="728" creationId="{6885E0BF-A72B-2403-E726-B990F8C46F3D}"/>
          </ac:spMkLst>
        </pc:spChg>
        <pc:spChg chg="replST">
          <ac:chgData name="bullingerm.tmt22" userId="9ce3b8b2-035f-4175-b301-998b03a50e38" providerId="ADAL" clId="{D8E03A0D-8A42-4CF5-82BF-586E462557BB}" dt="2024-03-04T17:44:56.408" v="2395"/>
          <ac:spMkLst>
            <pc:docMk/>
            <pc:sldMk cId="965765845" sldId="581"/>
            <ac:spMk id="728" creationId="{EDF15351-E51F-6213-F2BF-35FA536F328F}"/>
          </ac:spMkLst>
        </pc:spChg>
        <pc:spChg chg="del">
          <ac:chgData name="bullingerm.tmt22" userId="9ce3b8b2-035f-4175-b301-998b03a50e38" providerId="ADAL" clId="{D8E03A0D-8A42-4CF5-82BF-586E462557BB}" dt="2024-03-01T10:49:08.183" v="376" actId="478"/>
          <ac:spMkLst>
            <pc:docMk/>
            <pc:sldMk cId="965765845" sldId="581"/>
            <ac:spMk id="729" creationId="{22CAB0E5-A56F-DE16-F731-14299F37B910}"/>
          </ac:spMkLst>
        </pc:spChg>
        <pc:spChg chg="del">
          <ac:chgData name="bullingerm.tmt22" userId="9ce3b8b2-035f-4175-b301-998b03a50e38" providerId="ADAL" clId="{D8E03A0D-8A42-4CF5-82BF-586E462557BB}" dt="2024-03-01T10:49:08.183" v="375" actId="478"/>
          <ac:spMkLst>
            <pc:docMk/>
            <pc:sldMk cId="965765845" sldId="581"/>
            <ac:spMk id="730" creationId="{1F6B2563-891F-DD5B-A636-5241C3082E46}"/>
          </ac:spMkLst>
        </pc:spChg>
        <pc:spChg chg="del">
          <ac:chgData name="bullingerm.tmt22" userId="9ce3b8b2-035f-4175-b301-998b03a50e38" providerId="ADAL" clId="{D8E03A0D-8A42-4CF5-82BF-586E462557BB}" dt="2024-03-01T10:49:08.183" v="374" actId="478"/>
          <ac:spMkLst>
            <pc:docMk/>
            <pc:sldMk cId="965765845" sldId="581"/>
            <ac:spMk id="731" creationId="{CAFC96F6-BEED-D590-9969-3B6F8812DBB9}"/>
          </ac:spMkLst>
        </pc:spChg>
        <pc:spChg chg="del">
          <ac:chgData name="bullingerm.tmt22" userId="9ce3b8b2-035f-4175-b301-998b03a50e38" providerId="ADAL" clId="{D8E03A0D-8A42-4CF5-82BF-586E462557BB}" dt="2024-03-01T10:49:08.183" v="373" actId="478"/>
          <ac:spMkLst>
            <pc:docMk/>
            <pc:sldMk cId="965765845" sldId="581"/>
            <ac:spMk id="732" creationId="{ACBF7F0F-FC52-76EF-8186-ECDF91077E7D}"/>
          </ac:spMkLst>
        </pc:spChg>
        <pc:spChg chg="del">
          <ac:chgData name="bullingerm.tmt22" userId="9ce3b8b2-035f-4175-b301-998b03a50e38" providerId="ADAL" clId="{D8E03A0D-8A42-4CF5-82BF-586E462557BB}" dt="2024-03-01T10:49:08.183" v="372" actId="478"/>
          <ac:spMkLst>
            <pc:docMk/>
            <pc:sldMk cId="965765845" sldId="581"/>
            <ac:spMk id="733" creationId="{7C7C0875-7172-8E7D-CC77-B7CAE80129CE}"/>
          </ac:spMkLst>
        </pc:spChg>
        <pc:spChg chg="del">
          <ac:chgData name="bullingerm.tmt22" userId="9ce3b8b2-035f-4175-b301-998b03a50e38" providerId="ADAL" clId="{D8E03A0D-8A42-4CF5-82BF-586E462557BB}" dt="2024-03-01T10:49:08.168" v="371" actId="478"/>
          <ac:spMkLst>
            <pc:docMk/>
            <pc:sldMk cId="965765845" sldId="581"/>
            <ac:spMk id="734" creationId="{985A9F23-1736-0D7D-4E6D-50245607057A}"/>
          </ac:spMkLst>
        </pc:spChg>
        <pc:spChg chg="del">
          <ac:chgData name="bullingerm.tmt22" userId="9ce3b8b2-035f-4175-b301-998b03a50e38" providerId="ADAL" clId="{D8E03A0D-8A42-4CF5-82BF-586E462557BB}" dt="2024-03-01T10:49:08.168" v="370" actId="478"/>
          <ac:spMkLst>
            <pc:docMk/>
            <pc:sldMk cId="965765845" sldId="581"/>
            <ac:spMk id="735" creationId="{6A5F1B39-63A0-3242-9BA2-4B9AFF5F100B}"/>
          </ac:spMkLst>
        </pc:spChg>
        <pc:cxnChg chg="del ord replST">
          <ac:chgData name="bullingerm.tmt22" userId="9ce3b8b2-035f-4175-b301-998b03a50e38" providerId="ADAL" clId="{D8E03A0D-8A42-4CF5-82BF-586E462557BB}" dt="2024-03-04T17:44:55.513" v="2005" actId="478"/>
          <ac:cxnSpMkLst>
            <pc:docMk/>
            <pc:sldMk cId="965765845" sldId="581"/>
            <ac:cxnSpMk id="649" creationId="{30254D06-E29D-897A-6CE0-145601E8E51A}"/>
          </ac:cxnSpMkLst>
        </pc:cxnChg>
        <pc:cxnChg chg="del ord replST">
          <ac:chgData name="bullingerm.tmt22" userId="9ce3b8b2-035f-4175-b301-998b03a50e38" providerId="ADAL" clId="{D8E03A0D-8A42-4CF5-82BF-586E462557BB}" dt="2024-03-04T17:44:55.513" v="2006" actId="478"/>
          <ac:cxnSpMkLst>
            <pc:docMk/>
            <pc:sldMk cId="965765845" sldId="581"/>
            <ac:cxnSpMk id="652" creationId="{ED1297C5-FF34-9E22-7C39-77DEFF6B83E0}"/>
          </ac:cxnSpMkLst>
        </pc:cxnChg>
        <pc:cxnChg chg="del ord replST">
          <ac:chgData name="bullingerm.tmt22" userId="9ce3b8b2-035f-4175-b301-998b03a50e38" providerId="ADAL" clId="{D8E03A0D-8A42-4CF5-82BF-586E462557BB}" dt="2024-03-04T17:44:55.513" v="2007" actId="478"/>
          <ac:cxnSpMkLst>
            <pc:docMk/>
            <pc:sldMk cId="965765845" sldId="581"/>
            <ac:cxnSpMk id="655" creationId="{0F77AA0A-C522-1FA9-45C2-1FC3A7AB3246}"/>
          </ac:cxnSpMkLst>
        </pc:cxnChg>
        <pc:cxnChg chg="del ord replST">
          <ac:chgData name="bullingerm.tmt22" userId="9ce3b8b2-035f-4175-b301-998b03a50e38" providerId="ADAL" clId="{D8E03A0D-8A42-4CF5-82BF-586E462557BB}" dt="2024-03-04T17:44:55.519" v="2009" actId="478"/>
          <ac:cxnSpMkLst>
            <pc:docMk/>
            <pc:sldMk cId="965765845" sldId="581"/>
            <ac:cxnSpMk id="662" creationId="{87CB72B1-F995-4619-AF6B-7412647B2480}"/>
          </ac:cxnSpMkLst>
        </pc:cxnChg>
        <pc:cxnChg chg="del ord replST">
          <ac:chgData name="bullingerm.tmt22" userId="9ce3b8b2-035f-4175-b301-998b03a50e38" providerId="ADAL" clId="{D8E03A0D-8A42-4CF5-82BF-586E462557BB}" dt="2024-03-04T17:44:55.519" v="2010" actId="478"/>
          <ac:cxnSpMkLst>
            <pc:docMk/>
            <pc:sldMk cId="965765845" sldId="581"/>
            <ac:cxnSpMk id="665" creationId="{887337AD-CB56-1AD4-88F4-46BFABD110D8}"/>
          </ac:cxnSpMkLst>
        </pc:cxnChg>
        <pc:cxnChg chg="del ord replST">
          <ac:chgData name="bullingerm.tmt22" userId="9ce3b8b2-035f-4175-b301-998b03a50e38" providerId="ADAL" clId="{D8E03A0D-8A42-4CF5-82BF-586E462557BB}" dt="2024-03-04T17:44:55.519" v="2011" actId="478"/>
          <ac:cxnSpMkLst>
            <pc:docMk/>
            <pc:sldMk cId="965765845" sldId="581"/>
            <ac:cxnSpMk id="668" creationId="{926AB150-FDA8-2E75-4BD1-0E9CED2B8743}"/>
          </ac:cxnSpMkLst>
        </pc:cxnChg>
        <pc:cxnChg chg="del ord replST">
          <ac:chgData name="bullingerm.tmt22" userId="9ce3b8b2-035f-4175-b301-998b03a50e38" providerId="ADAL" clId="{D8E03A0D-8A42-4CF5-82BF-586E462557BB}" dt="2024-03-04T17:44:55.519" v="2012" actId="478"/>
          <ac:cxnSpMkLst>
            <pc:docMk/>
            <pc:sldMk cId="965765845" sldId="581"/>
            <ac:cxnSpMk id="669" creationId="{A3AC3BB4-A9B8-B4D9-CACF-B581DAF3B4C9}"/>
          </ac:cxnSpMkLst>
        </pc:cxnChg>
        <pc:cxnChg chg="del">
          <ac:chgData name="bullingerm.tmt22" userId="9ce3b8b2-035f-4175-b301-998b03a50e38" providerId="ADAL" clId="{D8E03A0D-8A42-4CF5-82BF-586E462557BB}" dt="2024-03-01T10:49:08.150" v="355" actId="478"/>
          <ac:cxnSpMkLst>
            <pc:docMk/>
            <pc:sldMk cId="965765845" sldId="581"/>
            <ac:cxnSpMk id="697" creationId="{667B5226-699F-3AAC-F489-105F40903616}"/>
          </ac:cxnSpMkLst>
        </pc:cxnChg>
        <pc:cxnChg chg="del">
          <ac:chgData name="bullingerm.tmt22" userId="9ce3b8b2-035f-4175-b301-998b03a50e38" providerId="ADAL" clId="{D8E03A0D-8A42-4CF5-82BF-586E462557BB}" dt="2024-03-01T10:49:08.150" v="356" actId="478"/>
          <ac:cxnSpMkLst>
            <pc:docMk/>
            <pc:sldMk cId="965765845" sldId="581"/>
            <ac:cxnSpMk id="700" creationId="{E29B988E-1BDF-D9BB-7E25-A672E256FD1F}"/>
          </ac:cxnSpMkLst>
        </pc:cxnChg>
        <pc:cxnChg chg="del">
          <ac:chgData name="bullingerm.tmt22" userId="9ce3b8b2-035f-4175-b301-998b03a50e38" providerId="ADAL" clId="{D8E03A0D-8A42-4CF5-82BF-586E462557BB}" dt="2024-03-01T10:49:08.150" v="357" actId="478"/>
          <ac:cxnSpMkLst>
            <pc:docMk/>
            <pc:sldMk cId="965765845" sldId="581"/>
            <ac:cxnSpMk id="703" creationId="{2AAA2367-8D1B-4E45-BC6D-11B812294437}"/>
          </ac:cxnSpMkLst>
        </pc:cxnChg>
        <pc:cxnChg chg="del">
          <ac:chgData name="bullingerm.tmt22" userId="9ce3b8b2-035f-4175-b301-998b03a50e38" providerId="ADAL" clId="{D8E03A0D-8A42-4CF5-82BF-586E462557BB}" dt="2024-03-01T10:49:08.150" v="359" actId="478"/>
          <ac:cxnSpMkLst>
            <pc:docMk/>
            <pc:sldMk cId="965765845" sldId="581"/>
            <ac:cxnSpMk id="709" creationId="{955AFA7B-214D-C35D-2068-CEF908C83125}"/>
          </ac:cxnSpMkLst>
        </pc:cxnChg>
        <pc:cxnChg chg="del">
          <ac:chgData name="bullingerm.tmt22" userId="9ce3b8b2-035f-4175-b301-998b03a50e38" providerId="ADAL" clId="{D8E03A0D-8A42-4CF5-82BF-586E462557BB}" dt="2024-03-01T10:49:08.150" v="360" actId="478"/>
          <ac:cxnSpMkLst>
            <pc:docMk/>
            <pc:sldMk cId="965765845" sldId="581"/>
            <ac:cxnSpMk id="712" creationId="{0F5D7698-7BF2-4E2F-BD86-D90273EDE7AF}"/>
          </ac:cxnSpMkLst>
        </pc:cxnChg>
        <pc:cxnChg chg="ord replST">
          <ac:chgData name="bullingerm.tmt22" userId="9ce3b8b2-035f-4175-b301-998b03a50e38" providerId="ADAL" clId="{D8E03A0D-8A42-4CF5-82BF-586E462557BB}" dt="2024-03-04T17:44:56.418" v="2399"/>
          <ac:cxnSpMkLst>
            <pc:docMk/>
            <pc:sldMk cId="965765845" sldId="581"/>
            <ac:cxnSpMk id="714" creationId="{6515D566-5913-C722-9146-A82755072FB3}"/>
          </ac:cxnSpMkLst>
        </pc:cxnChg>
        <pc:cxnChg chg="del">
          <ac:chgData name="bullingerm.tmt22" userId="9ce3b8b2-035f-4175-b301-998b03a50e38" providerId="ADAL" clId="{D8E03A0D-8A42-4CF5-82BF-586E462557BB}" dt="2024-03-01T10:49:08.150" v="361" actId="478"/>
          <ac:cxnSpMkLst>
            <pc:docMk/>
            <pc:sldMk cId="965765845" sldId="581"/>
            <ac:cxnSpMk id="715" creationId="{0ECC7187-B06F-78AB-69DA-4A4694149112}"/>
          </ac:cxnSpMkLst>
        </pc:cxnChg>
        <pc:cxnChg chg="del">
          <ac:chgData name="bullingerm.tmt22" userId="9ce3b8b2-035f-4175-b301-998b03a50e38" providerId="ADAL" clId="{D8E03A0D-8A42-4CF5-82BF-586E462557BB}" dt="2024-03-01T10:49:08.166" v="362" actId="478"/>
          <ac:cxnSpMkLst>
            <pc:docMk/>
            <pc:sldMk cId="965765845" sldId="581"/>
            <ac:cxnSpMk id="716" creationId="{D1D94600-DE69-1DBC-854B-AC249B384D54}"/>
          </ac:cxnSpMkLst>
        </pc:cxnChg>
        <pc:cxnChg chg="ord replST">
          <ac:chgData name="bullingerm.tmt22" userId="9ce3b8b2-035f-4175-b301-998b03a50e38" providerId="ADAL" clId="{D8E03A0D-8A42-4CF5-82BF-586E462557BB}" dt="2024-03-04T17:44:56.419" v="2400"/>
          <ac:cxnSpMkLst>
            <pc:docMk/>
            <pc:sldMk cId="965765845" sldId="581"/>
            <ac:cxnSpMk id="717" creationId="{6433B29A-121F-F29F-DBDD-7EE1F56A843F}"/>
          </ac:cxnSpMkLst>
        </pc:cxnChg>
        <pc:cxnChg chg="ord replST">
          <ac:chgData name="bullingerm.tmt22" userId="9ce3b8b2-035f-4175-b301-998b03a50e38" providerId="ADAL" clId="{D8E03A0D-8A42-4CF5-82BF-586E462557BB}" dt="2024-03-04T17:44:56.419" v="2401"/>
          <ac:cxnSpMkLst>
            <pc:docMk/>
            <pc:sldMk cId="965765845" sldId="581"/>
            <ac:cxnSpMk id="720" creationId="{367888FC-61AE-5652-823D-B5ACE2EA11F5}"/>
          </ac:cxnSpMkLst>
        </pc:cxnChg>
        <pc:cxnChg chg="ord replST">
          <ac:chgData name="bullingerm.tmt22" userId="9ce3b8b2-035f-4175-b301-998b03a50e38" providerId="ADAL" clId="{D8E03A0D-8A42-4CF5-82BF-586E462557BB}" dt="2024-03-04T17:44:56.423" v="2403"/>
          <ac:cxnSpMkLst>
            <pc:docMk/>
            <pc:sldMk cId="965765845" sldId="581"/>
            <ac:cxnSpMk id="726" creationId="{48E4FC0F-9437-D0F0-B1B8-9A6C5A6E6C23}"/>
          </ac:cxnSpMkLst>
        </pc:cxnChg>
        <pc:cxnChg chg="ord replST">
          <ac:chgData name="bullingerm.tmt22" userId="9ce3b8b2-035f-4175-b301-998b03a50e38" providerId="ADAL" clId="{D8E03A0D-8A42-4CF5-82BF-586E462557BB}" dt="2024-03-04T17:44:56.423" v="2404"/>
          <ac:cxnSpMkLst>
            <pc:docMk/>
            <pc:sldMk cId="965765845" sldId="581"/>
            <ac:cxnSpMk id="729" creationId="{A2C0F077-48CE-D68C-2ED0-DA2133DD8F88}"/>
          </ac:cxnSpMkLst>
        </pc:cxnChg>
        <pc:cxnChg chg="ord replST">
          <ac:chgData name="bullingerm.tmt22" userId="9ce3b8b2-035f-4175-b301-998b03a50e38" providerId="ADAL" clId="{D8E03A0D-8A42-4CF5-82BF-586E462557BB}" dt="2024-03-04T17:44:56.423" v="2405"/>
          <ac:cxnSpMkLst>
            <pc:docMk/>
            <pc:sldMk cId="965765845" sldId="581"/>
            <ac:cxnSpMk id="730" creationId="{DAC55640-D535-DAE7-15D3-BB20979F4257}"/>
          </ac:cxnSpMkLst>
        </pc:cxnChg>
      </pc:sldChg>
      <pc:sldChg chg="addSp delSp modSp del mod">
        <pc:chgData name="bullingerm.tmt22" userId="9ce3b8b2-035f-4175-b301-998b03a50e38" providerId="ADAL" clId="{D8E03A0D-8A42-4CF5-82BF-586E462557BB}" dt="2024-03-04T17:44:54.611" v="1769" actId="2696"/>
        <pc:sldMkLst>
          <pc:docMk/>
          <pc:sldMk cId="1945724814" sldId="582"/>
        </pc:sldMkLst>
        <pc:spChg chg="del">
          <ac:chgData name="bullingerm.tmt22" userId="9ce3b8b2-035f-4175-b301-998b03a50e38" providerId="ADAL" clId="{D8E03A0D-8A42-4CF5-82BF-586E462557BB}" dt="2024-03-01T10:49:08.233" v="415" actId="478"/>
          <ac:spMkLst>
            <pc:docMk/>
            <pc:sldMk cId="1945724814" sldId="582"/>
            <ac:spMk id="640" creationId="{2D1D9E06-723A-8433-9703-5B2387BE0865}"/>
          </ac:spMkLst>
        </pc:spChg>
        <pc:spChg chg="del">
          <ac:chgData name="bullingerm.tmt22" userId="9ce3b8b2-035f-4175-b301-998b03a50e38" providerId="ADAL" clId="{D8E03A0D-8A42-4CF5-82BF-586E462557BB}" dt="2024-03-01T10:49:08.233" v="414" actId="478"/>
          <ac:spMkLst>
            <pc:docMk/>
            <pc:sldMk cId="1945724814" sldId="582"/>
            <ac:spMk id="641" creationId="{0C95B9D9-3A0E-98ED-5AF9-92E64DB141B6}"/>
          </ac:spMkLst>
        </pc:spChg>
        <pc:spChg chg="del">
          <ac:chgData name="bullingerm.tmt22" userId="9ce3b8b2-035f-4175-b301-998b03a50e38" providerId="ADAL" clId="{D8E03A0D-8A42-4CF5-82BF-586E462557BB}" dt="2024-03-01T10:49:08.233" v="413" actId="478"/>
          <ac:spMkLst>
            <pc:docMk/>
            <pc:sldMk cId="1945724814" sldId="582"/>
            <ac:spMk id="642" creationId="{A532715B-8862-424F-0508-5586301FDCC6}"/>
          </ac:spMkLst>
        </pc:spChg>
        <pc:spChg chg="del">
          <ac:chgData name="bullingerm.tmt22" userId="9ce3b8b2-035f-4175-b301-998b03a50e38" providerId="ADAL" clId="{D8E03A0D-8A42-4CF5-82BF-586E462557BB}" dt="2024-03-01T10:49:08.233" v="412" actId="478"/>
          <ac:spMkLst>
            <pc:docMk/>
            <pc:sldMk cId="1945724814" sldId="582"/>
            <ac:spMk id="643" creationId="{7A745DB6-9C06-27A7-9424-EA5E665174E9}"/>
          </ac:spMkLst>
        </pc:spChg>
        <pc:spChg chg="del">
          <ac:chgData name="bullingerm.tmt22" userId="9ce3b8b2-035f-4175-b301-998b03a50e38" providerId="ADAL" clId="{D8E03A0D-8A42-4CF5-82BF-586E462557BB}" dt="2024-03-01T10:49:08.233" v="411" actId="478"/>
          <ac:spMkLst>
            <pc:docMk/>
            <pc:sldMk cId="1945724814" sldId="582"/>
            <ac:spMk id="644" creationId="{BC5446F2-5312-63BB-D4BA-4863B3D5CCDB}"/>
          </ac:spMkLst>
        </pc:spChg>
        <pc:spChg chg="del">
          <ac:chgData name="bullingerm.tmt22" userId="9ce3b8b2-035f-4175-b301-998b03a50e38" providerId="ADAL" clId="{D8E03A0D-8A42-4CF5-82BF-586E462557BB}" dt="2024-03-01T10:49:08.233" v="410" actId="478"/>
          <ac:spMkLst>
            <pc:docMk/>
            <pc:sldMk cId="1945724814" sldId="582"/>
            <ac:spMk id="645" creationId="{C1BF4C22-7D23-8020-19CB-E5DAEC4AE473}"/>
          </ac:spMkLst>
        </pc:spChg>
        <pc:spChg chg="del">
          <ac:chgData name="bullingerm.tmt22" userId="9ce3b8b2-035f-4175-b301-998b03a50e38" providerId="ADAL" clId="{D8E03A0D-8A42-4CF5-82BF-586E462557BB}" dt="2024-03-01T10:49:08.233" v="409" actId="478"/>
          <ac:spMkLst>
            <pc:docMk/>
            <pc:sldMk cId="1945724814" sldId="582"/>
            <ac:spMk id="646" creationId="{83461365-CF41-7C09-95A5-283A0853D76D}"/>
          </ac:spMkLst>
        </pc:spChg>
        <pc:spChg chg="replST">
          <ac:chgData name="bullingerm.tmt22" userId="9ce3b8b2-035f-4175-b301-998b03a50e38" providerId="ADAL" clId="{D8E03A0D-8A42-4CF5-82BF-586E462557BB}" dt="2024-03-01T10:49:09.156" v="846"/>
          <ac:spMkLst>
            <pc:docMk/>
            <pc:sldMk cId="1945724814" sldId="582"/>
            <ac:spMk id="647" creationId="{28D9B5FB-B8B0-3A9E-5A28-24D2F1E63E23}"/>
          </ac:spMkLst>
        </pc:spChg>
        <pc:spChg chg="replST">
          <ac:chgData name="bullingerm.tmt22" userId="9ce3b8b2-035f-4175-b301-998b03a50e38" providerId="ADAL" clId="{D8E03A0D-8A42-4CF5-82BF-586E462557BB}" dt="2024-03-01T10:49:09.156" v="849"/>
          <ac:spMkLst>
            <pc:docMk/>
            <pc:sldMk cId="1945724814" sldId="582"/>
            <ac:spMk id="648" creationId="{8DE6395B-4962-AA17-A5A9-6C2333892BEA}"/>
          </ac:spMkLst>
        </pc:spChg>
        <pc:spChg chg="replST">
          <ac:chgData name="bullingerm.tmt22" userId="9ce3b8b2-035f-4175-b301-998b03a50e38" providerId="ADAL" clId="{D8E03A0D-8A42-4CF5-82BF-586E462557BB}" dt="2024-03-01T10:49:09.156" v="853"/>
          <ac:spMkLst>
            <pc:docMk/>
            <pc:sldMk cId="1945724814" sldId="582"/>
            <ac:spMk id="650" creationId="{DBC27C3D-2273-99DA-0309-0741D7CEBD22}"/>
          </ac:spMkLst>
        </pc:spChg>
        <pc:spChg chg="replST">
          <ac:chgData name="bullingerm.tmt22" userId="9ce3b8b2-035f-4175-b301-998b03a50e38" providerId="ADAL" clId="{D8E03A0D-8A42-4CF5-82BF-586E462557BB}" dt="2024-03-01T10:49:09.172" v="856"/>
          <ac:spMkLst>
            <pc:docMk/>
            <pc:sldMk cId="1945724814" sldId="582"/>
            <ac:spMk id="651" creationId="{8395AFF3-F5F3-BD58-D7B7-ED0B82A924CD}"/>
          </ac:spMkLst>
        </pc:spChg>
        <pc:spChg chg="replST">
          <ac:chgData name="bullingerm.tmt22" userId="9ce3b8b2-035f-4175-b301-998b03a50e38" providerId="ADAL" clId="{D8E03A0D-8A42-4CF5-82BF-586E462557BB}" dt="2024-03-01T10:49:09.172" v="860"/>
          <ac:spMkLst>
            <pc:docMk/>
            <pc:sldMk cId="1945724814" sldId="582"/>
            <ac:spMk id="653" creationId="{BDFD7288-2D0A-1C57-FF0A-AD8482765080}"/>
          </ac:spMkLst>
        </pc:spChg>
        <pc:spChg chg="replST">
          <ac:chgData name="bullingerm.tmt22" userId="9ce3b8b2-035f-4175-b301-998b03a50e38" providerId="ADAL" clId="{D8E03A0D-8A42-4CF5-82BF-586E462557BB}" dt="2024-03-01T10:49:09.190" v="863"/>
          <ac:spMkLst>
            <pc:docMk/>
            <pc:sldMk cId="1945724814" sldId="582"/>
            <ac:spMk id="654" creationId="{1F7BF252-61F0-910B-EB51-FC086D58FED1}"/>
          </ac:spMkLst>
        </pc:spChg>
        <pc:spChg chg="replST">
          <ac:chgData name="bullingerm.tmt22" userId="9ce3b8b2-035f-4175-b301-998b03a50e38" providerId="ADAL" clId="{D8E03A0D-8A42-4CF5-82BF-586E462557BB}" dt="2024-03-01T10:49:09.192" v="867"/>
          <ac:spMkLst>
            <pc:docMk/>
            <pc:sldMk cId="1945724814" sldId="582"/>
            <ac:spMk id="656" creationId="{33494EE9-48BC-3A35-6227-10ACAE965478}"/>
          </ac:spMkLst>
        </pc:spChg>
        <pc:spChg chg="del">
          <ac:chgData name="bullingerm.tmt22" userId="9ce3b8b2-035f-4175-b301-998b03a50e38" providerId="ADAL" clId="{D8E03A0D-8A42-4CF5-82BF-586E462557BB}" dt="2024-03-01T10:49:08.201" v="400" actId="478"/>
          <ac:spMkLst>
            <pc:docMk/>
            <pc:sldMk cId="1945724814" sldId="582"/>
            <ac:spMk id="657" creationId="{CCDA67B8-D9A1-4D33-F6ED-B6452DC86F82}"/>
          </ac:spMkLst>
        </pc:spChg>
        <pc:spChg chg="replST">
          <ac:chgData name="bullingerm.tmt22" userId="9ce3b8b2-035f-4175-b301-998b03a50e38" providerId="ADAL" clId="{D8E03A0D-8A42-4CF5-82BF-586E462557BB}" dt="2024-03-01T10:49:09.192" v="870"/>
          <ac:spMkLst>
            <pc:docMk/>
            <pc:sldMk cId="1945724814" sldId="582"/>
            <ac:spMk id="658" creationId="{E47F7812-DCB8-37AB-3A19-AB26A5C08E78}"/>
          </ac:spMkLst>
        </pc:spChg>
        <pc:spChg chg="replST">
          <ac:chgData name="bullingerm.tmt22" userId="9ce3b8b2-035f-4175-b301-998b03a50e38" providerId="ADAL" clId="{D8E03A0D-8A42-4CF5-82BF-586E462557BB}" dt="2024-03-01T10:49:09.208" v="874"/>
          <ac:spMkLst>
            <pc:docMk/>
            <pc:sldMk cId="1945724814" sldId="582"/>
            <ac:spMk id="660" creationId="{3EA1F471-2541-7C12-891D-7C9105D80398}"/>
          </ac:spMkLst>
        </pc:spChg>
        <pc:spChg chg="replST">
          <ac:chgData name="bullingerm.tmt22" userId="9ce3b8b2-035f-4175-b301-998b03a50e38" providerId="ADAL" clId="{D8E03A0D-8A42-4CF5-82BF-586E462557BB}" dt="2024-03-01T10:49:09.208" v="877"/>
          <ac:spMkLst>
            <pc:docMk/>
            <pc:sldMk cId="1945724814" sldId="582"/>
            <ac:spMk id="661" creationId="{4C7473DB-BE6E-312B-331B-B90A15696E3B}"/>
          </ac:spMkLst>
        </pc:spChg>
        <pc:spChg chg="ord replST">
          <ac:chgData name="bullingerm.tmt22" userId="9ce3b8b2-035f-4175-b301-998b03a50e38" providerId="ADAL" clId="{D8E03A0D-8A42-4CF5-82BF-586E462557BB}" dt="2024-03-01T10:49:09.258" v="899"/>
          <ac:spMkLst>
            <pc:docMk/>
            <pc:sldMk cId="1945724814" sldId="582"/>
            <ac:spMk id="662" creationId="{2E8BEC62-0F58-D470-C74F-0934CC6D53E7}"/>
          </ac:spMkLst>
        </pc:spChg>
        <pc:spChg chg="replST">
          <ac:chgData name="bullingerm.tmt22" userId="9ce3b8b2-035f-4175-b301-998b03a50e38" providerId="ADAL" clId="{D8E03A0D-8A42-4CF5-82BF-586E462557BB}" dt="2024-03-01T10:49:09.208" v="881"/>
          <ac:spMkLst>
            <pc:docMk/>
            <pc:sldMk cId="1945724814" sldId="582"/>
            <ac:spMk id="663" creationId="{7A8F4554-74EE-A758-02EA-93384FFB390B}"/>
          </ac:spMkLst>
        </pc:spChg>
        <pc:spChg chg="replST">
          <ac:chgData name="bullingerm.tmt22" userId="9ce3b8b2-035f-4175-b301-998b03a50e38" providerId="ADAL" clId="{D8E03A0D-8A42-4CF5-82BF-586E462557BB}" dt="2024-03-01T10:49:09.224" v="884"/>
          <ac:spMkLst>
            <pc:docMk/>
            <pc:sldMk cId="1945724814" sldId="582"/>
            <ac:spMk id="664" creationId="{DD1777F2-996B-EA40-61F7-454CCBF37703}"/>
          </ac:spMkLst>
        </pc:spChg>
        <pc:spChg chg="replST">
          <ac:chgData name="bullingerm.tmt22" userId="9ce3b8b2-035f-4175-b301-998b03a50e38" providerId="ADAL" clId="{D8E03A0D-8A42-4CF5-82BF-586E462557BB}" dt="2024-03-01T10:49:09.224" v="888"/>
          <ac:spMkLst>
            <pc:docMk/>
            <pc:sldMk cId="1945724814" sldId="582"/>
            <ac:spMk id="666" creationId="{2F1CB669-AB19-0BE8-A917-6326FD9C75A5}"/>
          </ac:spMkLst>
        </pc:spChg>
        <pc:spChg chg="replST">
          <ac:chgData name="bullingerm.tmt22" userId="9ce3b8b2-035f-4175-b301-998b03a50e38" providerId="ADAL" clId="{D8E03A0D-8A42-4CF5-82BF-586E462557BB}" dt="2024-03-01T10:49:09.242" v="891"/>
          <ac:spMkLst>
            <pc:docMk/>
            <pc:sldMk cId="1945724814" sldId="582"/>
            <ac:spMk id="667" creationId="{84C79C6C-FFC9-A5FA-6A99-7B9F4204E06A}"/>
          </ac:spMkLst>
        </pc:spChg>
        <pc:spChg chg="add mod">
          <ac:chgData name="bullingerm.tmt22" userId="9ce3b8b2-035f-4175-b301-998b03a50e38" providerId="ADAL" clId="{D8E03A0D-8A42-4CF5-82BF-586E462557BB}" dt="2024-03-01T10:49:08.201" v="400" actId="478"/>
          <ac:spMkLst>
            <pc:docMk/>
            <pc:sldMk cId="1945724814" sldId="582"/>
            <ac:spMk id="682" creationId="{E80FE686-757D-2D31-C104-9171A1FCBDFC}"/>
          </ac:spMkLst>
        </pc:spChg>
        <pc:spChg chg="mod ord replST">
          <ac:chgData name="bullingerm.tmt22" userId="9ce3b8b2-035f-4175-b301-998b03a50e38" providerId="ADAL" clId="{D8E03A0D-8A42-4CF5-82BF-586E462557BB}" dt="2024-03-01T10:49:09.242" v="894"/>
          <ac:spMkLst>
            <pc:docMk/>
            <pc:sldMk cId="1945724814" sldId="582"/>
            <ac:spMk id="683" creationId="{FDFFFF10-A037-8E3C-BD59-3E8319F26F02}"/>
          </ac:spMkLst>
        </pc:spChg>
        <pc:spChg chg="del">
          <ac:chgData name="bullingerm.tmt22" userId="9ce3b8b2-035f-4175-b301-998b03a50e38" providerId="ADAL" clId="{D8E03A0D-8A42-4CF5-82BF-586E462557BB}" dt="2024-03-01T10:49:08.249" v="437" actId="478"/>
          <ac:spMkLst>
            <pc:docMk/>
            <pc:sldMk cId="1945724814" sldId="582"/>
            <ac:spMk id="684" creationId="{D8F11215-555E-044F-18F5-E41DD5D4944C}"/>
          </ac:spMkLst>
        </pc:spChg>
        <pc:spChg chg="del">
          <ac:chgData name="bullingerm.tmt22" userId="9ce3b8b2-035f-4175-b301-998b03a50e38" providerId="ADAL" clId="{D8E03A0D-8A42-4CF5-82BF-586E462557BB}" dt="2024-03-01T10:49:08.233" v="436" actId="478"/>
          <ac:spMkLst>
            <pc:docMk/>
            <pc:sldMk cId="1945724814" sldId="582"/>
            <ac:spMk id="685" creationId="{D75723C8-76E1-5669-5C50-018E278A2D9C}"/>
          </ac:spMkLst>
        </pc:spChg>
        <pc:spChg chg="del">
          <ac:chgData name="bullingerm.tmt22" userId="9ce3b8b2-035f-4175-b301-998b03a50e38" providerId="ADAL" clId="{D8E03A0D-8A42-4CF5-82BF-586E462557BB}" dt="2024-03-01T10:49:08.233" v="435" actId="478"/>
          <ac:spMkLst>
            <pc:docMk/>
            <pc:sldMk cId="1945724814" sldId="582"/>
            <ac:spMk id="686" creationId="{92EE81DD-0BD0-A60D-9F91-9D3152E38125}"/>
          </ac:spMkLst>
        </pc:spChg>
        <pc:spChg chg="del">
          <ac:chgData name="bullingerm.tmt22" userId="9ce3b8b2-035f-4175-b301-998b03a50e38" providerId="ADAL" clId="{D8E03A0D-8A42-4CF5-82BF-586E462557BB}" dt="2024-03-01T10:49:08.233" v="434" actId="478"/>
          <ac:spMkLst>
            <pc:docMk/>
            <pc:sldMk cId="1945724814" sldId="582"/>
            <ac:spMk id="687" creationId="{3B208AF1-A847-B9B8-5E07-AF9C61A3695B}"/>
          </ac:spMkLst>
        </pc:spChg>
        <pc:spChg chg="del">
          <ac:chgData name="bullingerm.tmt22" userId="9ce3b8b2-035f-4175-b301-998b03a50e38" providerId="ADAL" clId="{D8E03A0D-8A42-4CF5-82BF-586E462557BB}" dt="2024-03-01T10:49:08.233" v="433" actId="478"/>
          <ac:spMkLst>
            <pc:docMk/>
            <pc:sldMk cId="1945724814" sldId="582"/>
            <ac:spMk id="688" creationId="{AA572DB7-9086-ADDB-F16E-7C51975E4F71}"/>
          </ac:spMkLst>
        </pc:spChg>
        <pc:spChg chg="del">
          <ac:chgData name="bullingerm.tmt22" userId="9ce3b8b2-035f-4175-b301-998b03a50e38" providerId="ADAL" clId="{D8E03A0D-8A42-4CF5-82BF-586E462557BB}" dt="2024-03-01T10:49:08.233" v="432" actId="478"/>
          <ac:spMkLst>
            <pc:docMk/>
            <pc:sldMk cId="1945724814" sldId="582"/>
            <ac:spMk id="689" creationId="{D3961409-9E8F-A2A1-E167-D6774E45768E}"/>
          </ac:spMkLst>
        </pc:spChg>
        <pc:spChg chg="del">
          <ac:chgData name="bullingerm.tmt22" userId="9ce3b8b2-035f-4175-b301-998b03a50e38" providerId="ADAL" clId="{D8E03A0D-8A42-4CF5-82BF-586E462557BB}" dt="2024-03-01T10:49:08.233" v="429" actId="478"/>
          <ac:spMkLst>
            <pc:docMk/>
            <pc:sldMk cId="1945724814" sldId="582"/>
            <ac:spMk id="690" creationId="{2E496161-994B-5EEC-B3DC-3D4C58F7652F}"/>
          </ac:spMkLst>
        </pc:spChg>
        <pc:spChg chg="del">
          <ac:chgData name="bullingerm.tmt22" userId="9ce3b8b2-035f-4175-b301-998b03a50e38" providerId="ADAL" clId="{D8E03A0D-8A42-4CF5-82BF-586E462557BB}" dt="2024-03-01T10:49:08.233" v="428" actId="478"/>
          <ac:spMkLst>
            <pc:docMk/>
            <pc:sldMk cId="1945724814" sldId="582"/>
            <ac:spMk id="691" creationId="{D31107C5-8C91-27D3-EB45-83CFE01B2497}"/>
          </ac:spMkLst>
        </pc:spChg>
        <pc:spChg chg="del">
          <ac:chgData name="bullingerm.tmt22" userId="9ce3b8b2-035f-4175-b301-998b03a50e38" providerId="ADAL" clId="{D8E03A0D-8A42-4CF5-82BF-586E462557BB}" dt="2024-03-01T10:49:08.233" v="427" actId="478"/>
          <ac:spMkLst>
            <pc:docMk/>
            <pc:sldMk cId="1945724814" sldId="582"/>
            <ac:spMk id="692" creationId="{12571E3B-441B-D29E-95A8-8060CB5EEAF1}"/>
          </ac:spMkLst>
        </pc:spChg>
        <pc:spChg chg="del">
          <ac:chgData name="bullingerm.tmt22" userId="9ce3b8b2-035f-4175-b301-998b03a50e38" providerId="ADAL" clId="{D8E03A0D-8A42-4CF5-82BF-586E462557BB}" dt="2024-03-01T10:49:08.233" v="426" actId="478"/>
          <ac:spMkLst>
            <pc:docMk/>
            <pc:sldMk cId="1945724814" sldId="582"/>
            <ac:spMk id="693" creationId="{1FF49E76-19A8-AD61-E507-E4260C4B07E3}"/>
          </ac:spMkLst>
        </pc:spChg>
        <pc:spChg chg="del">
          <ac:chgData name="bullingerm.tmt22" userId="9ce3b8b2-035f-4175-b301-998b03a50e38" providerId="ADAL" clId="{D8E03A0D-8A42-4CF5-82BF-586E462557BB}" dt="2024-03-01T10:49:08.233" v="425" actId="478"/>
          <ac:spMkLst>
            <pc:docMk/>
            <pc:sldMk cId="1945724814" sldId="582"/>
            <ac:spMk id="694" creationId="{69F72E0C-09D7-B5F7-471C-B9BD42B991C5}"/>
          </ac:spMkLst>
        </pc:spChg>
        <pc:spChg chg="del">
          <ac:chgData name="bullingerm.tmt22" userId="9ce3b8b2-035f-4175-b301-998b03a50e38" providerId="ADAL" clId="{D8E03A0D-8A42-4CF5-82BF-586E462557BB}" dt="2024-03-01T10:49:08.217" v="405" actId="478"/>
          <ac:spMkLst>
            <pc:docMk/>
            <pc:sldMk cId="1945724814" sldId="582"/>
            <ac:spMk id="709" creationId="{4CF74EC9-94F9-4ED5-1228-34610D3D0CB4}"/>
          </ac:spMkLst>
        </pc:spChg>
        <pc:spChg chg="del">
          <ac:chgData name="bullingerm.tmt22" userId="9ce3b8b2-035f-4175-b301-998b03a50e38" providerId="ADAL" clId="{D8E03A0D-8A42-4CF5-82BF-586E462557BB}" dt="2024-03-01T10:49:08.233" v="424" actId="478"/>
          <ac:spMkLst>
            <pc:docMk/>
            <pc:sldMk cId="1945724814" sldId="582"/>
            <ac:spMk id="717" creationId="{F8ECF007-817F-F54D-3449-BACA48D68B2D}"/>
          </ac:spMkLst>
        </pc:spChg>
        <pc:spChg chg="del">
          <ac:chgData name="bullingerm.tmt22" userId="9ce3b8b2-035f-4175-b301-998b03a50e38" providerId="ADAL" clId="{D8E03A0D-8A42-4CF5-82BF-586E462557BB}" dt="2024-03-01T10:49:08.253" v="445" actId="478"/>
          <ac:spMkLst>
            <pc:docMk/>
            <pc:sldMk cId="1945724814" sldId="582"/>
            <ac:spMk id="718" creationId="{DE022B54-B105-3DF2-5E7F-3236D88C9CCE}"/>
          </ac:spMkLst>
        </pc:spChg>
        <pc:spChg chg="del">
          <ac:chgData name="bullingerm.tmt22" userId="9ce3b8b2-035f-4175-b301-998b03a50e38" providerId="ADAL" clId="{D8E03A0D-8A42-4CF5-82BF-586E462557BB}" dt="2024-03-01T10:49:08.253" v="444" actId="478"/>
          <ac:spMkLst>
            <pc:docMk/>
            <pc:sldMk cId="1945724814" sldId="582"/>
            <ac:spMk id="719" creationId="{C2A24AAF-B810-7FBB-B570-BC943177D80B}"/>
          </ac:spMkLst>
        </pc:spChg>
        <pc:spChg chg="del">
          <ac:chgData name="bullingerm.tmt22" userId="9ce3b8b2-035f-4175-b301-998b03a50e38" providerId="ADAL" clId="{D8E03A0D-8A42-4CF5-82BF-586E462557BB}" dt="2024-03-01T10:49:08.253" v="443" actId="478"/>
          <ac:spMkLst>
            <pc:docMk/>
            <pc:sldMk cId="1945724814" sldId="582"/>
            <ac:spMk id="720" creationId="{70449E77-92A8-1AA3-E587-C175F56FD172}"/>
          </ac:spMkLst>
        </pc:spChg>
        <pc:spChg chg="del">
          <ac:chgData name="bullingerm.tmt22" userId="9ce3b8b2-035f-4175-b301-998b03a50e38" providerId="ADAL" clId="{D8E03A0D-8A42-4CF5-82BF-586E462557BB}" dt="2024-03-01T10:49:08.253" v="442" actId="478"/>
          <ac:spMkLst>
            <pc:docMk/>
            <pc:sldMk cId="1945724814" sldId="582"/>
            <ac:spMk id="721" creationId="{D33675A6-6D64-9AF0-5BC0-CBE1756E4F95}"/>
          </ac:spMkLst>
        </pc:spChg>
        <pc:spChg chg="del">
          <ac:chgData name="bullingerm.tmt22" userId="9ce3b8b2-035f-4175-b301-998b03a50e38" providerId="ADAL" clId="{D8E03A0D-8A42-4CF5-82BF-586E462557BB}" dt="2024-03-01T10:49:08.250" v="441" actId="478"/>
          <ac:spMkLst>
            <pc:docMk/>
            <pc:sldMk cId="1945724814" sldId="582"/>
            <ac:spMk id="722" creationId="{A9E82287-05EF-6071-4819-1278D45EA386}"/>
          </ac:spMkLst>
        </pc:spChg>
        <pc:spChg chg="del">
          <ac:chgData name="bullingerm.tmt22" userId="9ce3b8b2-035f-4175-b301-998b03a50e38" providerId="ADAL" clId="{D8E03A0D-8A42-4CF5-82BF-586E462557BB}" dt="2024-03-01T10:49:08.250" v="440" actId="478"/>
          <ac:spMkLst>
            <pc:docMk/>
            <pc:sldMk cId="1945724814" sldId="582"/>
            <ac:spMk id="723" creationId="{BCA56A07-19CF-D8FE-7DAD-E78CEAE10A29}"/>
          </ac:spMkLst>
        </pc:spChg>
        <pc:spChg chg="del">
          <ac:chgData name="bullingerm.tmt22" userId="9ce3b8b2-035f-4175-b301-998b03a50e38" providerId="ADAL" clId="{D8E03A0D-8A42-4CF5-82BF-586E462557BB}" dt="2024-03-01T10:49:08.250" v="439" actId="478"/>
          <ac:spMkLst>
            <pc:docMk/>
            <pc:sldMk cId="1945724814" sldId="582"/>
            <ac:spMk id="724" creationId="{09DE5B55-C3C4-2B36-DC08-903CA05168E4}"/>
          </ac:spMkLst>
        </pc:spChg>
        <pc:spChg chg="del">
          <ac:chgData name="bullingerm.tmt22" userId="9ce3b8b2-035f-4175-b301-998b03a50e38" providerId="ADAL" clId="{D8E03A0D-8A42-4CF5-82BF-586E462557BB}" dt="2024-03-01T10:49:08.250" v="438" actId="478"/>
          <ac:spMkLst>
            <pc:docMk/>
            <pc:sldMk cId="1945724814" sldId="582"/>
            <ac:spMk id="725" creationId="{D7275E2C-071D-2C4E-70D6-03FBFB711876}"/>
          </ac:spMkLst>
        </pc:spChg>
        <pc:spChg chg="del">
          <ac:chgData name="bullingerm.tmt22" userId="9ce3b8b2-035f-4175-b301-998b03a50e38" providerId="ADAL" clId="{D8E03A0D-8A42-4CF5-82BF-586E462557BB}" dt="2024-03-01T10:49:08.233" v="430" actId="478"/>
          <ac:spMkLst>
            <pc:docMk/>
            <pc:sldMk cId="1945724814" sldId="582"/>
            <ac:spMk id="726" creationId="{191286C3-A10A-898A-DF8D-250DF5BFFC38}"/>
          </ac:spMkLst>
        </pc:spChg>
        <pc:spChg chg="del">
          <ac:chgData name="bullingerm.tmt22" userId="9ce3b8b2-035f-4175-b301-998b03a50e38" providerId="ADAL" clId="{D8E03A0D-8A42-4CF5-82BF-586E462557BB}" dt="2024-03-01T10:49:08.233" v="423" actId="478"/>
          <ac:spMkLst>
            <pc:docMk/>
            <pc:sldMk cId="1945724814" sldId="582"/>
            <ac:spMk id="727" creationId="{3BFC1D12-FA86-8E52-92AA-44AB98930EDF}"/>
          </ac:spMkLst>
        </pc:spChg>
        <pc:spChg chg="del">
          <ac:chgData name="bullingerm.tmt22" userId="9ce3b8b2-035f-4175-b301-998b03a50e38" providerId="ADAL" clId="{D8E03A0D-8A42-4CF5-82BF-586E462557BB}" dt="2024-03-01T10:49:08.233" v="431" actId="478"/>
          <ac:spMkLst>
            <pc:docMk/>
            <pc:sldMk cId="1945724814" sldId="582"/>
            <ac:spMk id="728" creationId="{71F60BC5-13F3-60DE-5C90-6CEC514F2111}"/>
          </ac:spMkLst>
        </pc:spChg>
        <pc:spChg chg="del">
          <ac:chgData name="bullingerm.tmt22" userId="9ce3b8b2-035f-4175-b301-998b03a50e38" providerId="ADAL" clId="{D8E03A0D-8A42-4CF5-82BF-586E462557BB}" dt="2024-03-01T10:49:08.233" v="422" actId="478"/>
          <ac:spMkLst>
            <pc:docMk/>
            <pc:sldMk cId="1945724814" sldId="582"/>
            <ac:spMk id="729" creationId="{4D4933AC-D8E3-DFAF-3597-805C10C2D49C}"/>
          </ac:spMkLst>
        </pc:spChg>
        <pc:spChg chg="del">
          <ac:chgData name="bullingerm.tmt22" userId="9ce3b8b2-035f-4175-b301-998b03a50e38" providerId="ADAL" clId="{D8E03A0D-8A42-4CF5-82BF-586E462557BB}" dt="2024-03-01T10:49:08.233" v="421" actId="478"/>
          <ac:spMkLst>
            <pc:docMk/>
            <pc:sldMk cId="1945724814" sldId="582"/>
            <ac:spMk id="730" creationId="{3CFB14A1-9D96-95FA-5F38-D18EF7CD9F3A}"/>
          </ac:spMkLst>
        </pc:spChg>
        <pc:spChg chg="del">
          <ac:chgData name="bullingerm.tmt22" userId="9ce3b8b2-035f-4175-b301-998b03a50e38" providerId="ADAL" clId="{D8E03A0D-8A42-4CF5-82BF-586E462557BB}" dt="2024-03-01T10:49:08.233" v="420" actId="478"/>
          <ac:spMkLst>
            <pc:docMk/>
            <pc:sldMk cId="1945724814" sldId="582"/>
            <ac:spMk id="731" creationId="{CF7CBAEF-AC30-74A2-A514-353FCE971AE7}"/>
          </ac:spMkLst>
        </pc:spChg>
        <pc:spChg chg="del">
          <ac:chgData name="bullingerm.tmt22" userId="9ce3b8b2-035f-4175-b301-998b03a50e38" providerId="ADAL" clId="{D8E03A0D-8A42-4CF5-82BF-586E462557BB}" dt="2024-03-01T10:49:08.233" v="419" actId="478"/>
          <ac:spMkLst>
            <pc:docMk/>
            <pc:sldMk cId="1945724814" sldId="582"/>
            <ac:spMk id="732" creationId="{8DAC9D28-F1FF-B610-ABCF-B2856E930321}"/>
          </ac:spMkLst>
        </pc:spChg>
        <pc:spChg chg="del">
          <ac:chgData name="bullingerm.tmt22" userId="9ce3b8b2-035f-4175-b301-998b03a50e38" providerId="ADAL" clId="{D8E03A0D-8A42-4CF5-82BF-586E462557BB}" dt="2024-03-01T10:49:08.233" v="418" actId="478"/>
          <ac:spMkLst>
            <pc:docMk/>
            <pc:sldMk cId="1945724814" sldId="582"/>
            <ac:spMk id="733" creationId="{953807E2-1A55-0C5E-004C-0956FD321B30}"/>
          </ac:spMkLst>
        </pc:spChg>
        <pc:spChg chg="del">
          <ac:chgData name="bullingerm.tmt22" userId="9ce3b8b2-035f-4175-b301-998b03a50e38" providerId="ADAL" clId="{D8E03A0D-8A42-4CF5-82BF-586E462557BB}" dt="2024-03-01T10:49:08.233" v="417" actId="478"/>
          <ac:spMkLst>
            <pc:docMk/>
            <pc:sldMk cId="1945724814" sldId="582"/>
            <ac:spMk id="734" creationId="{C4D1C2AC-C85C-1B42-648F-EC5A8956A933}"/>
          </ac:spMkLst>
        </pc:spChg>
        <pc:spChg chg="del">
          <ac:chgData name="bullingerm.tmt22" userId="9ce3b8b2-035f-4175-b301-998b03a50e38" providerId="ADAL" clId="{D8E03A0D-8A42-4CF5-82BF-586E462557BB}" dt="2024-03-01T10:49:08.233" v="416" actId="478"/>
          <ac:spMkLst>
            <pc:docMk/>
            <pc:sldMk cId="1945724814" sldId="582"/>
            <ac:spMk id="735" creationId="{757231F6-FC8D-8B58-13D3-62295F1C54FC}"/>
          </ac:spMkLst>
        </pc:spChg>
        <pc:cxnChg chg="ord replST">
          <ac:chgData name="bullingerm.tmt22" userId="9ce3b8b2-035f-4175-b301-998b03a50e38" providerId="ADAL" clId="{D8E03A0D-8A42-4CF5-82BF-586E462557BB}" dt="2024-03-01T10:49:09.242" v="895"/>
          <ac:cxnSpMkLst>
            <pc:docMk/>
            <pc:sldMk cId="1945724814" sldId="582"/>
            <ac:cxnSpMk id="649" creationId="{DBB1317C-F579-2FC3-28D4-0497EBC50294}"/>
          </ac:cxnSpMkLst>
        </pc:cxnChg>
        <pc:cxnChg chg="ord replST">
          <ac:chgData name="bullingerm.tmt22" userId="9ce3b8b2-035f-4175-b301-998b03a50e38" providerId="ADAL" clId="{D8E03A0D-8A42-4CF5-82BF-586E462557BB}" dt="2024-03-01T10:49:09.242" v="896"/>
          <ac:cxnSpMkLst>
            <pc:docMk/>
            <pc:sldMk cId="1945724814" sldId="582"/>
            <ac:cxnSpMk id="652" creationId="{09D82359-52FE-9A37-2E50-AEF95D0D3A9D}"/>
          </ac:cxnSpMkLst>
        </pc:cxnChg>
        <pc:cxnChg chg="ord replST">
          <ac:chgData name="bullingerm.tmt22" userId="9ce3b8b2-035f-4175-b301-998b03a50e38" providerId="ADAL" clId="{D8E03A0D-8A42-4CF5-82BF-586E462557BB}" dt="2024-03-01T10:49:09.258" v="897"/>
          <ac:cxnSpMkLst>
            <pc:docMk/>
            <pc:sldMk cId="1945724814" sldId="582"/>
            <ac:cxnSpMk id="655" creationId="{531D0EB0-1028-46AF-0806-0E600321237B}"/>
          </ac:cxnSpMkLst>
        </pc:cxnChg>
        <pc:cxnChg chg="ord replST">
          <ac:chgData name="bullingerm.tmt22" userId="9ce3b8b2-035f-4175-b301-998b03a50e38" providerId="ADAL" clId="{D8E03A0D-8A42-4CF5-82BF-586E462557BB}" dt="2024-03-01T10:49:09.258" v="898"/>
          <ac:cxnSpMkLst>
            <pc:docMk/>
            <pc:sldMk cId="1945724814" sldId="582"/>
            <ac:cxnSpMk id="659" creationId="{158D6F6E-594E-C3CA-1D91-27DF238A429B}"/>
          </ac:cxnSpMkLst>
        </pc:cxnChg>
        <pc:cxnChg chg="ord replST">
          <ac:chgData name="bullingerm.tmt22" userId="9ce3b8b2-035f-4175-b301-998b03a50e38" providerId="ADAL" clId="{D8E03A0D-8A42-4CF5-82BF-586E462557BB}" dt="2024-03-01T10:49:09.258" v="900"/>
          <ac:cxnSpMkLst>
            <pc:docMk/>
            <pc:sldMk cId="1945724814" sldId="582"/>
            <ac:cxnSpMk id="665" creationId="{ED21A582-FF94-F054-A991-3A1994030778}"/>
          </ac:cxnSpMkLst>
        </pc:cxnChg>
        <pc:cxnChg chg="ord replST">
          <ac:chgData name="bullingerm.tmt22" userId="9ce3b8b2-035f-4175-b301-998b03a50e38" providerId="ADAL" clId="{D8E03A0D-8A42-4CF5-82BF-586E462557BB}" dt="2024-03-01T10:49:09.258" v="901"/>
          <ac:cxnSpMkLst>
            <pc:docMk/>
            <pc:sldMk cId="1945724814" sldId="582"/>
            <ac:cxnSpMk id="668" creationId="{058EFA05-1EEB-6D4A-B428-927E2741E393}"/>
          </ac:cxnSpMkLst>
        </pc:cxnChg>
        <pc:cxnChg chg="ord replST">
          <ac:chgData name="bullingerm.tmt22" userId="9ce3b8b2-035f-4175-b301-998b03a50e38" providerId="ADAL" clId="{D8E03A0D-8A42-4CF5-82BF-586E462557BB}" dt="2024-03-01T10:49:09.258" v="902"/>
          <ac:cxnSpMkLst>
            <pc:docMk/>
            <pc:sldMk cId="1945724814" sldId="582"/>
            <ac:cxnSpMk id="669" creationId="{AEE1F000-19F5-2A0F-AC7B-81F9A4CE1906}"/>
          </ac:cxnSpMkLst>
        </pc:cxnChg>
        <pc:cxnChg chg="del">
          <ac:chgData name="bullingerm.tmt22" userId="9ce3b8b2-035f-4175-b301-998b03a50e38" providerId="ADAL" clId="{D8E03A0D-8A42-4CF5-82BF-586E462557BB}" dt="2024-03-01T10:49:08.201" v="401" actId="478"/>
          <ac:cxnSpMkLst>
            <pc:docMk/>
            <pc:sldMk cId="1945724814" sldId="582"/>
            <ac:cxnSpMk id="697" creationId="{902619BC-47F5-FA74-0355-0774E9A52AC3}"/>
          </ac:cxnSpMkLst>
        </pc:cxnChg>
        <pc:cxnChg chg="del">
          <ac:chgData name="bullingerm.tmt22" userId="9ce3b8b2-035f-4175-b301-998b03a50e38" providerId="ADAL" clId="{D8E03A0D-8A42-4CF5-82BF-586E462557BB}" dt="2024-03-01T10:49:08.201" v="402" actId="478"/>
          <ac:cxnSpMkLst>
            <pc:docMk/>
            <pc:sldMk cId="1945724814" sldId="582"/>
            <ac:cxnSpMk id="700" creationId="{7164B6A0-06DC-4A7B-A4C4-96EE8570D755}"/>
          </ac:cxnSpMkLst>
        </pc:cxnChg>
        <pc:cxnChg chg="del">
          <ac:chgData name="bullingerm.tmt22" userId="9ce3b8b2-035f-4175-b301-998b03a50e38" providerId="ADAL" clId="{D8E03A0D-8A42-4CF5-82BF-586E462557BB}" dt="2024-03-01T10:49:08.201" v="403" actId="478"/>
          <ac:cxnSpMkLst>
            <pc:docMk/>
            <pc:sldMk cId="1945724814" sldId="582"/>
            <ac:cxnSpMk id="703" creationId="{B9D5D21B-7106-6BC2-D124-B05355F7A4BA}"/>
          </ac:cxnSpMkLst>
        </pc:cxnChg>
        <pc:cxnChg chg="del">
          <ac:chgData name="bullingerm.tmt22" userId="9ce3b8b2-035f-4175-b301-998b03a50e38" providerId="ADAL" clId="{D8E03A0D-8A42-4CF5-82BF-586E462557BB}" dt="2024-03-01T10:49:08.217" v="404" actId="478"/>
          <ac:cxnSpMkLst>
            <pc:docMk/>
            <pc:sldMk cId="1945724814" sldId="582"/>
            <ac:cxnSpMk id="706" creationId="{CF828122-056B-F85B-DD3E-C5F4D6B2B478}"/>
          </ac:cxnSpMkLst>
        </pc:cxnChg>
        <pc:cxnChg chg="del">
          <ac:chgData name="bullingerm.tmt22" userId="9ce3b8b2-035f-4175-b301-998b03a50e38" providerId="ADAL" clId="{D8E03A0D-8A42-4CF5-82BF-586E462557BB}" dt="2024-03-01T10:49:08.217" v="406" actId="478"/>
          <ac:cxnSpMkLst>
            <pc:docMk/>
            <pc:sldMk cId="1945724814" sldId="582"/>
            <ac:cxnSpMk id="712" creationId="{DF70ADF1-CF4E-854D-A750-6CF1684D46A9}"/>
          </ac:cxnSpMkLst>
        </pc:cxnChg>
        <pc:cxnChg chg="del">
          <ac:chgData name="bullingerm.tmt22" userId="9ce3b8b2-035f-4175-b301-998b03a50e38" providerId="ADAL" clId="{D8E03A0D-8A42-4CF5-82BF-586E462557BB}" dt="2024-03-01T10:49:08.217" v="407" actId="478"/>
          <ac:cxnSpMkLst>
            <pc:docMk/>
            <pc:sldMk cId="1945724814" sldId="582"/>
            <ac:cxnSpMk id="715" creationId="{C9B51C5A-4EE6-508F-4304-81B9CD311551}"/>
          </ac:cxnSpMkLst>
        </pc:cxnChg>
        <pc:cxnChg chg="del">
          <ac:chgData name="bullingerm.tmt22" userId="9ce3b8b2-035f-4175-b301-998b03a50e38" providerId="ADAL" clId="{D8E03A0D-8A42-4CF5-82BF-586E462557BB}" dt="2024-03-01T10:49:08.217" v="408" actId="478"/>
          <ac:cxnSpMkLst>
            <pc:docMk/>
            <pc:sldMk cId="1945724814" sldId="582"/>
            <ac:cxnSpMk id="716" creationId="{72F8BE49-7DA2-7F7C-2049-721E257615AF}"/>
          </ac:cxnSpMkLst>
        </pc:cxnChg>
      </pc:sldChg>
      <pc:sldChg chg="addSp delSp modSp mod">
        <pc:chgData name="bullingerm.tmt22" userId="9ce3b8b2-035f-4175-b301-998b03a50e38" providerId="ADAL" clId="{D8E03A0D-8A42-4CF5-82BF-586E462557BB}" dt="2024-03-04T17:44:56.533" v="2458"/>
        <pc:sldMkLst>
          <pc:docMk/>
          <pc:sldMk cId="2423218208" sldId="583"/>
        </pc:sldMkLst>
        <pc:spChg chg="del">
          <ac:chgData name="bullingerm.tmt22" userId="9ce3b8b2-035f-4175-b301-998b03a50e38" providerId="ADAL" clId="{D8E03A0D-8A42-4CF5-82BF-586E462557BB}" dt="2024-03-01T10:49:08.291" v="461" actId="478"/>
          <ac:spMkLst>
            <pc:docMk/>
            <pc:sldMk cId="2423218208" sldId="583"/>
            <ac:spMk id="640" creationId="{A46FE93F-3C70-34D4-4801-1927AB785998}"/>
          </ac:spMkLst>
        </pc:spChg>
        <pc:spChg chg="del">
          <ac:chgData name="bullingerm.tmt22" userId="9ce3b8b2-035f-4175-b301-998b03a50e38" providerId="ADAL" clId="{D8E03A0D-8A42-4CF5-82BF-586E462557BB}" dt="2024-03-04T17:44:55.613" v="2088" actId="478"/>
          <ac:spMkLst>
            <pc:docMk/>
            <pc:sldMk cId="2423218208" sldId="583"/>
            <ac:spMk id="640" creationId="{CE1C5A55-C2AF-9EFD-1967-C2F9B9A09C12}"/>
          </ac:spMkLst>
        </pc:spChg>
        <pc:spChg chg="del">
          <ac:chgData name="bullingerm.tmt22" userId="9ce3b8b2-035f-4175-b301-998b03a50e38" providerId="ADAL" clId="{D8E03A0D-8A42-4CF5-82BF-586E462557BB}" dt="2024-03-04T17:44:55.609" v="2080" actId="478"/>
          <ac:spMkLst>
            <pc:docMk/>
            <pc:sldMk cId="2423218208" sldId="583"/>
            <ac:spMk id="641" creationId="{59A25646-8B65-99DC-04D8-88E9E9B4C5B7}"/>
          </ac:spMkLst>
        </pc:spChg>
        <pc:spChg chg="del">
          <ac:chgData name="bullingerm.tmt22" userId="9ce3b8b2-035f-4175-b301-998b03a50e38" providerId="ADAL" clId="{D8E03A0D-8A42-4CF5-82BF-586E462557BB}" dt="2024-03-01T10:49:08.291" v="460" actId="478"/>
          <ac:spMkLst>
            <pc:docMk/>
            <pc:sldMk cId="2423218208" sldId="583"/>
            <ac:spMk id="641" creationId="{5A167612-C769-D3E9-0E8A-0A8BA1F3292A}"/>
          </ac:spMkLst>
        </pc:spChg>
        <pc:spChg chg="del">
          <ac:chgData name="bullingerm.tmt22" userId="9ce3b8b2-035f-4175-b301-998b03a50e38" providerId="ADAL" clId="{D8E03A0D-8A42-4CF5-82BF-586E462557BB}" dt="2024-03-04T17:44:55.602" v="2073" actId="478"/>
          <ac:spMkLst>
            <pc:docMk/>
            <pc:sldMk cId="2423218208" sldId="583"/>
            <ac:spMk id="642" creationId="{4A5CDF7E-B0C6-8962-5563-22E26FE0F355}"/>
          </ac:spMkLst>
        </pc:spChg>
        <pc:spChg chg="del">
          <ac:chgData name="bullingerm.tmt22" userId="9ce3b8b2-035f-4175-b301-998b03a50e38" providerId="ADAL" clId="{D8E03A0D-8A42-4CF5-82BF-586E462557BB}" dt="2024-03-01T10:49:08.283" v="459" actId="478"/>
          <ac:spMkLst>
            <pc:docMk/>
            <pc:sldMk cId="2423218208" sldId="583"/>
            <ac:spMk id="642" creationId="{92790B34-730E-53A0-69CB-B06A4324EB5D}"/>
          </ac:spMkLst>
        </pc:spChg>
        <pc:spChg chg="del">
          <ac:chgData name="bullingerm.tmt22" userId="9ce3b8b2-035f-4175-b301-998b03a50e38" providerId="ADAL" clId="{D8E03A0D-8A42-4CF5-82BF-586E462557BB}" dt="2024-03-01T10:49:08.283" v="458" actId="478"/>
          <ac:spMkLst>
            <pc:docMk/>
            <pc:sldMk cId="2423218208" sldId="583"/>
            <ac:spMk id="643" creationId="{74F818C7-F741-D08A-AF3C-E37F1C74E76E}"/>
          </ac:spMkLst>
        </pc:spChg>
        <pc:spChg chg="del">
          <ac:chgData name="bullingerm.tmt22" userId="9ce3b8b2-035f-4175-b301-998b03a50e38" providerId="ADAL" clId="{D8E03A0D-8A42-4CF5-82BF-586E462557BB}" dt="2024-03-04T17:44:55.609" v="2081" actId="478"/>
          <ac:spMkLst>
            <pc:docMk/>
            <pc:sldMk cId="2423218208" sldId="583"/>
            <ac:spMk id="643" creationId="{EA1A507A-9C55-23CD-FAAE-D48C52AA5787}"/>
          </ac:spMkLst>
        </pc:spChg>
        <pc:spChg chg="del">
          <ac:chgData name="bullingerm.tmt22" userId="9ce3b8b2-035f-4175-b301-998b03a50e38" providerId="ADAL" clId="{D8E03A0D-8A42-4CF5-82BF-586E462557BB}" dt="2024-03-01T10:49:08.283" v="457" actId="478"/>
          <ac:spMkLst>
            <pc:docMk/>
            <pc:sldMk cId="2423218208" sldId="583"/>
            <ac:spMk id="644" creationId="{4D658D84-5D4A-4E80-0CEC-0CB6AE4D1D6F}"/>
          </ac:spMkLst>
        </pc:spChg>
        <pc:spChg chg="del">
          <ac:chgData name="bullingerm.tmt22" userId="9ce3b8b2-035f-4175-b301-998b03a50e38" providerId="ADAL" clId="{D8E03A0D-8A42-4CF5-82BF-586E462557BB}" dt="2024-03-04T17:44:55.602" v="2072" actId="478"/>
          <ac:spMkLst>
            <pc:docMk/>
            <pc:sldMk cId="2423218208" sldId="583"/>
            <ac:spMk id="644" creationId="{4F93FDE9-0257-1FEA-3F31-31A8ABFEAC35}"/>
          </ac:spMkLst>
        </pc:spChg>
        <pc:spChg chg="del">
          <ac:chgData name="bullingerm.tmt22" userId="9ce3b8b2-035f-4175-b301-998b03a50e38" providerId="ADAL" clId="{D8E03A0D-8A42-4CF5-82BF-586E462557BB}" dt="2024-03-01T10:49:08.283" v="456" actId="478"/>
          <ac:spMkLst>
            <pc:docMk/>
            <pc:sldMk cId="2423218208" sldId="583"/>
            <ac:spMk id="645" creationId="{852D4A1B-F286-3CEB-4E88-CCE43F6919F5}"/>
          </ac:spMkLst>
        </pc:spChg>
        <pc:spChg chg="del">
          <ac:chgData name="bullingerm.tmt22" userId="9ce3b8b2-035f-4175-b301-998b03a50e38" providerId="ADAL" clId="{D8E03A0D-8A42-4CF5-82BF-586E462557BB}" dt="2024-03-04T17:44:55.602" v="2071" actId="478"/>
          <ac:spMkLst>
            <pc:docMk/>
            <pc:sldMk cId="2423218208" sldId="583"/>
            <ac:spMk id="645" creationId="{D1698EB5-52EF-9FA1-1FA6-5A0E81D89B1B}"/>
          </ac:spMkLst>
        </pc:spChg>
        <pc:spChg chg="del">
          <ac:chgData name="bullingerm.tmt22" userId="9ce3b8b2-035f-4175-b301-998b03a50e38" providerId="ADAL" clId="{D8E03A0D-8A42-4CF5-82BF-586E462557BB}" dt="2024-03-01T10:49:08.283" v="455" actId="478"/>
          <ac:spMkLst>
            <pc:docMk/>
            <pc:sldMk cId="2423218208" sldId="583"/>
            <ac:spMk id="646" creationId="{12F694E7-B56F-3288-E031-243538DC4827}"/>
          </ac:spMkLst>
        </pc:spChg>
        <pc:spChg chg="del">
          <ac:chgData name="bullingerm.tmt22" userId="9ce3b8b2-035f-4175-b301-998b03a50e38" providerId="ADAL" clId="{D8E03A0D-8A42-4CF5-82BF-586E462557BB}" dt="2024-03-04T17:44:55.602" v="2070" actId="478"/>
          <ac:spMkLst>
            <pc:docMk/>
            <pc:sldMk cId="2423218208" sldId="583"/>
            <ac:spMk id="646" creationId="{9ADABFCB-E195-48B5-D927-AAD9C9D5547A}"/>
          </ac:spMkLst>
        </pc:spChg>
        <pc:spChg chg="replST">
          <ac:chgData name="bullingerm.tmt22" userId="9ce3b8b2-035f-4175-b301-998b03a50e38" providerId="ADAL" clId="{D8E03A0D-8A42-4CF5-82BF-586E462557BB}" dt="2024-03-01T10:49:09.275" v="907"/>
          <ac:spMkLst>
            <pc:docMk/>
            <pc:sldMk cId="2423218208" sldId="583"/>
            <ac:spMk id="647" creationId="{FBA3F180-1942-7883-DCD6-2BDCDFCDD266}"/>
          </ac:spMkLst>
        </pc:spChg>
        <pc:spChg chg="replST">
          <ac:chgData name="bullingerm.tmt22" userId="9ce3b8b2-035f-4175-b301-998b03a50e38" providerId="ADAL" clId="{D8E03A0D-8A42-4CF5-82BF-586E462557BB}" dt="2024-03-01T10:49:09.275" v="910"/>
          <ac:spMkLst>
            <pc:docMk/>
            <pc:sldMk cId="2423218208" sldId="583"/>
            <ac:spMk id="648" creationId="{6B120D44-566A-9E65-E4DB-FE438679112A}"/>
          </ac:spMkLst>
        </pc:spChg>
        <pc:spChg chg="replST">
          <ac:chgData name="bullingerm.tmt22" userId="9ce3b8b2-035f-4175-b301-998b03a50e38" providerId="ADAL" clId="{D8E03A0D-8A42-4CF5-82BF-586E462557BB}" dt="2024-03-01T10:49:09.275" v="914"/>
          <ac:spMkLst>
            <pc:docMk/>
            <pc:sldMk cId="2423218208" sldId="583"/>
            <ac:spMk id="650" creationId="{5C41C7BA-CA0E-DF56-1991-CFAA9362BC63}"/>
          </ac:spMkLst>
        </pc:spChg>
        <pc:spChg chg="replST">
          <ac:chgData name="bullingerm.tmt22" userId="9ce3b8b2-035f-4175-b301-998b03a50e38" providerId="ADAL" clId="{D8E03A0D-8A42-4CF5-82BF-586E462557BB}" dt="2024-03-01T10:49:09.292" v="917"/>
          <ac:spMkLst>
            <pc:docMk/>
            <pc:sldMk cId="2423218208" sldId="583"/>
            <ac:spMk id="651" creationId="{29BBF5E6-37EF-032A-DF03-7041D9E6677A}"/>
          </ac:spMkLst>
        </pc:spChg>
        <pc:spChg chg="replST">
          <ac:chgData name="bullingerm.tmt22" userId="9ce3b8b2-035f-4175-b301-998b03a50e38" providerId="ADAL" clId="{D8E03A0D-8A42-4CF5-82BF-586E462557BB}" dt="2024-03-01T10:49:09.292" v="921"/>
          <ac:spMkLst>
            <pc:docMk/>
            <pc:sldMk cId="2423218208" sldId="583"/>
            <ac:spMk id="653" creationId="{59C24FA4-68FD-914B-7E0C-2BAEB979DEAE}"/>
          </ac:spMkLst>
        </pc:spChg>
        <pc:spChg chg="replST">
          <ac:chgData name="bullingerm.tmt22" userId="9ce3b8b2-035f-4175-b301-998b03a50e38" providerId="ADAL" clId="{D8E03A0D-8A42-4CF5-82BF-586E462557BB}" dt="2024-03-01T10:49:09.292" v="924"/>
          <ac:spMkLst>
            <pc:docMk/>
            <pc:sldMk cId="2423218208" sldId="583"/>
            <ac:spMk id="654" creationId="{39EA0BFC-53AE-587C-3060-C692E6CD7440}"/>
          </ac:spMkLst>
        </pc:spChg>
        <pc:spChg chg="del">
          <ac:chgData name="bullingerm.tmt22" userId="9ce3b8b2-035f-4175-b301-998b03a50e38" providerId="ADAL" clId="{D8E03A0D-8A42-4CF5-82BF-586E462557BB}" dt="2024-03-01T10:49:08.263" v="446" actId="478"/>
          <ac:spMkLst>
            <pc:docMk/>
            <pc:sldMk cId="2423218208" sldId="583"/>
            <ac:spMk id="656" creationId="{D17B326C-160E-27A5-DCB5-794EBF5BB173}"/>
          </ac:spMkLst>
        </pc:spChg>
        <pc:spChg chg="del">
          <ac:chgData name="bullingerm.tmt22" userId="9ce3b8b2-035f-4175-b301-998b03a50e38" providerId="ADAL" clId="{D8E03A0D-8A42-4CF5-82BF-586E462557BB}" dt="2024-03-04T17:44:55.598" v="2069" actId="478"/>
          <ac:spMkLst>
            <pc:docMk/>
            <pc:sldMk cId="2423218208" sldId="583"/>
            <ac:spMk id="656" creationId="{DBD00070-6E59-0242-A144-92211C6E1299}"/>
          </ac:spMkLst>
        </pc:spChg>
        <pc:spChg chg="replST">
          <ac:chgData name="bullingerm.tmt22" userId="9ce3b8b2-035f-4175-b301-998b03a50e38" providerId="ADAL" clId="{D8E03A0D-8A42-4CF5-82BF-586E462557BB}" dt="2024-03-01T10:49:09.325" v="928"/>
          <ac:spMkLst>
            <pc:docMk/>
            <pc:sldMk cId="2423218208" sldId="583"/>
            <ac:spMk id="657" creationId="{5B221EAF-87B1-0DED-A40B-A81187447515}"/>
          </ac:spMkLst>
        </pc:spChg>
        <pc:spChg chg="replST">
          <ac:chgData name="bullingerm.tmt22" userId="9ce3b8b2-035f-4175-b301-998b03a50e38" providerId="ADAL" clId="{D8E03A0D-8A42-4CF5-82BF-586E462557BB}" dt="2024-03-01T10:49:09.325" v="931"/>
          <ac:spMkLst>
            <pc:docMk/>
            <pc:sldMk cId="2423218208" sldId="583"/>
            <ac:spMk id="658" creationId="{5FC9FE5F-0EFC-F162-8788-5684BB7AB19E}"/>
          </ac:spMkLst>
        </pc:spChg>
        <pc:spChg chg="replST">
          <ac:chgData name="bullingerm.tmt22" userId="9ce3b8b2-035f-4175-b301-998b03a50e38" providerId="ADAL" clId="{D8E03A0D-8A42-4CF5-82BF-586E462557BB}" dt="2024-03-01T10:49:09.325" v="935"/>
          <ac:spMkLst>
            <pc:docMk/>
            <pc:sldMk cId="2423218208" sldId="583"/>
            <ac:spMk id="660" creationId="{36D9FF07-314C-3749-EFE5-00EBB849BABF}"/>
          </ac:spMkLst>
        </pc:spChg>
        <pc:spChg chg="replST">
          <ac:chgData name="bullingerm.tmt22" userId="9ce3b8b2-035f-4175-b301-998b03a50e38" providerId="ADAL" clId="{D8E03A0D-8A42-4CF5-82BF-586E462557BB}" dt="2024-03-01T10:49:09.342" v="938"/>
          <ac:spMkLst>
            <pc:docMk/>
            <pc:sldMk cId="2423218208" sldId="583"/>
            <ac:spMk id="661" creationId="{07BE8022-8871-A217-D305-22C97C26D2EC}"/>
          </ac:spMkLst>
        </pc:spChg>
        <pc:spChg chg="replST">
          <ac:chgData name="bullingerm.tmt22" userId="9ce3b8b2-035f-4175-b301-998b03a50e38" providerId="ADAL" clId="{D8E03A0D-8A42-4CF5-82BF-586E462557BB}" dt="2024-03-01T10:49:09.342" v="942"/>
          <ac:spMkLst>
            <pc:docMk/>
            <pc:sldMk cId="2423218208" sldId="583"/>
            <ac:spMk id="663" creationId="{038409AD-F965-4AB2-D2A3-792726C2F461}"/>
          </ac:spMkLst>
        </pc:spChg>
        <pc:spChg chg="replST">
          <ac:chgData name="bullingerm.tmt22" userId="9ce3b8b2-035f-4175-b301-998b03a50e38" providerId="ADAL" clId="{D8E03A0D-8A42-4CF5-82BF-586E462557BB}" dt="2024-03-01T10:49:09.359" v="945"/>
          <ac:spMkLst>
            <pc:docMk/>
            <pc:sldMk cId="2423218208" sldId="583"/>
            <ac:spMk id="664" creationId="{9345E198-7D19-9EE3-3EDF-73C8B9077B13}"/>
          </ac:spMkLst>
        </pc:spChg>
        <pc:spChg chg="del ord replST">
          <ac:chgData name="bullingerm.tmt22" userId="9ce3b8b2-035f-4175-b301-998b03a50e38" providerId="ADAL" clId="{D8E03A0D-8A42-4CF5-82BF-586E462557BB}" dt="2024-03-04T17:44:55.578" v="2056" actId="478"/>
          <ac:spMkLst>
            <pc:docMk/>
            <pc:sldMk cId="2423218208" sldId="583"/>
            <ac:spMk id="665" creationId="{297EE7F2-4F99-8359-9002-DDB3A5B4F489}"/>
          </ac:spMkLst>
        </pc:spChg>
        <pc:spChg chg="replST">
          <ac:chgData name="bullingerm.tmt22" userId="9ce3b8b2-035f-4175-b301-998b03a50e38" providerId="ADAL" clId="{D8E03A0D-8A42-4CF5-82BF-586E462557BB}" dt="2024-03-01T10:49:09.362" v="949"/>
          <ac:spMkLst>
            <pc:docMk/>
            <pc:sldMk cId="2423218208" sldId="583"/>
            <ac:spMk id="666" creationId="{327572C3-A34E-842A-2741-6171BB1D1E3B}"/>
          </ac:spMkLst>
        </pc:spChg>
        <pc:spChg chg="replST">
          <ac:chgData name="bullingerm.tmt22" userId="9ce3b8b2-035f-4175-b301-998b03a50e38" providerId="ADAL" clId="{D8E03A0D-8A42-4CF5-82BF-586E462557BB}" dt="2024-03-01T10:49:09.362" v="952"/>
          <ac:spMkLst>
            <pc:docMk/>
            <pc:sldMk cId="2423218208" sldId="583"/>
            <ac:spMk id="667" creationId="{A691EE93-A561-ADF9-7786-EF3FE9C6CFDA}"/>
          </ac:spMkLst>
        </pc:spChg>
        <pc:spChg chg="del">
          <ac:chgData name="bullingerm.tmt22" userId="9ce3b8b2-035f-4175-b301-998b03a50e38" providerId="ADAL" clId="{D8E03A0D-8A42-4CF5-82BF-586E462557BB}" dt="2024-03-04T17:44:55.598" v="2068" actId="478"/>
          <ac:spMkLst>
            <pc:docMk/>
            <pc:sldMk cId="2423218208" sldId="583"/>
            <ac:spMk id="670" creationId="{975DCF57-2B95-B509-C7CB-D719BB037D2C}"/>
          </ac:spMkLst>
        </pc:spChg>
        <pc:spChg chg="del">
          <ac:chgData name="bullingerm.tmt22" userId="9ce3b8b2-035f-4175-b301-998b03a50e38" providerId="ADAL" clId="{D8E03A0D-8A42-4CF5-82BF-586E462557BB}" dt="2024-03-04T17:44:55.598" v="2067" actId="478"/>
          <ac:spMkLst>
            <pc:docMk/>
            <pc:sldMk cId="2423218208" sldId="583"/>
            <ac:spMk id="671" creationId="{11EB3A94-1414-0B10-A8E5-708807BF7350}"/>
          </ac:spMkLst>
        </pc:spChg>
        <pc:spChg chg="add mod">
          <ac:chgData name="bullingerm.tmt22" userId="9ce3b8b2-035f-4175-b301-998b03a50e38" providerId="ADAL" clId="{D8E03A0D-8A42-4CF5-82BF-586E462557BB}" dt="2024-03-01T10:49:08.263" v="446" actId="478"/>
          <ac:spMkLst>
            <pc:docMk/>
            <pc:sldMk cId="2423218208" sldId="583"/>
            <ac:spMk id="682" creationId="{CD3815AC-5EBE-6FCB-2DBF-C04BD5D25A92}"/>
          </ac:spMkLst>
        </pc:spChg>
        <pc:spChg chg="add mod">
          <ac:chgData name="bullingerm.tmt22" userId="9ce3b8b2-035f-4175-b301-998b03a50e38" providerId="ADAL" clId="{D8E03A0D-8A42-4CF5-82BF-586E462557BB}" dt="2024-03-04T17:44:55.568" v="2050" actId="478"/>
          <ac:spMkLst>
            <pc:docMk/>
            <pc:sldMk cId="2423218208" sldId="583"/>
            <ac:spMk id="682" creationId="{DB1E9AD3-891A-8AAD-FE67-621FD7654D96}"/>
          </ac:spMkLst>
        </pc:spChg>
        <pc:spChg chg="del mod ord replST">
          <ac:chgData name="bullingerm.tmt22" userId="9ce3b8b2-035f-4175-b301-998b03a50e38" providerId="ADAL" clId="{D8E03A0D-8A42-4CF5-82BF-586E462557BB}" dt="2024-03-04T17:44:55.568" v="2050" actId="478"/>
          <ac:spMkLst>
            <pc:docMk/>
            <pc:sldMk cId="2423218208" sldId="583"/>
            <ac:spMk id="683" creationId="{7D965B50-2602-DA04-1315-2B1BFCD92CBD}"/>
          </ac:spMkLst>
        </pc:spChg>
        <pc:spChg chg="del">
          <ac:chgData name="bullingerm.tmt22" userId="9ce3b8b2-035f-4175-b301-998b03a50e38" providerId="ADAL" clId="{D8E03A0D-8A42-4CF5-82BF-586E462557BB}" dt="2024-03-01T10:49:08.303" v="483" actId="478"/>
          <ac:spMkLst>
            <pc:docMk/>
            <pc:sldMk cId="2423218208" sldId="583"/>
            <ac:spMk id="684" creationId="{C58E493A-5910-85D7-7631-ACB155A30991}"/>
          </ac:spMkLst>
        </pc:spChg>
        <pc:spChg chg="mod ord replST">
          <ac:chgData name="bullingerm.tmt22" userId="9ce3b8b2-035f-4175-b301-998b03a50e38" providerId="ADAL" clId="{D8E03A0D-8A42-4CF5-82BF-586E462557BB}" dt="2024-03-04T17:44:56.523" v="2451"/>
          <ac:spMkLst>
            <pc:docMk/>
            <pc:sldMk cId="2423218208" sldId="583"/>
            <ac:spMk id="684" creationId="{C7037AEA-3D19-7E46-3421-60F205BDBFBD}"/>
          </ac:spMkLst>
        </pc:spChg>
        <pc:spChg chg="del">
          <ac:chgData name="bullingerm.tmt22" userId="9ce3b8b2-035f-4175-b301-998b03a50e38" providerId="ADAL" clId="{D8E03A0D-8A42-4CF5-82BF-586E462557BB}" dt="2024-03-01T10:49:08.303" v="482" actId="478"/>
          <ac:spMkLst>
            <pc:docMk/>
            <pc:sldMk cId="2423218208" sldId="583"/>
            <ac:spMk id="685" creationId="{A002229E-F7EA-6F93-74B8-348A2B264528}"/>
          </ac:spMkLst>
        </pc:spChg>
        <pc:spChg chg="del">
          <ac:chgData name="bullingerm.tmt22" userId="9ce3b8b2-035f-4175-b301-998b03a50e38" providerId="ADAL" clId="{D8E03A0D-8A42-4CF5-82BF-586E462557BB}" dt="2024-03-04T17:44:55.613" v="2087" actId="478"/>
          <ac:spMkLst>
            <pc:docMk/>
            <pc:sldMk cId="2423218208" sldId="583"/>
            <ac:spMk id="685" creationId="{D41F5EDB-56A2-BBE1-9B7D-18FAB3FEB029}"/>
          </ac:spMkLst>
        </pc:spChg>
        <pc:spChg chg="del">
          <ac:chgData name="bullingerm.tmt22" userId="9ce3b8b2-035f-4175-b301-998b03a50e38" providerId="ADAL" clId="{D8E03A0D-8A42-4CF5-82BF-586E462557BB}" dt="2024-03-04T17:44:55.613" v="2086" actId="478"/>
          <ac:spMkLst>
            <pc:docMk/>
            <pc:sldMk cId="2423218208" sldId="583"/>
            <ac:spMk id="686" creationId="{14C3BAE0-CCF9-6EF9-5F67-01B94F4C0DF1}"/>
          </ac:spMkLst>
        </pc:spChg>
        <pc:spChg chg="del">
          <ac:chgData name="bullingerm.tmt22" userId="9ce3b8b2-035f-4175-b301-998b03a50e38" providerId="ADAL" clId="{D8E03A0D-8A42-4CF5-82BF-586E462557BB}" dt="2024-03-01T10:49:08.303" v="481" actId="478"/>
          <ac:spMkLst>
            <pc:docMk/>
            <pc:sldMk cId="2423218208" sldId="583"/>
            <ac:spMk id="686" creationId="{600091CA-6F18-2E26-3B3B-D7423236DE6C}"/>
          </ac:spMkLst>
        </pc:spChg>
        <pc:spChg chg="del">
          <ac:chgData name="bullingerm.tmt22" userId="9ce3b8b2-035f-4175-b301-998b03a50e38" providerId="ADAL" clId="{D8E03A0D-8A42-4CF5-82BF-586E462557BB}" dt="2024-03-01T10:49:08.303" v="480" actId="478"/>
          <ac:spMkLst>
            <pc:docMk/>
            <pc:sldMk cId="2423218208" sldId="583"/>
            <ac:spMk id="687" creationId="{B1DFC096-AF71-44CB-A894-6C5A0257169E}"/>
          </ac:spMkLst>
        </pc:spChg>
        <pc:spChg chg="del">
          <ac:chgData name="bullingerm.tmt22" userId="9ce3b8b2-035f-4175-b301-998b03a50e38" providerId="ADAL" clId="{D8E03A0D-8A42-4CF5-82BF-586E462557BB}" dt="2024-03-04T17:44:55.609" v="2085" actId="478"/>
          <ac:spMkLst>
            <pc:docMk/>
            <pc:sldMk cId="2423218208" sldId="583"/>
            <ac:spMk id="687" creationId="{E2773FBE-9684-F111-3F40-15B2FEB45E9F}"/>
          </ac:spMkLst>
        </pc:spChg>
        <pc:spChg chg="del">
          <ac:chgData name="bullingerm.tmt22" userId="9ce3b8b2-035f-4175-b301-998b03a50e38" providerId="ADAL" clId="{D8E03A0D-8A42-4CF5-82BF-586E462557BB}" dt="2024-03-04T17:44:55.609" v="2084" actId="478"/>
          <ac:spMkLst>
            <pc:docMk/>
            <pc:sldMk cId="2423218208" sldId="583"/>
            <ac:spMk id="688" creationId="{7B524ECD-BC64-12FA-FE46-0F3252023548}"/>
          </ac:spMkLst>
        </pc:spChg>
        <pc:spChg chg="del">
          <ac:chgData name="bullingerm.tmt22" userId="9ce3b8b2-035f-4175-b301-998b03a50e38" providerId="ADAL" clId="{D8E03A0D-8A42-4CF5-82BF-586E462557BB}" dt="2024-03-01T10:49:08.301" v="479" actId="478"/>
          <ac:spMkLst>
            <pc:docMk/>
            <pc:sldMk cId="2423218208" sldId="583"/>
            <ac:spMk id="688" creationId="{B78CCE10-5B13-F235-E5D2-D7B8AB719D50}"/>
          </ac:spMkLst>
        </pc:spChg>
        <pc:spChg chg="del">
          <ac:chgData name="bullingerm.tmt22" userId="9ce3b8b2-035f-4175-b301-998b03a50e38" providerId="ADAL" clId="{D8E03A0D-8A42-4CF5-82BF-586E462557BB}" dt="2024-03-01T10:49:08.301" v="478" actId="478"/>
          <ac:spMkLst>
            <pc:docMk/>
            <pc:sldMk cId="2423218208" sldId="583"/>
            <ac:spMk id="689" creationId="{9451B541-8792-B4A9-0408-024CF1BBB408}"/>
          </ac:spMkLst>
        </pc:spChg>
        <pc:spChg chg="del">
          <ac:chgData name="bullingerm.tmt22" userId="9ce3b8b2-035f-4175-b301-998b03a50e38" providerId="ADAL" clId="{D8E03A0D-8A42-4CF5-82BF-586E462557BB}" dt="2024-03-04T17:44:55.609" v="2083" actId="478"/>
          <ac:spMkLst>
            <pc:docMk/>
            <pc:sldMk cId="2423218208" sldId="583"/>
            <ac:spMk id="689" creationId="{AE7F5BCE-CC3F-A60F-CD6F-12B0A53CCBB0}"/>
          </ac:spMkLst>
        </pc:spChg>
        <pc:spChg chg="del">
          <ac:chgData name="bullingerm.tmt22" userId="9ce3b8b2-035f-4175-b301-998b03a50e38" providerId="ADAL" clId="{D8E03A0D-8A42-4CF5-82BF-586E462557BB}" dt="2024-03-01T10:49:08.293" v="475" actId="478"/>
          <ac:spMkLst>
            <pc:docMk/>
            <pc:sldMk cId="2423218208" sldId="583"/>
            <ac:spMk id="690" creationId="{63409B9F-55C0-AAB8-872B-650F8C5F4D2C}"/>
          </ac:spMkLst>
        </pc:spChg>
        <pc:spChg chg="del">
          <ac:chgData name="bullingerm.tmt22" userId="9ce3b8b2-035f-4175-b301-998b03a50e38" providerId="ADAL" clId="{D8E03A0D-8A42-4CF5-82BF-586E462557BB}" dt="2024-03-04T17:44:55.609" v="2082" actId="478"/>
          <ac:spMkLst>
            <pc:docMk/>
            <pc:sldMk cId="2423218208" sldId="583"/>
            <ac:spMk id="690" creationId="{A7706382-711C-4195-E0EE-104C0B7387C2}"/>
          </ac:spMkLst>
        </pc:spChg>
        <pc:spChg chg="del">
          <ac:chgData name="bullingerm.tmt22" userId="9ce3b8b2-035f-4175-b301-998b03a50e38" providerId="ADAL" clId="{D8E03A0D-8A42-4CF5-82BF-586E462557BB}" dt="2024-03-01T10:49:08.293" v="474" actId="478"/>
          <ac:spMkLst>
            <pc:docMk/>
            <pc:sldMk cId="2423218208" sldId="583"/>
            <ac:spMk id="691" creationId="{5B5AEECD-48E6-B542-64BF-7272A5F90B05}"/>
          </ac:spMkLst>
        </pc:spChg>
        <pc:spChg chg="del">
          <ac:chgData name="bullingerm.tmt22" userId="9ce3b8b2-035f-4175-b301-998b03a50e38" providerId="ADAL" clId="{D8E03A0D-8A42-4CF5-82BF-586E462557BB}" dt="2024-03-04T17:44:55.608" v="2079" actId="478"/>
          <ac:spMkLst>
            <pc:docMk/>
            <pc:sldMk cId="2423218208" sldId="583"/>
            <ac:spMk id="691" creationId="{7C7424F7-A22A-992C-4130-370C63624A15}"/>
          </ac:spMkLst>
        </pc:spChg>
        <pc:spChg chg="del">
          <ac:chgData name="bullingerm.tmt22" userId="9ce3b8b2-035f-4175-b301-998b03a50e38" providerId="ADAL" clId="{D8E03A0D-8A42-4CF5-82BF-586E462557BB}" dt="2024-03-04T17:44:55.602" v="2078" actId="478"/>
          <ac:spMkLst>
            <pc:docMk/>
            <pc:sldMk cId="2423218208" sldId="583"/>
            <ac:spMk id="692" creationId="{0DBA4245-26B3-CDA8-FA83-2ED44643C324}"/>
          </ac:spMkLst>
        </pc:spChg>
        <pc:spChg chg="del">
          <ac:chgData name="bullingerm.tmt22" userId="9ce3b8b2-035f-4175-b301-998b03a50e38" providerId="ADAL" clId="{D8E03A0D-8A42-4CF5-82BF-586E462557BB}" dt="2024-03-01T10:49:08.293" v="473" actId="478"/>
          <ac:spMkLst>
            <pc:docMk/>
            <pc:sldMk cId="2423218208" sldId="583"/>
            <ac:spMk id="692" creationId="{51891C42-2091-B675-4DC5-B7D9F0A0FACE}"/>
          </ac:spMkLst>
        </pc:spChg>
        <pc:spChg chg="del">
          <ac:chgData name="bullingerm.tmt22" userId="9ce3b8b2-035f-4175-b301-998b03a50e38" providerId="ADAL" clId="{D8E03A0D-8A42-4CF5-82BF-586E462557BB}" dt="2024-03-04T17:44:55.602" v="2077" actId="478"/>
          <ac:spMkLst>
            <pc:docMk/>
            <pc:sldMk cId="2423218208" sldId="583"/>
            <ac:spMk id="693" creationId="{8334870A-ACD4-59DF-47EB-9CEF1D83121E}"/>
          </ac:spMkLst>
        </pc:spChg>
        <pc:spChg chg="del">
          <ac:chgData name="bullingerm.tmt22" userId="9ce3b8b2-035f-4175-b301-998b03a50e38" providerId="ADAL" clId="{D8E03A0D-8A42-4CF5-82BF-586E462557BB}" dt="2024-03-01T10:49:08.293" v="472" actId="478"/>
          <ac:spMkLst>
            <pc:docMk/>
            <pc:sldMk cId="2423218208" sldId="583"/>
            <ac:spMk id="693" creationId="{EB7C0857-38C8-98AA-BD1B-1E03A7E22223}"/>
          </ac:spMkLst>
        </pc:spChg>
        <pc:spChg chg="del">
          <ac:chgData name="bullingerm.tmt22" userId="9ce3b8b2-035f-4175-b301-998b03a50e38" providerId="ADAL" clId="{D8E03A0D-8A42-4CF5-82BF-586E462557BB}" dt="2024-03-04T17:44:55.602" v="2076" actId="478"/>
          <ac:spMkLst>
            <pc:docMk/>
            <pc:sldMk cId="2423218208" sldId="583"/>
            <ac:spMk id="694" creationId="{5A6309DC-026F-4492-426E-567902E83658}"/>
          </ac:spMkLst>
        </pc:spChg>
        <pc:spChg chg="del">
          <ac:chgData name="bullingerm.tmt22" userId="9ce3b8b2-035f-4175-b301-998b03a50e38" providerId="ADAL" clId="{D8E03A0D-8A42-4CF5-82BF-586E462557BB}" dt="2024-03-04T17:44:55.602" v="2075" actId="478"/>
          <ac:spMkLst>
            <pc:docMk/>
            <pc:sldMk cId="2423218208" sldId="583"/>
            <ac:spMk id="695" creationId="{D67AE9A8-DC81-0E4B-4638-2E495C5E7C01}"/>
          </ac:spMkLst>
        </pc:spChg>
        <pc:spChg chg="del">
          <ac:chgData name="bullingerm.tmt22" userId="9ce3b8b2-035f-4175-b301-998b03a50e38" providerId="ADAL" clId="{D8E03A0D-8A42-4CF5-82BF-586E462557BB}" dt="2024-03-04T17:44:55.602" v="2074" actId="478"/>
          <ac:spMkLst>
            <pc:docMk/>
            <pc:sldMk cId="2423218208" sldId="583"/>
            <ac:spMk id="696" creationId="{8F689411-34DE-AFAE-83CD-CC9F122EBA06}"/>
          </ac:spMkLst>
        </pc:spChg>
        <pc:spChg chg="del">
          <ac:chgData name="bullingerm.tmt22" userId="9ce3b8b2-035f-4175-b301-998b03a50e38" providerId="ADAL" clId="{D8E03A0D-8A42-4CF5-82BF-586E462557BB}" dt="2024-03-04T17:44:55.619" v="2095" actId="478"/>
          <ac:spMkLst>
            <pc:docMk/>
            <pc:sldMk cId="2423218208" sldId="583"/>
            <ac:spMk id="697" creationId="{E2DF0CB5-9488-29A4-49FC-BFE570840214}"/>
          </ac:spMkLst>
        </pc:spChg>
        <pc:spChg chg="del">
          <ac:chgData name="bullingerm.tmt22" userId="9ce3b8b2-035f-4175-b301-998b03a50e38" providerId="ADAL" clId="{D8E03A0D-8A42-4CF5-82BF-586E462557BB}" dt="2024-03-04T17:44:55.619" v="2094" actId="478"/>
          <ac:spMkLst>
            <pc:docMk/>
            <pc:sldMk cId="2423218208" sldId="583"/>
            <ac:spMk id="698" creationId="{27A2143C-4F79-A4AC-CFA0-0D5EF048624A}"/>
          </ac:spMkLst>
        </pc:spChg>
        <pc:spChg chg="del">
          <ac:chgData name="bullingerm.tmt22" userId="9ce3b8b2-035f-4175-b301-998b03a50e38" providerId="ADAL" clId="{D8E03A0D-8A42-4CF5-82BF-586E462557BB}" dt="2024-03-04T17:44:55.613" v="2093" actId="478"/>
          <ac:spMkLst>
            <pc:docMk/>
            <pc:sldMk cId="2423218208" sldId="583"/>
            <ac:spMk id="699" creationId="{EB66DFBB-4FBB-8889-7F32-4A61610F9928}"/>
          </ac:spMkLst>
        </pc:spChg>
        <pc:spChg chg="del">
          <ac:chgData name="bullingerm.tmt22" userId="9ce3b8b2-035f-4175-b301-998b03a50e38" providerId="ADAL" clId="{D8E03A0D-8A42-4CF5-82BF-586E462557BB}" dt="2024-03-04T17:44:55.613" v="2092" actId="478"/>
          <ac:spMkLst>
            <pc:docMk/>
            <pc:sldMk cId="2423218208" sldId="583"/>
            <ac:spMk id="700" creationId="{12D17504-3B27-9F9D-777B-4CFE25792E92}"/>
          </ac:spMkLst>
        </pc:spChg>
        <pc:spChg chg="del">
          <ac:chgData name="bullingerm.tmt22" userId="9ce3b8b2-035f-4175-b301-998b03a50e38" providerId="ADAL" clId="{D8E03A0D-8A42-4CF5-82BF-586E462557BB}" dt="2024-03-04T17:44:55.613" v="2091" actId="478"/>
          <ac:spMkLst>
            <pc:docMk/>
            <pc:sldMk cId="2423218208" sldId="583"/>
            <ac:spMk id="701" creationId="{2EAAF935-9C29-D7D0-00C7-5819BD18EFF7}"/>
          </ac:spMkLst>
        </pc:spChg>
        <pc:spChg chg="del">
          <ac:chgData name="bullingerm.tmt22" userId="9ce3b8b2-035f-4175-b301-998b03a50e38" providerId="ADAL" clId="{D8E03A0D-8A42-4CF5-82BF-586E462557BB}" dt="2024-03-04T17:44:55.613" v="2090" actId="478"/>
          <ac:spMkLst>
            <pc:docMk/>
            <pc:sldMk cId="2423218208" sldId="583"/>
            <ac:spMk id="702" creationId="{69848B3B-6B4E-219E-C23D-BE2F3E70D08B}"/>
          </ac:spMkLst>
        </pc:spChg>
        <pc:spChg chg="del">
          <ac:chgData name="bullingerm.tmt22" userId="9ce3b8b2-035f-4175-b301-998b03a50e38" providerId="ADAL" clId="{D8E03A0D-8A42-4CF5-82BF-586E462557BB}" dt="2024-03-04T17:44:55.613" v="2089" actId="478"/>
          <ac:spMkLst>
            <pc:docMk/>
            <pc:sldMk cId="2423218208" sldId="583"/>
            <ac:spMk id="703" creationId="{18E96603-63A9-84E9-D33C-CA7C6C7A4CF5}"/>
          </ac:spMkLst>
        </pc:spChg>
        <pc:spChg chg="del">
          <ac:chgData name="bullingerm.tmt22" userId="9ce3b8b2-035f-4175-b301-998b03a50e38" providerId="ADAL" clId="{D8E03A0D-8A42-4CF5-82BF-586E462557BB}" dt="2024-03-04T17:44:55.598" v="2066" actId="478"/>
          <ac:spMkLst>
            <pc:docMk/>
            <pc:sldMk cId="2423218208" sldId="583"/>
            <ac:spMk id="704" creationId="{2F6A8875-1B7C-72F8-D71E-A79E141F42AA}"/>
          </ac:spMkLst>
        </pc:spChg>
        <pc:spChg chg="del">
          <ac:chgData name="bullingerm.tmt22" userId="9ce3b8b2-035f-4175-b301-998b03a50e38" providerId="ADAL" clId="{D8E03A0D-8A42-4CF5-82BF-586E462557BB}" dt="2024-03-04T17:44:55.598" v="2065" actId="478"/>
          <ac:spMkLst>
            <pc:docMk/>
            <pc:sldMk cId="2423218208" sldId="583"/>
            <ac:spMk id="705" creationId="{27FEE79D-3FB7-8814-7ECA-26C0AF4B5DE4}"/>
          </ac:spMkLst>
        </pc:spChg>
        <pc:spChg chg="del">
          <ac:chgData name="bullingerm.tmt22" userId="9ce3b8b2-035f-4175-b301-998b03a50e38" providerId="ADAL" clId="{D8E03A0D-8A42-4CF5-82BF-586E462557BB}" dt="2024-03-04T17:44:55.598" v="2064" actId="478"/>
          <ac:spMkLst>
            <pc:docMk/>
            <pc:sldMk cId="2423218208" sldId="583"/>
            <ac:spMk id="706" creationId="{EE1B4C48-13FD-AEFA-C071-04A12B6942A3}"/>
          </ac:spMkLst>
        </pc:spChg>
        <pc:spChg chg="del">
          <ac:chgData name="bullingerm.tmt22" userId="9ce3b8b2-035f-4175-b301-998b03a50e38" providerId="ADAL" clId="{D8E03A0D-8A42-4CF5-82BF-586E462557BB}" dt="2024-03-04T17:44:55.598" v="2063" actId="478"/>
          <ac:spMkLst>
            <pc:docMk/>
            <pc:sldMk cId="2423218208" sldId="583"/>
            <ac:spMk id="707" creationId="{443DD60F-907B-6108-8A4A-2FE924A771F7}"/>
          </ac:spMkLst>
        </pc:spChg>
        <pc:spChg chg="del">
          <ac:chgData name="bullingerm.tmt22" userId="9ce3b8b2-035f-4175-b301-998b03a50e38" providerId="ADAL" clId="{D8E03A0D-8A42-4CF5-82BF-586E462557BB}" dt="2024-03-04T17:44:55.588" v="2062" actId="478"/>
          <ac:spMkLst>
            <pc:docMk/>
            <pc:sldMk cId="2423218208" sldId="583"/>
            <ac:spMk id="708" creationId="{FD959D15-F6A7-5B81-5783-0FF925D95A38}"/>
          </ac:spMkLst>
        </pc:spChg>
        <pc:spChg chg="del">
          <ac:chgData name="bullingerm.tmt22" userId="9ce3b8b2-035f-4175-b301-998b03a50e38" providerId="ADAL" clId="{D8E03A0D-8A42-4CF5-82BF-586E462557BB}" dt="2024-03-04T17:44:55.588" v="2061" actId="478"/>
          <ac:spMkLst>
            <pc:docMk/>
            <pc:sldMk cId="2423218208" sldId="583"/>
            <ac:spMk id="709" creationId="{8EDB94F1-8BED-E875-D27B-427DDC689E8A}"/>
          </ac:spMkLst>
        </pc:spChg>
        <pc:spChg chg="del">
          <ac:chgData name="bullingerm.tmt22" userId="9ce3b8b2-035f-4175-b301-998b03a50e38" providerId="ADAL" clId="{D8E03A0D-8A42-4CF5-82BF-586E462557BB}" dt="2024-03-04T17:44:55.588" v="2060" actId="478"/>
          <ac:spMkLst>
            <pc:docMk/>
            <pc:sldMk cId="2423218208" sldId="583"/>
            <ac:spMk id="710" creationId="{251F5739-B7D4-DDA8-9DBD-1BB3643171DB}"/>
          </ac:spMkLst>
        </pc:spChg>
        <pc:spChg chg="del">
          <ac:chgData name="bullingerm.tmt22" userId="9ce3b8b2-035f-4175-b301-998b03a50e38" providerId="ADAL" clId="{D8E03A0D-8A42-4CF5-82BF-586E462557BB}" dt="2024-03-04T17:44:55.588" v="2059" actId="478"/>
          <ac:spMkLst>
            <pc:docMk/>
            <pc:sldMk cId="2423218208" sldId="583"/>
            <ac:spMk id="711" creationId="{1C73A3F1-6F0E-A67A-CD34-8C94F8A94C1C}"/>
          </ac:spMkLst>
        </pc:spChg>
        <pc:spChg chg="del">
          <ac:chgData name="bullingerm.tmt22" userId="9ce3b8b2-035f-4175-b301-998b03a50e38" providerId="ADAL" clId="{D8E03A0D-8A42-4CF5-82BF-586E462557BB}" dt="2024-03-01T10:49:08.273" v="452" actId="478"/>
          <ac:spMkLst>
            <pc:docMk/>
            <pc:sldMk cId="2423218208" sldId="583"/>
            <ac:spMk id="711" creationId="{F48CE795-CF4D-98E7-23E4-60CE762A5D3D}"/>
          </ac:spMkLst>
        </pc:spChg>
        <pc:spChg chg="replST">
          <ac:chgData name="bullingerm.tmt22" userId="9ce3b8b2-035f-4175-b301-998b03a50e38" providerId="ADAL" clId="{D8E03A0D-8A42-4CF5-82BF-586E462557BB}" dt="2024-03-04T17:44:56.428" v="2410"/>
          <ac:spMkLst>
            <pc:docMk/>
            <pc:sldMk cId="2423218208" sldId="583"/>
            <ac:spMk id="712" creationId="{6015F38C-22F5-B3A3-6931-B3A394CE3C0E}"/>
          </ac:spMkLst>
        </pc:spChg>
        <pc:spChg chg="replST">
          <ac:chgData name="bullingerm.tmt22" userId="9ce3b8b2-035f-4175-b301-998b03a50e38" providerId="ADAL" clId="{D8E03A0D-8A42-4CF5-82BF-586E462557BB}" dt="2024-03-04T17:44:56.438" v="2413"/>
          <ac:spMkLst>
            <pc:docMk/>
            <pc:sldMk cId="2423218208" sldId="583"/>
            <ac:spMk id="713" creationId="{BE51FF5B-4692-AE76-BCB5-A3D247FABB62}"/>
          </ac:spMkLst>
        </pc:spChg>
        <pc:spChg chg="replST">
          <ac:chgData name="bullingerm.tmt22" userId="9ce3b8b2-035f-4175-b301-998b03a50e38" providerId="ADAL" clId="{D8E03A0D-8A42-4CF5-82BF-586E462557BB}" dt="2024-03-04T17:44:56.448" v="2417"/>
          <ac:spMkLst>
            <pc:docMk/>
            <pc:sldMk cId="2423218208" sldId="583"/>
            <ac:spMk id="715" creationId="{B734DE03-30B5-4C94-E622-756EF45842D9}"/>
          </ac:spMkLst>
        </pc:spChg>
        <pc:spChg chg="del">
          <ac:chgData name="bullingerm.tmt22" userId="9ce3b8b2-035f-4175-b301-998b03a50e38" providerId="ADAL" clId="{D8E03A0D-8A42-4CF5-82BF-586E462557BB}" dt="2024-03-01T10:49:08.293" v="471" actId="478"/>
          <ac:spMkLst>
            <pc:docMk/>
            <pc:sldMk cId="2423218208" sldId="583"/>
            <ac:spMk id="716" creationId="{40DA708B-1679-A43A-BE4B-CA3B13666AB3}"/>
          </ac:spMkLst>
        </pc:spChg>
        <pc:spChg chg="replST">
          <ac:chgData name="bullingerm.tmt22" userId="9ce3b8b2-035f-4175-b301-998b03a50e38" providerId="ADAL" clId="{D8E03A0D-8A42-4CF5-82BF-586E462557BB}" dt="2024-03-04T17:44:56.458" v="2420"/>
          <ac:spMkLst>
            <pc:docMk/>
            <pc:sldMk cId="2423218208" sldId="583"/>
            <ac:spMk id="716" creationId="{83A667BF-81B3-3345-E83C-32C14BF28678}"/>
          </ac:spMkLst>
        </pc:spChg>
        <pc:spChg chg="del">
          <ac:chgData name="bullingerm.tmt22" userId="9ce3b8b2-035f-4175-b301-998b03a50e38" providerId="ADAL" clId="{D8E03A0D-8A42-4CF5-82BF-586E462557BB}" dt="2024-03-01T10:49:08.293" v="470" actId="478"/>
          <ac:spMkLst>
            <pc:docMk/>
            <pc:sldMk cId="2423218208" sldId="583"/>
            <ac:spMk id="717" creationId="{4B0AF17A-A555-EA22-CF94-C08996C3D2F6}"/>
          </ac:spMkLst>
        </pc:spChg>
        <pc:spChg chg="replST">
          <ac:chgData name="bullingerm.tmt22" userId="9ce3b8b2-035f-4175-b301-998b03a50e38" providerId="ADAL" clId="{D8E03A0D-8A42-4CF5-82BF-586E462557BB}" dt="2024-03-04T17:44:56.470" v="2424"/>
          <ac:spMkLst>
            <pc:docMk/>
            <pc:sldMk cId="2423218208" sldId="583"/>
            <ac:spMk id="718" creationId="{01FB2171-6882-B2DE-7055-B4606B6F69F5}"/>
          </ac:spMkLst>
        </pc:spChg>
        <pc:spChg chg="del">
          <ac:chgData name="bullingerm.tmt22" userId="9ce3b8b2-035f-4175-b301-998b03a50e38" providerId="ADAL" clId="{D8E03A0D-8A42-4CF5-82BF-586E462557BB}" dt="2024-03-01T10:49:08.303" v="491" actId="478"/>
          <ac:spMkLst>
            <pc:docMk/>
            <pc:sldMk cId="2423218208" sldId="583"/>
            <ac:spMk id="718" creationId="{909BD586-28E3-2F74-5EFF-EC02170F5783}"/>
          </ac:spMkLst>
        </pc:spChg>
        <pc:spChg chg="del">
          <ac:chgData name="bullingerm.tmt22" userId="9ce3b8b2-035f-4175-b301-998b03a50e38" providerId="ADAL" clId="{D8E03A0D-8A42-4CF5-82BF-586E462557BB}" dt="2024-03-01T10:49:08.303" v="490" actId="478"/>
          <ac:spMkLst>
            <pc:docMk/>
            <pc:sldMk cId="2423218208" sldId="583"/>
            <ac:spMk id="719" creationId="{86CA5529-34CB-5F08-39EE-CA51F7524EAB}"/>
          </ac:spMkLst>
        </pc:spChg>
        <pc:spChg chg="replST">
          <ac:chgData name="bullingerm.tmt22" userId="9ce3b8b2-035f-4175-b301-998b03a50e38" providerId="ADAL" clId="{D8E03A0D-8A42-4CF5-82BF-586E462557BB}" dt="2024-03-04T17:44:56.473" v="2427"/>
          <ac:spMkLst>
            <pc:docMk/>
            <pc:sldMk cId="2423218208" sldId="583"/>
            <ac:spMk id="719" creationId="{EF4C632D-D124-2E0C-AECF-DAEB34892A40}"/>
          </ac:spMkLst>
        </pc:spChg>
        <pc:spChg chg="del">
          <ac:chgData name="bullingerm.tmt22" userId="9ce3b8b2-035f-4175-b301-998b03a50e38" providerId="ADAL" clId="{D8E03A0D-8A42-4CF5-82BF-586E462557BB}" dt="2024-03-01T10:49:08.303" v="489" actId="478"/>
          <ac:spMkLst>
            <pc:docMk/>
            <pc:sldMk cId="2423218208" sldId="583"/>
            <ac:spMk id="720" creationId="{B0652F78-7D08-155C-EEF0-1049FCB8B0CA}"/>
          </ac:spMkLst>
        </pc:spChg>
        <pc:spChg chg="del">
          <ac:chgData name="bullingerm.tmt22" userId="9ce3b8b2-035f-4175-b301-998b03a50e38" providerId="ADAL" clId="{D8E03A0D-8A42-4CF5-82BF-586E462557BB}" dt="2024-03-01T10:49:08.303" v="488" actId="478"/>
          <ac:spMkLst>
            <pc:docMk/>
            <pc:sldMk cId="2423218208" sldId="583"/>
            <ac:spMk id="721" creationId="{43C7A9C0-8190-4243-AD8D-FB7ED64B5649}"/>
          </ac:spMkLst>
        </pc:spChg>
        <pc:spChg chg="replST">
          <ac:chgData name="bullingerm.tmt22" userId="9ce3b8b2-035f-4175-b301-998b03a50e38" providerId="ADAL" clId="{D8E03A0D-8A42-4CF5-82BF-586E462557BB}" dt="2024-03-04T17:44:56.482" v="2431"/>
          <ac:spMkLst>
            <pc:docMk/>
            <pc:sldMk cId="2423218208" sldId="583"/>
            <ac:spMk id="721" creationId="{DF6E5F5F-E713-9A62-2324-FDF262F487F5}"/>
          </ac:spMkLst>
        </pc:spChg>
        <pc:spChg chg="replST">
          <ac:chgData name="bullingerm.tmt22" userId="9ce3b8b2-035f-4175-b301-998b03a50e38" providerId="ADAL" clId="{D8E03A0D-8A42-4CF5-82BF-586E462557BB}" dt="2024-03-04T17:44:56.488" v="2434"/>
          <ac:spMkLst>
            <pc:docMk/>
            <pc:sldMk cId="2423218208" sldId="583"/>
            <ac:spMk id="722" creationId="{0000DC42-7DD8-537E-5386-C3B252BE8AD3}"/>
          </ac:spMkLst>
        </pc:spChg>
        <pc:spChg chg="del">
          <ac:chgData name="bullingerm.tmt22" userId="9ce3b8b2-035f-4175-b301-998b03a50e38" providerId="ADAL" clId="{D8E03A0D-8A42-4CF5-82BF-586E462557BB}" dt="2024-03-01T10:49:08.303" v="487" actId="478"/>
          <ac:spMkLst>
            <pc:docMk/>
            <pc:sldMk cId="2423218208" sldId="583"/>
            <ac:spMk id="722" creationId="{EB695791-6DD7-60C6-1182-39E238EF5D59}"/>
          </ac:spMkLst>
        </pc:spChg>
        <pc:spChg chg="del">
          <ac:chgData name="bullingerm.tmt22" userId="9ce3b8b2-035f-4175-b301-998b03a50e38" providerId="ADAL" clId="{D8E03A0D-8A42-4CF5-82BF-586E462557BB}" dt="2024-03-01T10:49:08.303" v="486" actId="478"/>
          <ac:spMkLst>
            <pc:docMk/>
            <pc:sldMk cId="2423218208" sldId="583"/>
            <ac:spMk id="723" creationId="{C4FDA54B-2351-E96C-A31E-742CBCC67E80}"/>
          </ac:spMkLst>
        </pc:spChg>
        <pc:spChg chg="replST">
          <ac:chgData name="bullingerm.tmt22" userId="9ce3b8b2-035f-4175-b301-998b03a50e38" providerId="ADAL" clId="{D8E03A0D-8A42-4CF5-82BF-586E462557BB}" dt="2024-03-04T17:44:56.488" v="2438"/>
          <ac:spMkLst>
            <pc:docMk/>
            <pc:sldMk cId="2423218208" sldId="583"/>
            <ac:spMk id="724" creationId="{791BAE1B-CD36-1A8D-DDC5-1A1CB7AF13CC}"/>
          </ac:spMkLst>
        </pc:spChg>
        <pc:spChg chg="del">
          <ac:chgData name="bullingerm.tmt22" userId="9ce3b8b2-035f-4175-b301-998b03a50e38" providerId="ADAL" clId="{D8E03A0D-8A42-4CF5-82BF-586E462557BB}" dt="2024-03-01T10:49:08.303" v="485" actId="478"/>
          <ac:spMkLst>
            <pc:docMk/>
            <pc:sldMk cId="2423218208" sldId="583"/>
            <ac:spMk id="724" creationId="{8C8A34C0-F24E-824F-D6DE-5F8B62898E27}"/>
          </ac:spMkLst>
        </pc:spChg>
        <pc:spChg chg="replST">
          <ac:chgData name="bullingerm.tmt22" userId="9ce3b8b2-035f-4175-b301-998b03a50e38" providerId="ADAL" clId="{D8E03A0D-8A42-4CF5-82BF-586E462557BB}" dt="2024-03-04T17:44:56.498" v="2441"/>
          <ac:spMkLst>
            <pc:docMk/>
            <pc:sldMk cId="2423218208" sldId="583"/>
            <ac:spMk id="725" creationId="{46F861D2-3898-0864-3C7C-352BF2EE2410}"/>
          </ac:spMkLst>
        </pc:spChg>
        <pc:spChg chg="del">
          <ac:chgData name="bullingerm.tmt22" userId="9ce3b8b2-035f-4175-b301-998b03a50e38" providerId="ADAL" clId="{D8E03A0D-8A42-4CF5-82BF-586E462557BB}" dt="2024-03-01T10:49:08.303" v="484" actId="478"/>
          <ac:spMkLst>
            <pc:docMk/>
            <pc:sldMk cId="2423218208" sldId="583"/>
            <ac:spMk id="725" creationId="{86C04B09-1CC1-4F6B-F997-AE6058212F6A}"/>
          </ac:spMkLst>
        </pc:spChg>
        <pc:spChg chg="ord replST">
          <ac:chgData name="bullingerm.tmt22" userId="9ce3b8b2-035f-4175-b301-998b03a50e38" providerId="ADAL" clId="{D8E03A0D-8A42-4CF5-82BF-586E462557BB}" dt="2024-03-04T17:44:56.528" v="2456"/>
          <ac:spMkLst>
            <pc:docMk/>
            <pc:sldMk cId="2423218208" sldId="583"/>
            <ac:spMk id="726" creationId="{1954DCEC-C3BF-BCD5-3451-0655E62592F8}"/>
          </ac:spMkLst>
        </pc:spChg>
        <pc:spChg chg="del">
          <ac:chgData name="bullingerm.tmt22" userId="9ce3b8b2-035f-4175-b301-998b03a50e38" providerId="ADAL" clId="{D8E03A0D-8A42-4CF5-82BF-586E462557BB}" dt="2024-03-01T10:49:08.301" v="476" actId="478"/>
          <ac:spMkLst>
            <pc:docMk/>
            <pc:sldMk cId="2423218208" sldId="583"/>
            <ac:spMk id="726" creationId="{82D3D238-6AE9-875D-ADED-C978208AC1C0}"/>
          </ac:spMkLst>
        </pc:spChg>
        <pc:spChg chg="del">
          <ac:chgData name="bullingerm.tmt22" userId="9ce3b8b2-035f-4175-b301-998b03a50e38" providerId="ADAL" clId="{D8E03A0D-8A42-4CF5-82BF-586E462557BB}" dt="2024-03-01T10:49:08.293" v="469" actId="478"/>
          <ac:spMkLst>
            <pc:docMk/>
            <pc:sldMk cId="2423218208" sldId="583"/>
            <ac:spMk id="727" creationId="{DBBAC03E-757C-8AC5-4F3D-BFF9EFA83992}"/>
          </ac:spMkLst>
        </pc:spChg>
        <pc:spChg chg="replST">
          <ac:chgData name="bullingerm.tmt22" userId="9ce3b8b2-035f-4175-b301-998b03a50e38" providerId="ADAL" clId="{D8E03A0D-8A42-4CF5-82BF-586E462557BB}" dt="2024-03-04T17:44:56.510" v="2445"/>
          <ac:spMkLst>
            <pc:docMk/>
            <pc:sldMk cId="2423218208" sldId="583"/>
            <ac:spMk id="727" creationId="{FADC482D-EA13-0660-12B1-D6A84D673E2D}"/>
          </ac:spMkLst>
        </pc:spChg>
        <pc:spChg chg="del">
          <ac:chgData name="bullingerm.tmt22" userId="9ce3b8b2-035f-4175-b301-998b03a50e38" providerId="ADAL" clId="{D8E03A0D-8A42-4CF5-82BF-586E462557BB}" dt="2024-03-01T10:49:08.301" v="477" actId="478"/>
          <ac:spMkLst>
            <pc:docMk/>
            <pc:sldMk cId="2423218208" sldId="583"/>
            <ac:spMk id="728" creationId="{588540B3-41E8-B945-5642-FCB29D960C18}"/>
          </ac:spMkLst>
        </pc:spChg>
        <pc:spChg chg="replST">
          <ac:chgData name="bullingerm.tmt22" userId="9ce3b8b2-035f-4175-b301-998b03a50e38" providerId="ADAL" clId="{D8E03A0D-8A42-4CF5-82BF-586E462557BB}" dt="2024-03-04T17:44:56.510" v="2448"/>
          <ac:spMkLst>
            <pc:docMk/>
            <pc:sldMk cId="2423218208" sldId="583"/>
            <ac:spMk id="728" creationId="{A0655056-6AF8-0763-0D92-BC755AB8B647}"/>
          </ac:spMkLst>
        </pc:spChg>
        <pc:spChg chg="del">
          <ac:chgData name="bullingerm.tmt22" userId="9ce3b8b2-035f-4175-b301-998b03a50e38" providerId="ADAL" clId="{D8E03A0D-8A42-4CF5-82BF-586E462557BB}" dt="2024-03-01T10:49:08.293" v="468" actId="478"/>
          <ac:spMkLst>
            <pc:docMk/>
            <pc:sldMk cId="2423218208" sldId="583"/>
            <ac:spMk id="729" creationId="{94639DD0-DB57-A272-2F1B-B9E7B855D129}"/>
          </ac:spMkLst>
        </pc:spChg>
        <pc:spChg chg="del">
          <ac:chgData name="bullingerm.tmt22" userId="9ce3b8b2-035f-4175-b301-998b03a50e38" providerId="ADAL" clId="{D8E03A0D-8A42-4CF5-82BF-586E462557BB}" dt="2024-03-01T10:49:08.293" v="467" actId="478"/>
          <ac:spMkLst>
            <pc:docMk/>
            <pc:sldMk cId="2423218208" sldId="583"/>
            <ac:spMk id="730" creationId="{B2B17E38-F729-C20A-F4CD-CFFAB9D59729}"/>
          </ac:spMkLst>
        </pc:spChg>
        <pc:spChg chg="del">
          <ac:chgData name="bullingerm.tmt22" userId="9ce3b8b2-035f-4175-b301-998b03a50e38" providerId="ADAL" clId="{D8E03A0D-8A42-4CF5-82BF-586E462557BB}" dt="2024-03-01T10:49:08.293" v="466" actId="478"/>
          <ac:spMkLst>
            <pc:docMk/>
            <pc:sldMk cId="2423218208" sldId="583"/>
            <ac:spMk id="731" creationId="{897179FA-34A2-6F53-CB8B-0042AE4EFB30}"/>
          </ac:spMkLst>
        </pc:spChg>
        <pc:spChg chg="del">
          <ac:chgData name="bullingerm.tmt22" userId="9ce3b8b2-035f-4175-b301-998b03a50e38" providerId="ADAL" clId="{D8E03A0D-8A42-4CF5-82BF-586E462557BB}" dt="2024-03-01T10:49:08.293" v="465" actId="478"/>
          <ac:spMkLst>
            <pc:docMk/>
            <pc:sldMk cId="2423218208" sldId="583"/>
            <ac:spMk id="732" creationId="{5E828B76-8904-5506-B1F0-DEC9B795A910}"/>
          </ac:spMkLst>
        </pc:spChg>
        <pc:spChg chg="del">
          <ac:chgData name="bullingerm.tmt22" userId="9ce3b8b2-035f-4175-b301-998b03a50e38" providerId="ADAL" clId="{D8E03A0D-8A42-4CF5-82BF-586E462557BB}" dt="2024-03-01T10:49:08.293" v="464" actId="478"/>
          <ac:spMkLst>
            <pc:docMk/>
            <pc:sldMk cId="2423218208" sldId="583"/>
            <ac:spMk id="733" creationId="{3EB662CE-7E64-AEC9-E3E4-34F940992FB6}"/>
          </ac:spMkLst>
        </pc:spChg>
        <pc:spChg chg="del">
          <ac:chgData name="bullingerm.tmt22" userId="9ce3b8b2-035f-4175-b301-998b03a50e38" providerId="ADAL" clId="{D8E03A0D-8A42-4CF5-82BF-586E462557BB}" dt="2024-03-01T10:49:08.293" v="463" actId="478"/>
          <ac:spMkLst>
            <pc:docMk/>
            <pc:sldMk cId="2423218208" sldId="583"/>
            <ac:spMk id="734" creationId="{49EFD8C9-59D2-D4D9-8208-D8E8EE64401D}"/>
          </ac:spMkLst>
        </pc:spChg>
        <pc:spChg chg="del">
          <ac:chgData name="bullingerm.tmt22" userId="9ce3b8b2-035f-4175-b301-998b03a50e38" providerId="ADAL" clId="{D8E03A0D-8A42-4CF5-82BF-586E462557BB}" dt="2024-03-01T10:49:08.293" v="462" actId="478"/>
          <ac:spMkLst>
            <pc:docMk/>
            <pc:sldMk cId="2423218208" sldId="583"/>
            <ac:spMk id="735" creationId="{31B2449F-49F2-6D07-B910-81CD503E9F83}"/>
          </ac:spMkLst>
        </pc:spChg>
        <pc:cxnChg chg="del ord replST">
          <ac:chgData name="bullingerm.tmt22" userId="9ce3b8b2-035f-4175-b301-998b03a50e38" providerId="ADAL" clId="{D8E03A0D-8A42-4CF5-82BF-586E462557BB}" dt="2024-03-04T17:44:55.568" v="2051" actId="478"/>
          <ac:cxnSpMkLst>
            <pc:docMk/>
            <pc:sldMk cId="2423218208" sldId="583"/>
            <ac:cxnSpMk id="649" creationId="{3874BA36-3C68-1428-386E-032F7368E70A}"/>
          </ac:cxnSpMkLst>
        </pc:cxnChg>
        <pc:cxnChg chg="del ord replST">
          <ac:chgData name="bullingerm.tmt22" userId="9ce3b8b2-035f-4175-b301-998b03a50e38" providerId="ADAL" clId="{D8E03A0D-8A42-4CF5-82BF-586E462557BB}" dt="2024-03-04T17:44:55.568" v="2052" actId="478"/>
          <ac:cxnSpMkLst>
            <pc:docMk/>
            <pc:sldMk cId="2423218208" sldId="583"/>
            <ac:cxnSpMk id="652" creationId="{5519EEC2-01F9-AB3D-0BF9-7851ABA3E65F}"/>
          </ac:cxnSpMkLst>
        </pc:cxnChg>
        <pc:cxnChg chg="del ord replST">
          <ac:chgData name="bullingerm.tmt22" userId="9ce3b8b2-035f-4175-b301-998b03a50e38" providerId="ADAL" clId="{D8E03A0D-8A42-4CF5-82BF-586E462557BB}" dt="2024-03-04T17:44:55.568" v="2053" actId="478"/>
          <ac:cxnSpMkLst>
            <pc:docMk/>
            <pc:sldMk cId="2423218208" sldId="583"/>
            <ac:cxnSpMk id="655" creationId="{53AEE626-27DA-90F1-7B75-61F5B628705C}"/>
          </ac:cxnSpMkLst>
        </pc:cxnChg>
        <pc:cxnChg chg="del ord replST">
          <ac:chgData name="bullingerm.tmt22" userId="9ce3b8b2-035f-4175-b301-998b03a50e38" providerId="ADAL" clId="{D8E03A0D-8A42-4CF5-82BF-586E462557BB}" dt="2024-03-04T17:44:55.568" v="2054" actId="478"/>
          <ac:cxnSpMkLst>
            <pc:docMk/>
            <pc:sldMk cId="2423218208" sldId="583"/>
            <ac:cxnSpMk id="659" creationId="{7B259604-1239-2BD5-A3D6-01BB7665C93E}"/>
          </ac:cxnSpMkLst>
        </pc:cxnChg>
        <pc:cxnChg chg="del ord replST">
          <ac:chgData name="bullingerm.tmt22" userId="9ce3b8b2-035f-4175-b301-998b03a50e38" providerId="ADAL" clId="{D8E03A0D-8A42-4CF5-82BF-586E462557BB}" dt="2024-03-04T17:44:55.578" v="2055" actId="478"/>
          <ac:cxnSpMkLst>
            <pc:docMk/>
            <pc:sldMk cId="2423218208" sldId="583"/>
            <ac:cxnSpMk id="662" creationId="{171F3DFF-2CAE-F9F9-60CF-E2E25E3E51C2}"/>
          </ac:cxnSpMkLst>
        </pc:cxnChg>
        <pc:cxnChg chg="del ord replST">
          <ac:chgData name="bullingerm.tmt22" userId="9ce3b8b2-035f-4175-b301-998b03a50e38" providerId="ADAL" clId="{D8E03A0D-8A42-4CF5-82BF-586E462557BB}" dt="2024-03-04T17:44:55.578" v="2057" actId="478"/>
          <ac:cxnSpMkLst>
            <pc:docMk/>
            <pc:sldMk cId="2423218208" sldId="583"/>
            <ac:cxnSpMk id="668" creationId="{4E0BBE45-10BD-8137-A7D3-FDC461C9A83E}"/>
          </ac:cxnSpMkLst>
        </pc:cxnChg>
        <pc:cxnChg chg="del ord replST">
          <ac:chgData name="bullingerm.tmt22" userId="9ce3b8b2-035f-4175-b301-998b03a50e38" providerId="ADAL" clId="{D8E03A0D-8A42-4CF5-82BF-586E462557BB}" dt="2024-03-04T17:44:55.578" v="2058" actId="478"/>
          <ac:cxnSpMkLst>
            <pc:docMk/>
            <pc:sldMk cId="2423218208" sldId="583"/>
            <ac:cxnSpMk id="669" creationId="{FF7F8BCD-F1D8-57ED-6C96-B15004DE3472}"/>
          </ac:cxnSpMkLst>
        </pc:cxnChg>
        <pc:cxnChg chg="del">
          <ac:chgData name="bullingerm.tmt22" userId="9ce3b8b2-035f-4175-b301-998b03a50e38" providerId="ADAL" clId="{D8E03A0D-8A42-4CF5-82BF-586E462557BB}" dt="2024-03-01T10:49:08.263" v="447" actId="478"/>
          <ac:cxnSpMkLst>
            <pc:docMk/>
            <pc:sldMk cId="2423218208" sldId="583"/>
            <ac:cxnSpMk id="696" creationId="{763449B1-C9C9-14E7-76AC-00B41EEC1666}"/>
          </ac:cxnSpMkLst>
        </pc:cxnChg>
        <pc:cxnChg chg="del">
          <ac:chgData name="bullingerm.tmt22" userId="9ce3b8b2-035f-4175-b301-998b03a50e38" providerId="ADAL" clId="{D8E03A0D-8A42-4CF5-82BF-586E462557BB}" dt="2024-03-01T10:49:08.263" v="448" actId="478"/>
          <ac:cxnSpMkLst>
            <pc:docMk/>
            <pc:sldMk cId="2423218208" sldId="583"/>
            <ac:cxnSpMk id="699" creationId="{8D9A4646-1647-7326-D147-100110EA3A97}"/>
          </ac:cxnSpMkLst>
        </pc:cxnChg>
        <pc:cxnChg chg="del">
          <ac:chgData name="bullingerm.tmt22" userId="9ce3b8b2-035f-4175-b301-998b03a50e38" providerId="ADAL" clId="{D8E03A0D-8A42-4CF5-82BF-586E462557BB}" dt="2024-03-01T10:49:08.263" v="449" actId="478"/>
          <ac:cxnSpMkLst>
            <pc:docMk/>
            <pc:sldMk cId="2423218208" sldId="583"/>
            <ac:cxnSpMk id="702" creationId="{4A398CCE-48B4-511B-1AFF-8A27DC3484E5}"/>
          </ac:cxnSpMkLst>
        </pc:cxnChg>
        <pc:cxnChg chg="del">
          <ac:chgData name="bullingerm.tmt22" userId="9ce3b8b2-035f-4175-b301-998b03a50e38" providerId="ADAL" clId="{D8E03A0D-8A42-4CF5-82BF-586E462557BB}" dt="2024-03-01T10:49:08.271" v="450" actId="478"/>
          <ac:cxnSpMkLst>
            <pc:docMk/>
            <pc:sldMk cId="2423218208" sldId="583"/>
            <ac:cxnSpMk id="705" creationId="{89777E1B-055D-B308-E3F4-834872C2C677}"/>
          </ac:cxnSpMkLst>
        </pc:cxnChg>
        <pc:cxnChg chg="del">
          <ac:chgData name="bullingerm.tmt22" userId="9ce3b8b2-035f-4175-b301-998b03a50e38" providerId="ADAL" clId="{D8E03A0D-8A42-4CF5-82BF-586E462557BB}" dt="2024-03-01T10:49:08.273" v="451" actId="478"/>
          <ac:cxnSpMkLst>
            <pc:docMk/>
            <pc:sldMk cId="2423218208" sldId="583"/>
            <ac:cxnSpMk id="708" creationId="{459121BA-952D-6952-2D9A-55BD677910D8}"/>
          </ac:cxnSpMkLst>
        </pc:cxnChg>
        <pc:cxnChg chg="ord replST">
          <ac:chgData name="bullingerm.tmt22" userId="9ce3b8b2-035f-4175-b301-998b03a50e38" providerId="ADAL" clId="{D8E03A0D-8A42-4CF5-82BF-586E462557BB}" dt="2024-03-04T17:44:56.523" v="2452"/>
          <ac:cxnSpMkLst>
            <pc:docMk/>
            <pc:sldMk cId="2423218208" sldId="583"/>
            <ac:cxnSpMk id="714" creationId="{718C96C8-A115-8E0E-E3C6-66EF4F8DF091}"/>
          </ac:cxnSpMkLst>
        </pc:cxnChg>
        <pc:cxnChg chg="del">
          <ac:chgData name="bullingerm.tmt22" userId="9ce3b8b2-035f-4175-b301-998b03a50e38" providerId="ADAL" clId="{D8E03A0D-8A42-4CF5-82BF-586E462557BB}" dt="2024-03-01T10:49:08.273" v="453" actId="478"/>
          <ac:cxnSpMkLst>
            <pc:docMk/>
            <pc:sldMk cId="2423218208" sldId="583"/>
            <ac:cxnSpMk id="714" creationId="{ECB126E3-6BFD-1FFB-3611-9B6DDD24E00B}"/>
          </ac:cxnSpMkLst>
        </pc:cxnChg>
        <pc:cxnChg chg="del">
          <ac:chgData name="bullingerm.tmt22" userId="9ce3b8b2-035f-4175-b301-998b03a50e38" providerId="ADAL" clId="{D8E03A0D-8A42-4CF5-82BF-586E462557BB}" dt="2024-03-01T10:49:08.273" v="454" actId="478"/>
          <ac:cxnSpMkLst>
            <pc:docMk/>
            <pc:sldMk cId="2423218208" sldId="583"/>
            <ac:cxnSpMk id="715" creationId="{CE4F2228-6BED-AB1E-E257-5C53F8111117}"/>
          </ac:cxnSpMkLst>
        </pc:cxnChg>
        <pc:cxnChg chg="ord replST">
          <ac:chgData name="bullingerm.tmt22" userId="9ce3b8b2-035f-4175-b301-998b03a50e38" providerId="ADAL" clId="{D8E03A0D-8A42-4CF5-82BF-586E462557BB}" dt="2024-03-04T17:44:56.523" v="2453"/>
          <ac:cxnSpMkLst>
            <pc:docMk/>
            <pc:sldMk cId="2423218208" sldId="583"/>
            <ac:cxnSpMk id="717" creationId="{2861C818-A860-FB82-EBF1-267F5E3A0463}"/>
          </ac:cxnSpMkLst>
        </pc:cxnChg>
        <pc:cxnChg chg="ord replST">
          <ac:chgData name="bullingerm.tmt22" userId="9ce3b8b2-035f-4175-b301-998b03a50e38" providerId="ADAL" clId="{D8E03A0D-8A42-4CF5-82BF-586E462557BB}" dt="2024-03-04T17:44:56.528" v="2454"/>
          <ac:cxnSpMkLst>
            <pc:docMk/>
            <pc:sldMk cId="2423218208" sldId="583"/>
            <ac:cxnSpMk id="720" creationId="{4D0254F5-15B8-F68A-D9CF-CB102BC5F790}"/>
          </ac:cxnSpMkLst>
        </pc:cxnChg>
        <pc:cxnChg chg="ord replST">
          <ac:chgData name="bullingerm.tmt22" userId="9ce3b8b2-035f-4175-b301-998b03a50e38" providerId="ADAL" clId="{D8E03A0D-8A42-4CF5-82BF-586E462557BB}" dt="2024-03-04T17:44:56.528" v="2455"/>
          <ac:cxnSpMkLst>
            <pc:docMk/>
            <pc:sldMk cId="2423218208" sldId="583"/>
            <ac:cxnSpMk id="723" creationId="{1680D787-072B-080E-7C08-305DAAFCDBC6}"/>
          </ac:cxnSpMkLst>
        </pc:cxnChg>
        <pc:cxnChg chg="ord replST">
          <ac:chgData name="bullingerm.tmt22" userId="9ce3b8b2-035f-4175-b301-998b03a50e38" providerId="ADAL" clId="{D8E03A0D-8A42-4CF5-82BF-586E462557BB}" dt="2024-03-04T17:44:56.533" v="2457"/>
          <ac:cxnSpMkLst>
            <pc:docMk/>
            <pc:sldMk cId="2423218208" sldId="583"/>
            <ac:cxnSpMk id="729" creationId="{E99B04D5-9A49-4928-97FF-ED69D94E6F36}"/>
          </ac:cxnSpMkLst>
        </pc:cxnChg>
        <pc:cxnChg chg="ord replST">
          <ac:chgData name="bullingerm.tmt22" userId="9ce3b8b2-035f-4175-b301-998b03a50e38" providerId="ADAL" clId="{D8E03A0D-8A42-4CF5-82BF-586E462557BB}" dt="2024-03-04T17:44:56.533" v="2458"/>
          <ac:cxnSpMkLst>
            <pc:docMk/>
            <pc:sldMk cId="2423218208" sldId="583"/>
            <ac:cxnSpMk id="730" creationId="{220766FB-BF3F-27AE-8124-0AD720312980}"/>
          </ac:cxnSpMkLst>
        </pc:cxnChg>
      </pc:sldChg>
      <pc:sldChg chg="addSp delSp modSp mod">
        <pc:chgData name="bullingerm.tmt22" userId="9ce3b8b2-035f-4175-b301-998b03a50e38" providerId="ADAL" clId="{D8E03A0D-8A42-4CF5-82BF-586E462557BB}" dt="2024-03-04T17:44:55.828" v="2193"/>
        <pc:sldMkLst>
          <pc:docMk/>
          <pc:sldMk cId="1339647628" sldId="586"/>
        </pc:sldMkLst>
        <pc:spChg chg="del">
          <ac:chgData name="bullingerm.tmt22" userId="9ce3b8b2-035f-4175-b301-998b03a50e38" providerId="ADAL" clId="{D8E03A0D-8A42-4CF5-82BF-586E462557BB}" dt="2024-03-04T17:44:55.302" v="1850" actId="478"/>
          <ac:spMkLst>
            <pc:docMk/>
            <pc:sldMk cId="1339647628" sldId="586"/>
            <ac:spMk id="608" creationId="{8B11B0F8-9C5E-0A4A-69D9-CCE23B579A8B}"/>
          </ac:spMkLst>
        </pc:spChg>
        <pc:spChg chg="del">
          <ac:chgData name="bullingerm.tmt22" userId="9ce3b8b2-035f-4175-b301-998b03a50e38" providerId="ADAL" clId="{D8E03A0D-8A42-4CF5-82BF-586E462557BB}" dt="2024-03-01T10:49:07.933" v="197" actId="478"/>
          <ac:spMkLst>
            <pc:docMk/>
            <pc:sldMk cId="1339647628" sldId="586"/>
            <ac:spMk id="608" creationId="{DDC09B41-C740-978C-32AB-2B1D7BD5158D}"/>
          </ac:spMkLst>
        </pc:spChg>
        <pc:spChg chg="del">
          <ac:chgData name="bullingerm.tmt22" userId="9ce3b8b2-035f-4175-b301-998b03a50e38" providerId="ADAL" clId="{D8E03A0D-8A42-4CF5-82BF-586E462557BB}" dt="2024-03-04T17:44:55.302" v="1843" actId="478"/>
          <ac:spMkLst>
            <pc:docMk/>
            <pc:sldMk cId="1339647628" sldId="586"/>
            <ac:spMk id="609" creationId="{4036BB94-17D5-940A-B3E6-458DDC000A2D}"/>
          </ac:spMkLst>
        </pc:spChg>
        <pc:spChg chg="del">
          <ac:chgData name="bullingerm.tmt22" userId="9ce3b8b2-035f-4175-b301-998b03a50e38" providerId="ADAL" clId="{D8E03A0D-8A42-4CF5-82BF-586E462557BB}" dt="2024-03-01T10:49:07.933" v="196" actId="478"/>
          <ac:spMkLst>
            <pc:docMk/>
            <pc:sldMk cId="1339647628" sldId="586"/>
            <ac:spMk id="609" creationId="{E1A30629-CC7F-252F-5FCF-27E838266ABB}"/>
          </ac:spMkLst>
        </pc:spChg>
        <pc:spChg chg="del">
          <ac:chgData name="bullingerm.tmt22" userId="9ce3b8b2-035f-4175-b301-998b03a50e38" providerId="ADAL" clId="{D8E03A0D-8A42-4CF5-82BF-586E462557BB}" dt="2024-03-01T10:49:07.933" v="195" actId="478"/>
          <ac:spMkLst>
            <pc:docMk/>
            <pc:sldMk cId="1339647628" sldId="586"/>
            <ac:spMk id="610" creationId="{82A5D1D6-E096-53EF-4084-2DD5CB97D651}"/>
          </ac:spMkLst>
        </pc:spChg>
        <pc:spChg chg="del">
          <ac:chgData name="bullingerm.tmt22" userId="9ce3b8b2-035f-4175-b301-998b03a50e38" providerId="ADAL" clId="{D8E03A0D-8A42-4CF5-82BF-586E462557BB}" dt="2024-03-04T17:44:55.308" v="1851" actId="478"/>
          <ac:spMkLst>
            <pc:docMk/>
            <pc:sldMk cId="1339647628" sldId="586"/>
            <ac:spMk id="610" creationId="{C8420234-F30D-EF0E-A0DB-A9FC670827B4}"/>
          </ac:spMkLst>
        </pc:spChg>
        <pc:spChg chg="del">
          <ac:chgData name="bullingerm.tmt22" userId="9ce3b8b2-035f-4175-b301-998b03a50e38" providerId="ADAL" clId="{D8E03A0D-8A42-4CF5-82BF-586E462557BB}" dt="2024-03-01T10:49:07.933" v="194" actId="478"/>
          <ac:spMkLst>
            <pc:docMk/>
            <pc:sldMk cId="1339647628" sldId="586"/>
            <ac:spMk id="611" creationId="{6AA2E1F3-823E-D2E1-C5BE-7743BA5312D4}"/>
          </ac:spMkLst>
        </pc:spChg>
        <pc:spChg chg="del">
          <ac:chgData name="bullingerm.tmt22" userId="9ce3b8b2-035f-4175-b301-998b03a50e38" providerId="ADAL" clId="{D8E03A0D-8A42-4CF5-82BF-586E462557BB}" dt="2024-03-04T17:44:55.302" v="1842" actId="478"/>
          <ac:spMkLst>
            <pc:docMk/>
            <pc:sldMk cId="1339647628" sldId="586"/>
            <ac:spMk id="611" creationId="{9268CB0E-670C-5308-4E37-9F8CA07D18C6}"/>
          </ac:spMkLst>
        </pc:spChg>
        <pc:spChg chg="del">
          <ac:chgData name="bullingerm.tmt22" userId="9ce3b8b2-035f-4175-b301-998b03a50e38" providerId="ADAL" clId="{D8E03A0D-8A42-4CF5-82BF-586E462557BB}" dt="2024-03-04T17:44:55.302" v="1841" actId="478"/>
          <ac:spMkLst>
            <pc:docMk/>
            <pc:sldMk cId="1339647628" sldId="586"/>
            <ac:spMk id="612" creationId="{3A7DD458-3232-9D09-B70B-53427EDB95B8}"/>
          </ac:spMkLst>
        </pc:spChg>
        <pc:spChg chg="del">
          <ac:chgData name="bullingerm.tmt22" userId="9ce3b8b2-035f-4175-b301-998b03a50e38" providerId="ADAL" clId="{D8E03A0D-8A42-4CF5-82BF-586E462557BB}" dt="2024-03-01T10:49:07.950" v="215" actId="478"/>
          <ac:spMkLst>
            <pc:docMk/>
            <pc:sldMk cId="1339647628" sldId="586"/>
            <ac:spMk id="612" creationId="{A52C806A-FDF5-2198-64EB-9AE3A48B2D29}"/>
          </ac:spMkLst>
        </pc:spChg>
        <pc:spChg chg="del">
          <ac:chgData name="bullingerm.tmt22" userId="9ce3b8b2-035f-4175-b301-998b03a50e38" providerId="ADAL" clId="{D8E03A0D-8A42-4CF5-82BF-586E462557BB}" dt="2024-03-01T10:49:07.950" v="214" actId="478"/>
          <ac:spMkLst>
            <pc:docMk/>
            <pc:sldMk cId="1339647628" sldId="586"/>
            <ac:spMk id="613" creationId="{0D6F717A-4775-09BD-A725-B0710DD0EF66}"/>
          </ac:spMkLst>
        </pc:spChg>
        <pc:spChg chg="del">
          <ac:chgData name="bullingerm.tmt22" userId="9ce3b8b2-035f-4175-b301-998b03a50e38" providerId="ADAL" clId="{D8E03A0D-8A42-4CF5-82BF-586E462557BB}" dt="2024-03-04T17:44:55.298" v="1840" actId="478"/>
          <ac:spMkLst>
            <pc:docMk/>
            <pc:sldMk cId="1339647628" sldId="586"/>
            <ac:spMk id="613" creationId="{90242D30-7BC1-1924-BA55-D17FC71D80B3}"/>
          </ac:spMkLst>
        </pc:spChg>
        <pc:spChg chg="del">
          <ac:chgData name="bullingerm.tmt22" userId="9ce3b8b2-035f-4175-b301-998b03a50e38" providerId="ADAL" clId="{D8E03A0D-8A42-4CF5-82BF-586E462557BB}" dt="2024-03-04T17:44:55.298" v="1839" actId="478"/>
          <ac:spMkLst>
            <pc:docMk/>
            <pc:sldMk cId="1339647628" sldId="586"/>
            <ac:spMk id="614" creationId="{5BF39B7B-CD42-0A64-4522-82EA4E545A1B}"/>
          </ac:spMkLst>
        </pc:spChg>
        <pc:spChg chg="del">
          <ac:chgData name="bullingerm.tmt22" userId="9ce3b8b2-035f-4175-b301-998b03a50e38" providerId="ADAL" clId="{D8E03A0D-8A42-4CF5-82BF-586E462557BB}" dt="2024-03-01T10:49:07.950" v="213" actId="478"/>
          <ac:spMkLst>
            <pc:docMk/>
            <pc:sldMk cId="1339647628" sldId="586"/>
            <ac:spMk id="614" creationId="{92CDC235-E2BC-3742-97A3-98E10C5CA408}"/>
          </ac:spMkLst>
        </pc:spChg>
        <pc:spChg chg="del">
          <ac:chgData name="bullingerm.tmt22" userId="9ce3b8b2-035f-4175-b301-998b03a50e38" providerId="ADAL" clId="{D8E03A0D-8A42-4CF5-82BF-586E462557BB}" dt="2024-03-04T17:44:55.298" v="1838" actId="478"/>
          <ac:spMkLst>
            <pc:docMk/>
            <pc:sldMk cId="1339647628" sldId="586"/>
            <ac:spMk id="615" creationId="{16B4FA69-120E-A1DE-C331-A67FED3A5013}"/>
          </ac:spMkLst>
        </pc:spChg>
        <pc:spChg chg="del">
          <ac:chgData name="bullingerm.tmt22" userId="9ce3b8b2-035f-4175-b301-998b03a50e38" providerId="ADAL" clId="{D8E03A0D-8A42-4CF5-82BF-586E462557BB}" dt="2024-03-01T10:49:07.950" v="212" actId="478"/>
          <ac:spMkLst>
            <pc:docMk/>
            <pc:sldMk cId="1339647628" sldId="586"/>
            <ac:spMk id="615" creationId="{E7DA609D-F8CB-BC71-675E-379CACD36B1A}"/>
          </ac:spMkLst>
        </pc:spChg>
        <pc:spChg chg="del">
          <ac:chgData name="bullingerm.tmt22" userId="9ce3b8b2-035f-4175-b301-998b03a50e38" providerId="ADAL" clId="{D8E03A0D-8A42-4CF5-82BF-586E462557BB}" dt="2024-03-01T10:49:07.950" v="211" actId="478"/>
          <ac:spMkLst>
            <pc:docMk/>
            <pc:sldMk cId="1339647628" sldId="586"/>
            <ac:spMk id="616" creationId="{1A836A16-AFB3-DB63-7128-702C5FEAB0CB}"/>
          </ac:spMkLst>
        </pc:spChg>
        <pc:spChg chg="del">
          <ac:chgData name="bullingerm.tmt22" userId="9ce3b8b2-035f-4175-b301-998b03a50e38" providerId="ADAL" clId="{D8E03A0D-8A42-4CF5-82BF-586E462557BB}" dt="2024-03-04T17:44:55.298" v="1837" actId="478"/>
          <ac:spMkLst>
            <pc:docMk/>
            <pc:sldMk cId="1339647628" sldId="586"/>
            <ac:spMk id="616" creationId="{D99A6A6C-115C-8432-846B-C167D36689AE}"/>
          </ac:spMkLst>
        </pc:spChg>
        <pc:spChg chg="del">
          <ac:chgData name="bullingerm.tmt22" userId="9ce3b8b2-035f-4175-b301-998b03a50e38" providerId="ADAL" clId="{D8E03A0D-8A42-4CF5-82BF-586E462557BB}" dt="2024-03-04T17:44:55.298" v="1836" actId="478"/>
          <ac:spMkLst>
            <pc:docMk/>
            <pc:sldMk cId="1339647628" sldId="586"/>
            <ac:spMk id="617" creationId="{02ABB550-1E59-63BE-158D-1A6E403F35A4}"/>
          </ac:spMkLst>
        </pc:spChg>
        <pc:spChg chg="del">
          <ac:chgData name="bullingerm.tmt22" userId="9ce3b8b2-035f-4175-b301-998b03a50e38" providerId="ADAL" clId="{D8E03A0D-8A42-4CF5-82BF-586E462557BB}" dt="2024-03-01T10:49:07.950" v="210" actId="478"/>
          <ac:spMkLst>
            <pc:docMk/>
            <pc:sldMk cId="1339647628" sldId="586"/>
            <ac:spMk id="617" creationId="{1D0078A0-0380-85BC-E0F8-3F20F1ED8B54}"/>
          </ac:spMkLst>
        </pc:spChg>
        <pc:spChg chg="del">
          <ac:chgData name="bullingerm.tmt22" userId="9ce3b8b2-035f-4175-b301-998b03a50e38" providerId="ADAL" clId="{D8E03A0D-8A42-4CF5-82BF-586E462557BB}" dt="2024-03-04T17:44:55.298" v="1835" actId="478"/>
          <ac:spMkLst>
            <pc:docMk/>
            <pc:sldMk cId="1339647628" sldId="586"/>
            <ac:spMk id="618" creationId="{1564A151-6EE3-EF0F-8301-BE4B2D13AE1F}"/>
          </ac:spMkLst>
        </pc:spChg>
        <pc:spChg chg="del">
          <ac:chgData name="bullingerm.tmt22" userId="9ce3b8b2-035f-4175-b301-998b03a50e38" providerId="ADAL" clId="{D8E03A0D-8A42-4CF5-82BF-586E462557BB}" dt="2024-03-01T10:49:07.950" v="209" actId="478"/>
          <ac:spMkLst>
            <pc:docMk/>
            <pc:sldMk cId="1339647628" sldId="586"/>
            <ac:spMk id="618" creationId="{D45A13E9-8126-077C-D18A-264981AC15E2}"/>
          </ac:spMkLst>
        </pc:spChg>
        <pc:spChg chg="del">
          <ac:chgData name="bullingerm.tmt22" userId="9ce3b8b2-035f-4175-b301-998b03a50e38" providerId="ADAL" clId="{D8E03A0D-8A42-4CF5-82BF-586E462557BB}" dt="2024-03-04T17:44:55.298" v="1834" actId="478"/>
          <ac:spMkLst>
            <pc:docMk/>
            <pc:sldMk cId="1339647628" sldId="586"/>
            <ac:spMk id="619" creationId="{767351A3-31AB-40E2-607A-A27F7E597E52}"/>
          </ac:spMkLst>
        </pc:spChg>
        <pc:spChg chg="del">
          <ac:chgData name="bullingerm.tmt22" userId="9ce3b8b2-035f-4175-b301-998b03a50e38" providerId="ADAL" clId="{D8E03A0D-8A42-4CF5-82BF-586E462557BB}" dt="2024-03-01T10:49:07.950" v="208" actId="478"/>
          <ac:spMkLst>
            <pc:docMk/>
            <pc:sldMk cId="1339647628" sldId="586"/>
            <ac:spMk id="619" creationId="{E757ECC2-C8ED-F798-663C-F089D51CDC8B}"/>
          </ac:spMkLst>
        </pc:spChg>
        <pc:spChg chg="del">
          <ac:chgData name="bullingerm.tmt22" userId="9ce3b8b2-035f-4175-b301-998b03a50e38" providerId="ADAL" clId="{D8E03A0D-8A42-4CF5-82BF-586E462557BB}" dt="2024-03-01T10:49:07.933" v="200" actId="478"/>
          <ac:spMkLst>
            <pc:docMk/>
            <pc:sldMk cId="1339647628" sldId="586"/>
            <ac:spMk id="620" creationId="{53927781-A1E1-B975-934A-2C6F66A6BA3D}"/>
          </ac:spMkLst>
        </pc:spChg>
        <pc:spChg chg="del">
          <ac:chgData name="bullingerm.tmt22" userId="9ce3b8b2-035f-4175-b301-998b03a50e38" providerId="ADAL" clId="{D8E03A0D-8A42-4CF5-82BF-586E462557BB}" dt="2024-03-04T17:44:55.288" v="1833" actId="478"/>
          <ac:spMkLst>
            <pc:docMk/>
            <pc:sldMk cId="1339647628" sldId="586"/>
            <ac:spMk id="620" creationId="{6FFACE07-854F-073F-5E47-11163A2B8D56}"/>
          </ac:spMkLst>
        </pc:spChg>
        <pc:spChg chg="del">
          <ac:chgData name="bullingerm.tmt22" userId="9ce3b8b2-035f-4175-b301-998b03a50e38" providerId="ADAL" clId="{D8E03A0D-8A42-4CF5-82BF-586E462557BB}" dt="2024-03-01T10:49:07.933" v="193" actId="478"/>
          <ac:spMkLst>
            <pc:docMk/>
            <pc:sldMk cId="1339647628" sldId="586"/>
            <ac:spMk id="621" creationId="{72652925-1D16-8848-01B1-658C92B1F895}"/>
          </ac:spMkLst>
        </pc:spChg>
        <pc:spChg chg="del">
          <ac:chgData name="bullingerm.tmt22" userId="9ce3b8b2-035f-4175-b301-998b03a50e38" providerId="ADAL" clId="{D8E03A0D-8A42-4CF5-82BF-586E462557BB}" dt="2024-03-04T17:44:55.288" v="1832" actId="478"/>
          <ac:spMkLst>
            <pc:docMk/>
            <pc:sldMk cId="1339647628" sldId="586"/>
            <ac:spMk id="621" creationId="{CD588862-D648-B2E8-16D5-7B4CAD272728}"/>
          </ac:spMkLst>
        </pc:spChg>
        <pc:spChg chg="del">
          <ac:chgData name="bullingerm.tmt22" userId="9ce3b8b2-035f-4175-b301-998b03a50e38" providerId="ADAL" clId="{D8E03A0D-8A42-4CF5-82BF-586E462557BB}" dt="2024-03-01T10:49:07.933" v="201" actId="478"/>
          <ac:spMkLst>
            <pc:docMk/>
            <pc:sldMk cId="1339647628" sldId="586"/>
            <ac:spMk id="622" creationId="{309F3981-951A-8FBB-E1C3-4BB874935B00}"/>
          </ac:spMkLst>
        </pc:spChg>
        <pc:spChg chg="del">
          <ac:chgData name="bullingerm.tmt22" userId="9ce3b8b2-035f-4175-b301-998b03a50e38" providerId="ADAL" clId="{D8E03A0D-8A42-4CF5-82BF-586E462557BB}" dt="2024-03-04T17:44:55.288" v="1831" actId="478"/>
          <ac:spMkLst>
            <pc:docMk/>
            <pc:sldMk cId="1339647628" sldId="586"/>
            <ac:spMk id="622" creationId="{6C65F49B-A465-1AB3-6214-FA45A2F57388}"/>
          </ac:spMkLst>
        </pc:spChg>
        <pc:spChg chg="del">
          <ac:chgData name="bullingerm.tmt22" userId="9ce3b8b2-035f-4175-b301-998b03a50e38" providerId="ADAL" clId="{D8E03A0D-8A42-4CF5-82BF-586E462557BB}" dt="2024-03-04T17:44:55.288" v="1830" actId="478"/>
          <ac:spMkLst>
            <pc:docMk/>
            <pc:sldMk cId="1339647628" sldId="586"/>
            <ac:spMk id="623" creationId="{23F07F4C-E7AD-337F-4815-C12773D3D0E0}"/>
          </ac:spMkLst>
        </pc:spChg>
        <pc:spChg chg="del">
          <ac:chgData name="bullingerm.tmt22" userId="9ce3b8b2-035f-4175-b301-998b03a50e38" providerId="ADAL" clId="{D8E03A0D-8A42-4CF5-82BF-586E462557BB}" dt="2024-03-01T10:49:07.933" v="192" actId="478"/>
          <ac:spMkLst>
            <pc:docMk/>
            <pc:sldMk cId="1339647628" sldId="586"/>
            <ac:spMk id="623" creationId="{822E0A59-5767-C738-DE3B-DCDE882FA851}"/>
          </ac:spMkLst>
        </pc:spChg>
        <pc:spChg chg="del">
          <ac:chgData name="bullingerm.tmt22" userId="9ce3b8b2-035f-4175-b301-998b03a50e38" providerId="ADAL" clId="{D8E03A0D-8A42-4CF5-82BF-586E462557BB}" dt="2024-03-04T17:44:55.288" v="1829" actId="478"/>
          <ac:spMkLst>
            <pc:docMk/>
            <pc:sldMk cId="1339647628" sldId="586"/>
            <ac:spMk id="624" creationId="{58E6B334-F071-D9BE-0E44-B8CC57CF5A89}"/>
          </ac:spMkLst>
        </pc:spChg>
        <pc:spChg chg="del">
          <ac:chgData name="bullingerm.tmt22" userId="9ce3b8b2-035f-4175-b301-998b03a50e38" providerId="ADAL" clId="{D8E03A0D-8A42-4CF5-82BF-586E462557BB}" dt="2024-03-01T10:49:07.933" v="191" actId="478"/>
          <ac:spMkLst>
            <pc:docMk/>
            <pc:sldMk cId="1339647628" sldId="586"/>
            <ac:spMk id="624" creationId="{CAE2376D-C0AE-E13B-4B35-2FA9ABFB8330}"/>
          </ac:spMkLst>
        </pc:spChg>
        <pc:spChg chg="replST">
          <ac:chgData name="bullingerm.tmt22" userId="9ce3b8b2-035f-4175-b301-998b03a50e38" providerId="ADAL" clId="{D8E03A0D-8A42-4CF5-82BF-586E462557BB}" dt="2024-03-04T17:44:55.719" v="2145"/>
          <ac:spMkLst>
            <pc:docMk/>
            <pc:sldMk cId="1339647628" sldId="586"/>
            <ac:spMk id="625" creationId="{37F53D1A-F8AB-8E61-B0DC-CE3620CDF0AA}"/>
          </ac:spMkLst>
        </pc:spChg>
        <pc:spChg chg="del">
          <ac:chgData name="bullingerm.tmt22" userId="9ce3b8b2-035f-4175-b301-998b03a50e38" providerId="ADAL" clId="{D8E03A0D-8A42-4CF5-82BF-586E462557BB}" dt="2024-03-01T10:49:07.886" v="170" actId="478"/>
          <ac:spMkLst>
            <pc:docMk/>
            <pc:sldMk cId="1339647628" sldId="586"/>
            <ac:spMk id="625" creationId="{AB3B255B-A8D1-DB39-486E-396097FF1E10}"/>
          </ac:spMkLst>
        </pc:spChg>
        <pc:spChg chg="replST">
          <ac:chgData name="bullingerm.tmt22" userId="9ce3b8b2-035f-4175-b301-998b03a50e38" providerId="ADAL" clId="{D8E03A0D-8A42-4CF5-82BF-586E462557BB}" dt="2024-03-04T17:44:55.733" v="2148"/>
          <ac:spMkLst>
            <pc:docMk/>
            <pc:sldMk cId="1339647628" sldId="586"/>
            <ac:spMk id="626" creationId="{E4C1E696-80A7-B2A6-7F67-9D2D5E9369EF}"/>
          </ac:spMkLst>
        </pc:spChg>
        <pc:spChg chg="del">
          <ac:chgData name="bullingerm.tmt22" userId="9ce3b8b2-035f-4175-b301-998b03a50e38" providerId="ADAL" clId="{D8E03A0D-8A42-4CF5-82BF-586E462557BB}" dt="2024-03-01T10:49:07.933" v="190" actId="478"/>
          <ac:spMkLst>
            <pc:docMk/>
            <pc:sldMk cId="1339647628" sldId="586"/>
            <ac:spMk id="626" creationId="{F70DED5B-A5AF-2CDE-435A-DB236294B692}"/>
          </ac:spMkLst>
        </pc:spChg>
        <pc:spChg chg="del">
          <ac:chgData name="bullingerm.tmt22" userId="9ce3b8b2-035f-4175-b301-998b03a50e38" providerId="ADAL" clId="{D8E03A0D-8A42-4CF5-82BF-586E462557BB}" dt="2024-03-01T10:49:07.933" v="189" actId="478"/>
          <ac:spMkLst>
            <pc:docMk/>
            <pc:sldMk cId="1339647628" sldId="586"/>
            <ac:spMk id="627" creationId="{4ACCECEB-2733-4092-997C-2C4B5343A626}"/>
          </ac:spMkLst>
        </pc:spChg>
        <pc:spChg chg="replST">
          <ac:chgData name="bullingerm.tmt22" userId="9ce3b8b2-035f-4175-b301-998b03a50e38" providerId="ADAL" clId="{D8E03A0D-8A42-4CF5-82BF-586E462557BB}" dt="2024-03-04T17:44:55.738" v="2152"/>
          <ac:spMkLst>
            <pc:docMk/>
            <pc:sldMk cId="1339647628" sldId="586"/>
            <ac:spMk id="628" creationId="{26BDA67D-20A3-EAE0-93D5-AF39C30BBB3C}"/>
          </ac:spMkLst>
        </pc:spChg>
        <pc:spChg chg="del">
          <ac:chgData name="bullingerm.tmt22" userId="9ce3b8b2-035f-4175-b301-998b03a50e38" providerId="ADAL" clId="{D8E03A0D-8A42-4CF5-82BF-586E462557BB}" dt="2024-03-01T10:49:07.933" v="188" actId="478"/>
          <ac:spMkLst>
            <pc:docMk/>
            <pc:sldMk cId="1339647628" sldId="586"/>
            <ac:spMk id="628" creationId="{B50BAC8E-3C5D-B154-3A6A-A5E585A353D4}"/>
          </ac:spMkLst>
        </pc:spChg>
        <pc:spChg chg="del">
          <ac:chgData name="bullingerm.tmt22" userId="9ce3b8b2-035f-4175-b301-998b03a50e38" providerId="ADAL" clId="{D8E03A0D-8A42-4CF5-82BF-586E462557BB}" dt="2024-03-01T10:49:07.933" v="187" actId="478"/>
          <ac:spMkLst>
            <pc:docMk/>
            <pc:sldMk cId="1339647628" sldId="586"/>
            <ac:spMk id="629" creationId="{E3502B27-FE72-37B5-5EB5-74101EAD4917}"/>
          </ac:spMkLst>
        </pc:spChg>
        <pc:spChg chg="replST">
          <ac:chgData name="bullingerm.tmt22" userId="9ce3b8b2-035f-4175-b301-998b03a50e38" providerId="ADAL" clId="{D8E03A0D-8A42-4CF5-82BF-586E462557BB}" dt="2024-03-04T17:44:55.749" v="2155"/>
          <ac:spMkLst>
            <pc:docMk/>
            <pc:sldMk cId="1339647628" sldId="586"/>
            <ac:spMk id="629" creationId="{E9F7E1FB-235B-4E0F-CF84-2C1F5F54A2D4}"/>
          </ac:spMkLst>
        </pc:spChg>
        <pc:spChg chg="del">
          <ac:chgData name="bullingerm.tmt22" userId="9ce3b8b2-035f-4175-b301-998b03a50e38" providerId="ADAL" clId="{D8E03A0D-8A42-4CF5-82BF-586E462557BB}" dt="2024-03-01T10:49:07.933" v="186" actId="478"/>
          <ac:spMkLst>
            <pc:docMk/>
            <pc:sldMk cId="1339647628" sldId="586"/>
            <ac:spMk id="630" creationId="{12656948-E227-15BA-1A79-1FC6FE682C9B}"/>
          </ac:spMkLst>
        </pc:spChg>
        <pc:spChg chg="replST">
          <ac:chgData name="bullingerm.tmt22" userId="9ce3b8b2-035f-4175-b301-998b03a50e38" providerId="ADAL" clId="{D8E03A0D-8A42-4CF5-82BF-586E462557BB}" dt="2024-03-04T17:44:55.758" v="2159"/>
          <ac:spMkLst>
            <pc:docMk/>
            <pc:sldMk cId="1339647628" sldId="586"/>
            <ac:spMk id="631" creationId="{6BD8BB83-4EF2-6CC9-271F-D60EC5F50C72}"/>
          </ac:spMkLst>
        </pc:spChg>
        <pc:spChg chg="del">
          <ac:chgData name="bullingerm.tmt22" userId="9ce3b8b2-035f-4175-b301-998b03a50e38" providerId="ADAL" clId="{D8E03A0D-8A42-4CF5-82BF-586E462557BB}" dt="2024-03-01T10:49:07.933" v="185" actId="478"/>
          <ac:spMkLst>
            <pc:docMk/>
            <pc:sldMk cId="1339647628" sldId="586"/>
            <ac:spMk id="631" creationId="{A62AE652-9DF6-9D5D-9973-977048BC5D90}"/>
          </ac:spMkLst>
        </pc:spChg>
        <pc:spChg chg="del">
          <ac:chgData name="bullingerm.tmt22" userId="9ce3b8b2-035f-4175-b301-998b03a50e38" providerId="ADAL" clId="{D8E03A0D-8A42-4CF5-82BF-586E462557BB}" dt="2024-03-01T10:49:07.933" v="184" actId="478"/>
          <ac:spMkLst>
            <pc:docMk/>
            <pc:sldMk cId="1339647628" sldId="586"/>
            <ac:spMk id="632" creationId="{A1AB5CD0-7597-3DF2-087E-5B4649CA2344}"/>
          </ac:spMkLst>
        </pc:spChg>
        <pc:spChg chg="replST">
          <ac:chgData name="bullingerm.tmt22" userId="9ce3b8b2-035f-4175-b301-998b03a50e38" providerId="ADAL" clId="{D8E03A0D-8A42-4CF5-82BF-586E462557BB}" dt="2024-03-04T17:44:55.763" v="2162"/>
          <ac:spMkLst>
            <pc:docMk/>
            <pc:sldMk cId="1339647628" sldId="586"/>
            <ac:spMk id="632" creationId="{D1AF796E-C682-E95C-235F-FE769008188E}"/>
          </ac:spMkLst>
        </pc:spChg>
        <pc:spChg chg="del">
          <ac:chgData name="bullingerm.tmt22" userId="9ce3b8b2-035f-4175-b301-998b03a50e38" providerId="ADAL" clId="{D8E03A0D-8A42-4CF5-82BF-586E462557BB}" dt="2024-03-01T10:49:07.933" v="183" actId="478"/>
          <ac:spMkLst>
            <pc:docMk/>
            <pc:sldMk cId="1339647628" sldId="586"/>
            <ac:spMk id="633" creationId="{C19F032F-36BE-B35F-DE28-1E4C35DBC8D4}"/>
          </ac:spMkLst>
        </pc:spChg>
        <pc:spChg chg="del">
          <ac:chgData name="bullingerm.tmt22" userId="9ce3b8b2-035f-4175-b301-998b03a50e38" providerId="ADAL" clId="{D8E03A0D-8A42-4CF5-82BF-586E462557BB}" dt="2024-03-01T10:49:07.933" v="182" actId="478"/>
          <ac:spMkLst>
            <pc:docMk/>
            <pc:sldMk cId="1339647628" sldId="586"/>
            <ac:spMk id="634" creationId="{27B3E5B8-E9FB-D3BD-162B-A437731B87B8}"/>
          </ac:spMkLst>
        </pc:spChg>
        <pc:spChg chg="replST">
          <ac:chgData name="bullingerm.tmt22" userId="9ce3b8b2-035f-4175-b301-998b03a50e38" providerId="ADAL" clId="{D8E03A0D-8A42-4CF5-82BF-586E462557BB}" dt="2024-03-04T17:44:55.769" v="2166"/>
          <ac:spMkLst>
            <pc:docMk/>
            <pc:sldMk cId="1339647628" sldId="586"/>
            <ac:spMk id="634" creationId="{47D4D394-C2A5-5949-6AA5-C6D510F0BCA3}"/>
          </ac:spMkLst>
        </pc:spChg>
        <pc:spChg chg="del">
          <ac:chgData name="bullingerm.tmt22" userId="9ce3b8b2-035f-4175-b301-998b03a50e38" providerId="ADAL" clId="{D8E03A0D-8A42-4CF5-82BF-586E462557BB}" dt="2024-03-01T10:49:07.933" v="181" actId="478"/>
          <ac:spMkLst>
            <pc:docMk/>
            <pc:sldMk cId="1339647628" sldId="586"/>
            <ac:spMk id="635" creationId="{7AA85FA4-5C82-E4D5-D051-D539277D7953}"/>
          </ac:spMkLst>
        </pc:spChg>
        <pc:spChg chg="replST">
          <ac:chgData name="bullingerm.tmt22" userId="9ce3b8b2-035f-4175-b301-998b03a50e38" providerId="ADAL" clId="{D8E03A0D-8A42-4CF5-82BF-586E462557BB}" dt="2024-03-04T17:44:55.778" v="2169"/>
          <ac:spMkLst>
            <pc:docMk/>
            <pc:sldMk cId="1339647628" sldId="586"/>
            <ac:spMk id="635" creationId="{AE435864-F4E5-00A6-5B32-10CCF38380AD}"/>
          </ac:spMkLst>
        </pc:spChg>
        <pc:spChg chg="del">
          <ac:chgData name="bullingerm.tmt22" userId="9ce3b8b2-035f-4175-b301-998b03a50e38" providerId="ADAL" clId="{D8E03A0D-8A42-4CF5-82BF-586E462557BB}" dt="2024-03-01T10:49:07.933" v="180" actId="478"/>
          <ac:spMkLst>
            <pc:docMk/>
            <pc:sldMk cId="1339647628" sldId="586"/>
            <ac:spMk id="636" creationId="{CAA3531F-8F84-0661-504E-01FB6A1E7FC8}"/>
          </ac:spMkLst>
        </pc:spChg>
        <pc:spChg chg="replST">
          <ac:chgData name="bullingerm.tmt22" userId="9ce3b8b2-035f-4175-b301-998b03a50e38" providerId="ADAL" clId="{D8E03A0D-8A42-4CF5-82BF-586E462557BB}" dt="2024-03-04T17:44:55.786" v="2173"/>
          <ac:spMkLst>
            <pc:docMk/>
            <pc:sldMk cId="1339647628" sldId="586"/>
            <ac:spMk id="637" creationId="{91F8C5A0-9E84-B642-B99F-5DCF65F1CF37}"/>
          </ac:spMkLst>
        </pc:spChg>
        <pc:spChg chg="del">
          <ac:chgData name="bullingerm.tmt22" userId="9ce3b8b2-035f-4175-b301-998b03a50e38" providerId="ADAL" clId="{D8E03A0D-8A42-4CF5-82BF-586E462557BB}" dt="2024-03-01T10:49:07.933" v="179" actId="478"/>
          <ac:spMkLst>
            <pc:docMk/>
            <pc:sldMk cId="1339647628" sldId="586"/>
            <ac:spMk id="637" creationId="{B1386329-5481-43B3-8A8D-91AD65CB3764}"/>
          </ac:spMkLst>
        </pc:spChg>
        <pc:spChg chg="replST">
          <ac:chgData name="bullingerm.tmt22" userId="9ce3b8b2-035f-4175-b301-998b03a50e38" providerId="ADAL" clId="{D8E03A0D-8A42-4CF5-82BF-586E462557BB}" dt="2024-03-01T10:49:08.382" v="541"/>
          <ac:spMkLst>
            <pc:docMk/>
            <pc:sldMk cId="1339647628" sldId="586"/>
            <ac:spMk id="639" creationId="{2DA164CE-D0DC-D66F-804A-40DF2966896F}"/>
          </ac:spMkLst>
        </pc:spChg>
        <pc:spChg chg="replST">
          <ac:chgData name="bullingerm.tmt22" userId="9ce3b8b2-035f-4175-b301-998b03a50e38" providerId="ADAL" clId="{D8E03A0D-8A42-4CF5-82BF-586E462557BB}" dt="2024-03-01T10:49:08.392" v="544"/>
          <ac:spMkLst>
            <pc:docMk/>
            <pc:sldMk cId="1339647628" sldId="586"/>
            <ac:spMk id="640" creationId="{23B3D30A-0948-D82D-A98C-2D9F10433B97}"/>
          </ac:spMkLst>
        </pc:spChg>
        <pc:spChg chg="replST">
          <ac:chgData name="bullingerm.tmt22" userId="9ce3b8b2-035f-4175-b301-998b03a50e38" providerId="ADAL" clId="{D8E03A0D-8A42-4CF5-82BF-586E462557BB}" dt="2024-03-01T10:49:08.407" v="548"/>
          <ac:spMkLst>
            <pc:docMk/>
            <pc:sldMk cId="1339647628" sldId="586"/>
            <ac:spMk id="642" creationId="{A4CC09F5-DF63-F36F-24EC-858AD3F046DF}"/>
          </ac:spMkLst>
        </pc:spChg>
        <pc:spChg chg="replST">
          <ac:chgData name="bullingerm.tmt22" userId="9ce3b8b2-035f-4175-b301-998b03a50e38" providerId="ADAL" clId="{D8E03A0D-8A42-4CF5-82BF-586E462557BB}" dt="2024-03-01T10:49:08.407" v="551"/>
          <ac:spMkLst>
            <pc:docMk/>
            <pc:sldMk cId="1339647628" sldId="586"/>
            <ac:spMk id="643" creationId="{2B97B2B0-BFA3-8FCA-538B-C9AC10FADE2F}"/>
          </ac:spMkLst>
        </pc:spChg>
        <pc:spChg chg="replST">
          <ac:chgData name="bullingerm.tmt22" userId="9ce3b8b2-035f-4175-b301-998b03a50e38" providerId="ADAL" clId="{D8E03A0D-8A42-4CF5-82BF-586E462557BB}" dt="2024-03-01T10:49:08.425" v="555"/>
          <ac:spMkLst>
            <pc:docMk/>
            <pc:sldMk cId="1339647628" sldId="586"/>
            <ac:spMk id="645" creationId="{1DD98CF3-FF6C-3B1A-CAA4-27583AE8E37A}"/>
          </ac:spMkLst>
        </pc:spChg>
        <pc:spChg chg="mod replST">
          <ac:chgData name="bullingerm.tmt22" userId="9ce3b8b2-035f-4175-b301-998b03a50e38" providerId="ADAL" clId="{D8E03A0D-8A42-4CF5-82BF-586E462557BB}" dt="2024-03-04T17:30:13.263" v="1767" actId="20577"/>
          <ac:spMkLst>
            <pc:docMk/>
            <pc:sldMk cId="1339647628" sldId="586"/>
            <ac:spMk id="646" creationId="{CE4D3C5A-E139-6188-ED1C-BF643ED2DE8A}"/>
          </ac:spMkLst>
        </pc:spChg>
        <pc:spChg chg="replST">
          <ac:chgData name="bullingerm.tmt22" userId="9ce3b8b2-035f-4175-b301-998b03a50e38" providerId="ADAL" clId="{D8E03A0D-8A42-4CF5-82BF-586E462557BB}" dt="2024-03-01T10:49:08.441" v="562"/>
          <ac:spMkLst>
            <pc:docMk/>
            <pc:sldMk cId="1339647628" sldId="586"/>
            <ac:spMk id="648" creationId="{B4446CCA-E595-DE10-5AF1-D3C69280AAE9}"/>
          </ac:spMkLst>
        </pc:spChg>
        <pc:spChg chg="replST">
          <ac:chgData name="bullingerm.tmt22" userId="9ce3b8b2-035f-4175-b301-998b03a50e38" providerId="ADAL" clId="{D8E03A0D-8A42-4CF5-82BF-586E462557BB}" dt="2024-03-01T10:49:08.445" v="565"/>
          <ac:spMkLst>
            <pc:docMk/>
            <pc:sldMk cId="1339647628" sldId="586"/>
            <ac:spMk id="649" creationId="{510E9AD1-AFC5-E58B-66A7-37AC38FAD898}"/>
          </ac:spMkLst>
        </pc:spChg>
        <pc:spChg chg="replST">
          <ac:chgData name="bullingerm.tmt22" userId="9ce3b8b2-035f-4175-b301-998b03a50e38" providerId="ADAL" clId="{D8E03A0D-8A42-4CF5-82BF-586E462557BB}" dt="2024-03-01T10:49:08.454" v="569"/>
          <ac:spMkLst>
            <pc:docMk/>
            <pc:sldMk cId="1339647628" sldId="586"/>
            <ac:spMk id="651" creationId="{EAFC8809-672F-D6E6-7399-4169173C01BF}"/>
          </ac:spMkLst>
        </pc:spChg>
        <pc:spChg chg="del replST">
          <ac:chgData name="bullingerm.tmt22" userId="9ce3b8b2-035f-4175-b301-998b03a50e38" providerId="ADAL" clId="{D8E03A0D-8A42-4CF5-82BF-586E462557BB}" dt="2024-03-04T17:31:18.690" v="1768" actId="478"/>
          <ac:spMkLst>
            <pc:docMk/>
            <pc:sldMk cId="1339647628" sldId="586"/>
            <ac:spMk id="652" creationId="{45DB5629-AB51-3112-1434-40888E4C5453}"/>
          </ac:spMkLst>
        </pc:spChg>
        <pc:spChg chg="replST">
          <ac:chgData name="bullingerm.tmt22" userId="9ce3b8b2-035f-4175-b301-998b03a50e38" providerId="ADAL" clId="{D8E03A0D-8A42-4CF5-82BF-586E462557BB}" dt="2024-03-01T10:49:08.458" v="576"/>
          <ac:spMkLst>
            <pc:docMk/>
            <pc:sldMk cId="1339647628" sldId="586"/>
            <ac:spMk id="654" creationId="{16620777-C6A2-F6CE-F5DC-A46FB2EA49B8}"/>
          </ac:spMkLst>
        </pc:spChg>
        <pc:spChg chg="replST">
          <ac:chgData name="bullingerm.tmt22" userId="9ce3b8b2-035f-4175-b301-998b03a50e38" providerId="ADAL" clId="{D8E03A0D-8A42-4CF5-82BF-586E462557BB}" dt="2024-03-01T10:49:08.492" v="579"/>
          <ac:spMkLst>
            <pc:docMk/>
            <pc:sldMk cId="1339647628" sldId="586"/>
            <ac:spMk id="655" creationId="{FB9CE4B6-177D-2F9D-CB61-D4F02D02405B}"/>
          </ac:spMkLst>
        </pc:spChg>
        <pc:spChg chg="replST">
          <ac:chgData name="bullingerm.tmt22" userId="9ce3b8b2-035f-4175-b301-998b03a50e38" providerId="ADAL" clId="{D8E03A0D-8A42-4CF5-82BF-586E462557BB}" dt="2024-03-01T10:49:08.508" v="583"/>
          <ac:spMkLst>
            <pc:docMk/>
            <pc:sldMk cId="1339647628" sldId="586"/>
            <ac:spMk id="657" creationId="{2EEC6DF2-662F-ABC3-D035-7C9FE5BAD9C7}"/>
          </ac:spMkLst>
        </pc:spChg>
        <pc:spChg chg="replST">
          <ac:chgData name="bullingerm.tmt22" userId="9ce3b8b2-035f-4175-b301-998b03a50e38" providerId="ADAL" clId="{D8E03A0D-8A42-4CF5-82BF-586E462557BB}" dt="2024-03-01T10:49:08.523" v="586"/>
          <ac:spMkLst>
            <pc:docMk/>
            <pc:sldMk cId="1339647628" sldId="586"/>
            <ac:spMk id="658" creationId="{8C6F0FCD-E2C7-8896-ABA0-6D6DECBE893A}"/>
          </ac:spMkLst>
        </pc:spChg>
        <pc:spChg chg="replST">
          <ac:chgData name="bullingerm.tmt22" userId="9ce3b8b2-035f-4175-b301-998b03a50e38" providerId="ADAL" clId="{D8E03A0D-8A42-4CF5-82BF-586E462557BB}" dt="2024-03-04T17:44:55.794" v="2176"/>
          <ac:spMkLst>
            <pc:docMk/>
            <pc:sldMk cId="1339647628" sldId="586"/>
            <ac:spMk id="661" creationId="{45AA96D3-64FD-67A6-0A87-B9506CBBB111}"/>
          </ac:spMkLst>
        </pc:spChg>
        <pc:spChg chg="replST">
          <ac:chgData name="bullingerm.tmt22" userId="9ce3b8b2-035f-4175-b301-998b03a50e38" providerId="ADAL" clId="{D8E03A0D-8A42-4CF5-82BF-586E462557BB}" dt="2024-03-04T17:44:55.803" v="2180"/>
          <ac:spMkLst>
            <pc:docMk/>
            <pc:sldMk cId="1339647628" sldId="586"/>
            <ac:spMk id="663" creationId="{13354F43-D5AB-CF9E-F5E8-0B70F264C209}"/>
          </ac:spMkLst>
        </pc:spChg>
        <pc:spChg chg="replST">
          <ac:chgData name="bullingerm.tmt22" userId="9ce3b8b2-035f-4175-b301-998b03a50e38" providerId="ADAL" clId="{D8E03A0D-8A42-4CF5-82BF-586E462557BB}" dt="2024-03-04T17:44:55.808" v="2183"/>
          <ac:spMkLst>
            <pc:docMk/>
            <pc:sldMk cId="1339647628" sldId="586"/>
            <ac:spMk id="664" creationId="{7122333E-F2B6-4C6E-DD4F-AC44042F92F2}"/>
          </ac:spMkLst>
        </pc:spChg>
        <pc:spChg chg="add mod">
          <ac:chgData name="bullingerm.tmt22" userId="9ce3b8b2-035f-4175-b301-998b03a50e38" providerId="ADAL" clId="{D8E03A0D-8A42-4CF5-82BF-586E462557BB}" dt="2024-03-04T17:44:55.250" v="1820" actId="478"/>
          <ac:spMkLst>
            <pc:docMk/>
            <pc:sldMk cId="1339647628" sldId="586"/>
            <ac:spMk id="681" creationId="{DE3F2249-3E0F-A1CD-3030-3F4F67738793}"/>
          </ac:spMkLst>
        </pc:spChg>
        <pc:spChg chg="mod ord replST">
          <ac:chgData name="bullingerm.tmt22" userId="9ce3b8b2-035f-4175-b301-998b03a50e38" providerId="ADAL" clId="{D8E03A0D-8A42-4CF5-82BF-586E462557BB}" dt="2024-03-04T17:44:55.819" v="2186"/>
          <ac:spMkLst>
            <pc:docMk/>
            <pc:sldMk cId="1339647628" sldId="586"/>
            <ac:spMk id="682" creationId="{CC6749E5-28F3-2790-E28D-1CB1CDA1C7ED}"/>
          </ac:spMkLst>
        </pc:spChg>
        <pc:spChg chg="del">
          <ac:chgData name="bullingerm.tmt22" userId="9ce3b8b2-035f-4175-b301-998b03a50e38" providerId="ADAL" clId="{D8E03A0D-8A42-4CF5-82BF-586E462557BB}" dt="2024-03-04T17:44:55.308" v="1857" actId="478"/>
          <ac:spMkLst>
            <pc:docMk/>
            <pc:sldMk cId="1339647628" sldId="586"/>
            <ac:spMk id="683" creationId="{538B26F4-F507-A20C-424C-711B0626C5E3}"/>
          </ac:spMkLst>
        </pc:spChg>
        <pc:spChg chg="del">
          <ac:chgData name="bullingerm.tmt22" userId="9ce3b8b2-035f-4175-b301-998b03a50e38" providerId="ADAL" clId="{D8E03A0D-8A42-4CF5-82BF-586E462557BB}" dt="2024-03-04T17:44:55.308" v="1856" actId="478"/>
          <ac:spMkLst>
            <pc:docMk/>
            <pc:sldMk cId="1339647628" sldId="586"/>
            <ac:spMk id="684" creationId="{675581BC-4294-9A11-FB3B-49DD30215AD4}"/>
          </ac:spMkLst>
        </pc:spChg>
        <pc:spChg chg="del">
          <ac:chgData name="bullingerm.tmt22" userId="9ce3b8b2-035f-4175-b301-998b03a50e38" providerId="ADAL" clId="{D8E03A0D-8A42-4CF5-82BF-586E462557BB}" dt="2024-03-04T17:44:55.308" v="1855" actId="478"/>
          <ac:spMkLst>
            <pc:docMk/>
            <pc:sldMk cId="1339647628" sldId="586"/>
            <ac:spMk id="685" creationId="{0D6D0ABB-DE49-F5C7-DE5C-1631D9F058D5}"/>
          </ac:spMkLst>
        </pc:spChg>
        <pc:spChg chg="del">
          <ac:chgData name="bullingerm.tmt22" userId="9ce3b8b2-035f-4175-b301-998b03a50e38" providerId="ADAL" clId="{D8E03A0D-8A42-4CF5-82BF-586E462557BB}" dt="2024-03-04T17:44:55.308" v="1854" actId="478"/>
          <ac:spMkLst>
            <pc:docMk/>
            <pc:sldMk cId="1339647628" sldId="586"/>
            <ac:spMk id="686" creationId="{386DC3A9-CF02-2A8E-21BD-9FD426D37A7C}"/>
          </ac:spMkLst>
        </pc:spChg>
        <pc:spChg chg="del">
          <ac:chgData name="bullingerm.tmt22" userId="9ce3b8b2-035f-4175-b301-998b03a50e38" providerId="ADAL" clId="{D8E03A0D-8A42-4CF5-82BF-586E462557BB}" dt="2024-03-04T17:44:55.308" v="1853" actId="478"/>
          <ac:spMkLst>
            <pc:docMk/>
            <pc:sldMk cId="1339647628" sldId="586"/>
            <ac:spMk id="687" creationId="{ED33402D-4EB8-47FC-DD8F-9E5D107D1035}"/>
          </ac:spMkLst>
        </pc:spChg>
        <pc:spChg chg="del">
          <ac:chgData name="bullingerm.tmt22" userId="9ce3b8b2-035f-4175-b301-998b03a50e38" providerId="ADAL" clId="{D8E03A0D-8A42-4CF5-82BF-586E462557BB}" dt="2024-03-04T17:44:55.308" v="1852" actId="478"/>
          <ac:spMkLst>
            <pc:docMk/>
            <pc:sldMk cId="1339647628" sldId="586"/>
            <ac:spMk id="688" creationId="{FC516B33-69CB-B0D6-1C6A-A536198A1A63}"/>
          </ac:spMkLst>
        </pc:spChg>
        <pc:spChg chg="del">
          <ac:chgData name="bullingerm.tmt22" userId="9ce3b8b2-035f-4175-b301-998b03a50e38" providerId="ADAL" clId="{D8E03A0D-8A42-4CF5-82BF-586E462557BB}" dt="2024-03-04T17:44:55.302" v="1849" actId="478"/>
          <ac:spMkLst>
            <pc:docMk/>
            <pc:sldMk cId="1339647628" sldId="586"/>
            <ac:spMk id="689" creationId="{27D6497F-5F4D-2940-6A00-D1F84A47E12A}"/>
          </ac:spMkLst>
        </pc:spChg>
        <pc:spChg chg="del">
          <ac:chgData name="bullingerm.tmt22" userId="9ce3b8b2-035f-4175-b301-998b03a50e38" providerId="ADAL" clId="{D8E03A0D-8A42-4CF5-82BF-586E462557BB}" dt="2024-03-04T17:44:55.302" v="1848" actId="478"/>
          <ac:spMkLst>
            <pc:docMk/>
            <pc:sldMk cId="1339647628" sldId="586"/>
            <ac:spMk id="690" creationId="{0F39B2CA-573D-DCCE-C0D0-93EB8D6E18C1}"/>
          </ac:spMkLst>
        </pc:spChg>
        <pc:spChg chg="del">
          <ac:chgData name="bullingerm.tmt22" userId="9ce3b8b2-035f-4175-b301-998b03a50e38" providerId="ADAL" clId="{D8E03A0D-8A42-4CF5-82BF-586E462557BB}" dt="2024-03-04T17:44:55.302" v="1847" actId="478"/>
          <ac:spMkLst>
            <pc:docMk/>
            <pc:sldMk cId="1339647628" sldId="586"/>
            <ac:spMk id="691" creationId="{F3FF3EA8-F3CC-F4B6-20B3-88B56DD22847}"/>
          </ac:spMkLst>
        </pc:spChg>
        <pc:spChg chg="del">
          <ac:chgData name="bullingerm.tmt22" userId="9ce3b8b2-035f-4175-b301-998b03a50e38" providerId="ADAL" clId="{D8E03A0D-8A42-4CF5-82BF-586E462557BB}" dt="2024-03-04T17:44:55.302" v="1846" actId="478"/>
          <ac:spMkLst>
            <pc:docMk/>
            <pc:sldMk cId="1339647628" sldId="586"/>
            <ac:spMk id="692" creationId="{72AEF872-5E50-0B78-0EA7-8F647612C257}"/>
          </ac:spMkLst>
        </pc:spChg>
        <pc:spChg chg="del">
          <ac:chgData name="bullingerm.tmt22" userId="9ce3b8b2-035f-4175-b301-998b03a50e38" providerId="ADAL" clId="{D8E03A0D-8A42-4CF5-82BF-586E462557BB}" dt="2024-03-04T17:44:55.302" v="1845" actId="478"/>
          <ac:spMkLst>
            <pc:docMk/>
            <pc:sldMk cId="1339647628" sldId="586"/>
            <ac:spMk id="693" creationId="{4200F37D-B87A-DB2D-0E98-675C635B2CFE}"/>
          </ac:spMkLst>
        </pc:spChg>
        <pc:spChg chg="del">
          <ac:chgData name="bullingerm.tmt22" userId="9ce3b8b2-035f-4175-b301-998b03a50e38" providerId="ADAL" clId="{D8E03A0D-8A42-4CF5-82BF-586E462557BB}" dt="2024-03-04T17:44:55.302" v="1844" actId="478"/>
          <ac:spMkLst>
            <pc:docMk/>
            <pc:sldMk cId="1339647628" sldId="586"/>
            <ac:spMk id="694" creationId="{192A0103-850D-E209-D1EC-9B220B8CE0EE}"/>
          </ac:spMkLst>
        </pc:spChg>
        <pc:spChg chg="add mod">
          <ac:chgData name="bullingerm.tmt22" userId="9ce3b8b2-035f-4175-b301-998b03a50e38" providerId="ADAL" clId="{D8E03A0D-8A42-4CF5-82BF-586E462557BB}" dt="2024-03-01T10:49:07.886" v="170" actId="478"/>
          <ac:spMkLst>
            <pc:docMk/>
            <pc:sldMk cId="1339647628" sldId="586"/>
            <ac:spMk id="694" creationId="{D2447ED5-A992-B032-539B-8D7FED907790}"/>
          </ac:spMkLst>
        </pc:spChg>
        <pc:spChg chg="del mod ord replST">
          <ac:chgData name="bullingerm.tmt22" userId="9ce3b8b2-035f-4175-b301-998b03a50e38" providerId="ADAL" clId="{D8E03A0D-8A42-4CF5-82BF-586E462557BB}" dt="2024-03-04T17:44:55.250" v="1820" actId="478"/>
          <ac:spMkLst>
            <pc:docMk/>
            <pc:sldMk cId="1339647628" sldId="586"/>
            <ac:spMk id="695" creationId="{06A695DA-8450-7557-A90D-6E2C1BC47376}"/>
          </ac:spMkLst>
        </pc:spChg>
        <pc:spChg chg="del">
          <ac:chgData name="bullingerm.tmt22" userId="9ce3b8b2-035f-4175-b301-998b03a50e38" providerId="ADAL" clId="{D8E03A0D-8A42-4CF5-82BF-586E462557BB}" dt="2024-03-04T17:44:55.308" v="1865" actId="478"/>
          <ac:spMkLst>
            <pc:docMk/>
            <pc:sldMk cId="1339647628" sldId="586"/>
            <ac:spMk id="696" creationId="{6E20831B-F3DA-5A8F-5E7E-DD0CD678E5D3}"/>
          </ac:spMkLst>
        </pc:spChg>
        <pc:spChg chg="del">
          <ac:chgData name="bullingerm.tmt22" userId="9ce3b8b2-035f-4175-b301-998b03a50e38" providerId="ADAL" clId="{D8E03A0D-8A42-4CF5-82BF-586E462557BB}" dt="2024-03-01T10:49:07.950" v="207" actId="478"/>
          <ac:spMkLst>
            <pc:docMk/>
            <pc:sldMk cId="1339647628" sldId="586"/>
            <ac:spMk id="696" creationId="{E5901E92-C086-51F1-A652-AFCC2962A373}"/>
          </ac:spMkLst>
        </pc:spChg>
        <pc:spChg chg="del">
          <ac:chgData name="bullingerm.tmt22" userId="9ce3b8b2-035f-4175-b301-998b03a50e38" providerId="ADAL" clId="{D8E03A0D-8A42-4CF5-82BF-586E462557BB}" dt="2024-03-04T17:44:55.308" v="1864" actId="478"/>
          <ac:spMkLst>
            <pc:docMk/>
            <pc:sldMk cId="1339647628" sldId="586"/>
            <ac:spMk id="697" creationId="{6AC64EC0-E2F5-1AC9-49FB-ED577BBF221F}"/>
          </ac:spMkLst>
        </pc:spChg>
        <pc:spChg chg="del">
          <ac:chgData name="bullingerm.tmt22" userId="9ce3b8b2-035f-4175-b301-998b03a50e38" providerId="ADAL" clId="{D8E03A0D-8A42-4CF5-82BF-586E462557BB}" dt="2024-03-01T10:49:07.950" v="206" actId="478"/>
          <ac:spMkLst>
            <pc:docMk/>
            <pc:sldMk cId="1339647628" sldId="586"/>
            <ac:spMk id="697" creationId="{AB453B60-9E00-30F8-867B-06728EDD2AD3}"/>
          </ac:spMkLst>
        </pc:spChg>
        <pc:spChg chg="del">
          <ac:chgData name="bullingerm.tmt22" userId="9ce3b8b2-035f-4175-b301-998b03a50e38" providerId="ADAL" clId="{D8E03A0D-8A42-4CF5-82BF-586E462557BB}" dt="2024-03-04T17:44:55.308" v="1863" actId="478"/>
          <ac:spMkLst>
            <pc:docMk/>
            <pc:sldMk cId="1339647628" sldId="586"/>
            <ac:spMk id="698" creationId="{2B123AEA-659D-FA1F-D48D-E09EAB13B986}"/>
          </ac:spMkLst>
        </pc:spChg>
        <pc:spChg chg="del">
          <ac:chgData name="bullingerm.tmt22" userId="9ce3b8b2-035f-4175-b301-998b03a50e38" providerId="ADAL" clId="{D8E03A0D-8A42-4CF5-82BF-586E462557BB}" dt="2024-03-01T10:49:07.949" v="205" actId="478"/>
          <ac:spMkLst>
            <pc:docMk/>
            <pc:sldMk cId="1339647628" sldId="586"/>
            <ac:spMk id="698" creationId="{38C52F57-7993-B03B-EF75-59D1F342B3E3}"/>
          </ac:spMkLst>
        </pc:spChg>
        <pc:spChg chg="del">
          <ac:chgData name="bullingerm.tmt22" userId="9ce3b8b2-035f-4175-b301-998b03a50e38" providerId="ADAL" clId="{D8E03A0D-8A42-4CF5-82BF-586E462557BB}" dt="2024-03-04T17:44:55.308" v="1862" actId="478"/>
          <ac:spMkLst>
            <pc:docMk/>
            <pc:sldMk cId="1339647628" sldId="586"/>
            <ac:spMk id="699" creationId="{76E998B7-1CF9-EE34-8BDD-8C88B7348183}"/>
          </ac:spMkLst>
        </pc:spChg>
        <pc:spChg chg="del">
          <ac:chgData name="bullingerm.tmt22" userId="9ce3b8b2-035f-4175-b301-998b03a50e38" providerId="ADAL" clId="{D8E03A0D-8A42-4CF5-82BF-586E462557BB}" dt="2024-03-01T10:49:07.933" v="204" actId="478"/>
          <ac:spMkLst>
            <pc:docMk/>
            <pc:sldMk cId="1339647628" sldId="586"/>
            <ac:spMk id="699" creationId="{E6B11796-1719-060F-3AE3-C49B60D5378A}"/>
          </ac:spMkLst>
        </pc:spChg>
        <pc:spChg chg="del">
          <ac:chgData name="bullingerm.tmt22" userId="9ce3b8b2-035f-4175-b301-998b03a50e38" providerId="ADAL" clId="{D8E03A0D-8A42-4CF5-82BF-586E462557BB}" dt="2024-03-01T10:49:07.933" v="203" actId="478"/>
          <ac:spMkLst>
            <pc:docMk/>
            <pc:sldMk cId="1339647628" sldId="586"/>
            <ac:spMk id="700" creationId="{15336373-C70B-67DA-F6CB-396597427982}"/>
          </ac:spMkLst>
        </pc:spChg>
        <pc:spChg chg="del">
          <ac:chgData name="bullingerm.tmt22" userId="9ce3b8b2-035f-4175-b301-998b03a50e38" providerId="ADAL" clId="{D8E03A0D-8A42-4CF5-82BF-586E462557BB}" dt="2024-03-04T17:44:55.308" v="1861" actId="478"/>
          <ac:spMkLst>
            <pc:docMk/>
            <pc:sldMk cId="1339647628" sldId="586"/>
            <ac:spMk id="700" creationId="{1E91B889-74FE-AF33-F50E-13309664ECC8}"/>
          </ac:spMkLst>
        </pc:spChg>
        <pc:spChg chg="del">
          <ac:chgData name="bullingerm.tmt22" userId="9ce3b8b2-035f-4175-b301-998b03a50e38" providerId="ADAL" clId="{D8E03A0D-8A42-4CF5-82BF-586E462557BB}" dt="2024-03-01T10:49:07.933" v="202" actId="478"/>
          <ac:spMkLst>
            <pc:docMk/>
            <pc:sldMk cId="1339647628" sldId="586"/>
            <ac:spMk id="701" creationId="{7F3066F6-DF68-AC82-BDB1-8E742CC2B30D}"/>
          </ac:spMkLst>
        </pc:spChg>
        <pc:spChg chg="del">
          <ac:chgData name="bullingerm.tmt22" userId="9ce3b8b2-035f-4175-b301-998b03a50e38" providerId="ADAL" clId="{D8E03A0D-8A42-4CF5-82BF-586E462557BB}" dt="2024-03-04T17:44:55.308" v="1860" actId="478"/>
          <ac:spMkLst>
            <pc:docMk/>
            <pc:sldMk cId="1339647628" sldId="586"/>
            <ac:spMk id="701" creationId="{B2C59D86-CE8A-6C68-F62F-35081D5920FC}"/>
          </ac:spMkLst>
        </pc:spChg>
        <pc:spChg chg="del">
          <ac:chgData name="bullingerm.tmt22" userId="9ce3b8b2-035f-4175-b301-998b03a50e38" providerId="ADAL" clId="{D8E03A0D-8A42-4CF5-82BF-586E462557BB}" dt="2024-03-01T10:49:07.933" v="199" actId="478"/>
          <ac:spMkLst>
            <pc:docMk/>
            <pc:sldMk cId="1339647628" sldId="586"/>
            <ac:spMk id="702" creationId="{8B9CFCFD-B4C0-4FBB-96E9-2A664190A946}"/>
          </ac:spMkLst>
        </pc:spChg>
        <pc:spChg chg="del">
          <ac:chgData name="bullingerm.tmt22" userId="9ce3b8b2-035f-4175-b301-998b03a50e38" providerId="ADAL" clId="{D8E03A0D-8A42-4CF5-82BF-586E462557BB}" dt="2024-03-04T17:44:55.308" v="1859" actId="478"/>
          <ac:spMkLst>
            <pc:docMk/>
            <pc:sldMk cId="1339647628" sldId="586"/>
            <ac:spMk id="702" creationId="{BB0D840E-F239-6973-AD9D-B3FA520ED8B3}"/>
          </ac:spMkLst>
        </pc:spChg>
        <pc:spChg chg="del">
          <ac:chgData name="bullingerm.tmt22" userId="9ce3b8b2-035f-4175-b301-998b03a50e38" providerId="ADAL" clId="{D8E03A0D-8A42-4CF5-82BF-586E462557BB}" dt="2024-03-04T17:44:55.308" v="1858" actId="478"/>
          <ac:spMkLst>
            <pc:docMk/>
            <pc:sldMk cId="1339647628" sldId="586"/>
            <ac:spMk id="703" creationId="{30E96215-F2C9-A2DC-5846-821AD4E4CD42}"/>
          </ac:spMkLst>
        </pc:spChg>
        <pc:spChg chg="del">
          <ac:chgData name="bullingerm.tmt22" userId="9ce3b8b2-035f-4175-b301-998b03a50e38" providerId="ADAL" clId="{D8E03A0D-8A42-4CF5-82BF-586E462557BB}" dt="2024-03-01T10:49:07.933" v="198" actId="478"/>
          <ac:spMkLst>
            <pc:docMk/>
            <pc:sldMk cId="1339647628" sldId="586"/>
            <ac:spMk id="703" creationId="{63411216-BEBA-5D96-031F-BF57CD555AF2}"/>
          </ac:spMkLst>
        </pc:spChg>
        <pc:cxnChg chg="ord replST">
          <ac:chgData name="bullingerm.tmt22" userId="9ce3b8b2-035f-4175-b301-998b03a50e38" providerId="ADAL" clId="{D8E03A0D-8A42-4CF5-82BF-586E462557BB}" dt="2024-03-04T17:44:55.820" v="2187"/>
          <ac:cxnSpMkLst>
            <pc:docMk/>
            <pc:sldMk cId="1339647628" sldId="586"/>
            <ac:cxnSpMk id="627" creationId="{96F19F2B-ED56-9C2F-E528-378C45240779}"/>
          </ac:cxnSpMkLst>
        </pc:cxnChg>
        <pc:cxnChg chg="ord replST">
          <ac:chgData name="bullingerm.tmt22" userId="9ce3b8b2-035f-4175-b301-998b03a50e38" providerId="ADAL" clId="{D8E03A0D-8A42-4CF5-82BF-586E462557BB}" dt="2024-03-04T17:44:55.820" v="2188"/>
          <ac:cxnSpMkLst>
            <pc:docMk/>
            <pc:sldMk cId="1339647628" sldId="586"/>
            <ac:cxnSpMk id="630" creationId="{FB1F07A1-1CBB-CE73-AF32-FBD79289B350}"/>
          </ac:cxnSpMkLst>
        </pc:cxnChg>
        <pc:cxnChg chg="ord replST">
          <ac:chgData name="bullingerm.tmt22" userId="9ce3b8b2-035f-4175-b301-998b03a50e38" providerId="ADAL" clId="{D8E03A0D-8A42-4CF5-82BF-586E462557BB}" dt="2024-03-04T17:44:55.820" v="2189"/>
          <ac:cxnSpMkLst>
            <pc:docMk/>
            <pc:sldMk cId="1339647628" sldId="586"/>
            <ac:cxnSpMk id="633" creationId="{B6FB81D2-A6FB-E876-7B26-9A06B399C9B0}"/>
          </ac:cxnSpMkLst>
        </pc:cxnChg>
        <pc:cxnChg chg="ord replST">
          <ac:chgData name="bullingerm.tmt22" userId="9ce3b8b2-035f-4175-b301-998b03a50e38" providerId="ADAL" clId="{D8E03A0D-8A42-4CF5-82BF-586E462557BB}" dt="2024-03-04T17:44:55.820" v="2190"/>
          <ac:cxnSpMkLst>
            <pc:docMk/>
            <pc:sldMk cId="1339647628" sldId="586"/>
            <ac:cxnSpMk id="636" creationId="{EF92F350-013D-D130-334B-53B7405C9BA3}"/>
          </ac:cxnSpMkLst>
        </pc:cxnChg>
        <pc:cxnChg chg="del ord replST">
          <ac:chgData name="bullingerm.tmt22" userId="9ce3b8b2-035f-4175-b301-998b03a50e38" providerId="ADAL" clId="{D8E03A0D-8A42-4CF5-82BF-586E462557BB}" dt="2024-03-04T17:44:55.258" v="1821" actId="478"/>
          <ac:cxnSpMkLst>
            <pc:docMk/>
            <pc:sldMk cId="1339647628" sldId="586"/>
            <ac:cxnSpMk id="641" creationId="{FABF5A3F-D748-7F04-64D7-85F1765510EE}"/>
          </ac:cxnSpMkLst>
        </pc:cxnChg>
        <pc:cxnChg chg="del ord replST">
          <ac:chgData name="bullingerm.tmt22" userId="9ce3b8b2-035f-4175-b301-998b03a50e38" providerId="ADAL" clId="{D8E03A0D-8A42-4CF5-82BF-586E462557BB}" dt="2024-03-04T17:44:55.258" v="1822" actId="478"/>
          <ac:cxnSpMkLst>
            <pc:docMk/>
            <pc:sldMk cId="1339647628" sldId="586"/>
            <ac:cxnSpMk id="644" creationId="{FDEF39BB-6364-F872-AF7A-4D0BADB418A4}"/>
          </ac:cxnSpMkLst>
        </pc:cxnChg>
        <pc:cxnChg chg="del ord replST">
          <ac:chgData name="bullingerm.tmt22" userId="9ce3b8b2-035f-4175-b301-998b03a50e38" providerId="ADAL" clId="{D8E03A0D-8A42-4CF5-82BF-586E462557BB}" dt="2024-03-04T17:44:55.258" v="1823" actId="478"/>
          <ac:cxnSpMkLst>
            <pc:docMk/>
            <pc:sldMk cId="1339647628" sldId="586"/>
            <ac:cxnSpMk id="647" creationId="{341883DE-7E0D-B5E9-860A-1D227B251ED3}"/>
          </ac:cxnSpMkLst>
        </pc:cxnChg>
        <pc:cxnChg chg="del ord replST">
          <ac:chgData name="bullingerm.tmt22" userId="9ce3b8b2-035f-4175-b301-998b03a50e38" providerId="ADAL" clId="{D8E03A0D-8A42-4CF5-82BF-586E462557BB}" dt="2024-03-04T17:44:55.258" v="1824" actId="478"/>
          <ac:cxnSpMkLst>
            <pc:docMk/>
            <pc:sldMk cId="1339647628" sldId="586"/>
            <ac:cxnSpMk id="650" creationId="{EA5C2B3B-F514-89B0-D5DD-9CD495B143CA}"/>
          </ac:cxnSpMkLst>
        </pc:cxnChg>
        <pc:cxnChg chg="del ord replST">
          <ac:chgData name="bullingerm.tmt22" userId="9ce3b8b2-035f-4175-b301-998b03a50e38" providerId="ADAL" clId="{D8E03A0D-8A42-4CF5-82BF-586E462557BB}" dt="2024-03-04T17:44:55.258" v="1825" actId="478"/>
          <ac:cxnSpMkLst>
            <pc:docMk/>
            <pc:sldMk cId="1339647628" sldId="586"/>
            <ac:cxnSpMk id="653" creationId="{9E9E8363-8834-B97F-9994-9264F4375112}"/>
          </ac:cxnSpMkLst>
        </pc:cxnChg>
        <pc:cxnChg chg="del ord replST">
          <ac:chgData name="bullingerm.tmt22" userId="9ce3b8b2-035f-4175-b301-998b03a50e38" providerId="ADAL" clId="{D8E03A0D-8A42-4CF5-82BF-586E462557BB}" dt="2024-03-04T17:44:55.258" v="1826" actId="478"/>
          <ac:cxnSpMkLst>
            <pc:docMk/>
            <pc:sldMk cId="1339647628" sldId="586"/>
            <ac:cxnSpMk id="656" creationId="{B03C6B31-A215-5F08-70A9-342233A1B0A6}"/>
          </ac:cxnSpMkLst>
        </pc:cxnChg>
        <pc:cxnChg chg="del ord replST">
          <ac:chgData name="bullingerm.tmt22" userId="9ce3b8b2-035f-4175-b301-998b03a50e38" providerId="ADAL" clId="{D8E03A0D-8A42-4CF5-82BF-586E462557BB}" dt="2024-03-04T17:44:55.258" v="1827" actId="478"/>
          <ac:cxnSpMkLst>
            <pc:docMk/>
            <pc:sldMk cId="1339647628" sldId="586"/>
            <ac:cxnSpMk id="659" creationId="{D5449561-79A3-A93A-5D72-D487CB282B25}"/>
          </ac:cxnSpMkLst>
        </pc:cxnChg>
        <pc:cxnChg chg="del ord replST">
          <ac:chgData name="bullingerm.tmt22" userId="9ce3b8b2-035f-4175-b301-998b03a50e38" providerId="ADAL" clId="{D8E03A0D-8A42-4CF5-82BF-586E462557BB}" dt="2024-03-04T17:44:55.258" v="1828" actId="478"/>
          <ac:cxnSpMkLst>
            <pc:docMk/>
            <pc:sldMk cId="1339647628" sldId="586"/>
            <ac:cxnSpMk id="660" creationId="{DE3AD629-9540-20FF-896F-BE5812C36009}"/>
          </ac:cxnSpMkLst>
        </pc:cxnChg>
        <pc:cxnChg chg="ord replST">
          <ac:chgData name="bullingerm.tmt22" userId="9ce3b8b2-035f-4175-b301-998b03a50e38" providerId="ADAL" clId="{D8E03A0D-8A42-4CF5-82BF-586E462557BB}" dt="2024-03-04T17:44:55.820" v="2191"/>
          <ac:cxnSpMkLst>
            <pc:docMk/>
            <pc:sldMk cId="1339647628" sldId="586"/>
            <ac:cxnSpMk id="662" creationId="{3F1CF4EA-4739-93BD-0010-95930335080E}"/>
          </ac:cxnSpMkLst>
        </pc:cxnChg>
        <pc:cxnChg chg="ord replST">
          <ac:chgData name="bullingerm.tmt22" userId="9ce3b8b2-035f-4175-b301-998b03a50e38" providerId="ADAL" clId="{D8E03A0D-8A42-4CF5-82BF-586E462557BB}" dt="2024-03-04T17:44:55.828" v="2192"/>
          <ac:cxnSpMkLst>
            <pc:docMk/>
            <pc:sldMk cId="1339647628" sldId="586"/>
            <ac:cxnSpMk id="665" creationId="{1116A5E3-ABBE-A56E-4164-B5061BAAB0E2}"/>
          </ac:cxnSpMkLst>
        </pc:cxnChg>
        <pc:cxnChg chg="del">
          <ac:chgData name="bullingerm.tmt22" userId="9ce3b8b2-035f-4175-b301-998b03a50e38" providerId="ADAL" clId="{D8E03A0D-8A42-4CF5-82BF-586E462557BB}" dt="2024-03-01T10:49:07.886" v="171" actId="478"/>
          <ac:cxnSpMkLst>
            <pc:docMk/>
            <pc:sldMk cId="1339647628" sldId="586"/>
            <ac:cxnSpMk id="665" creationId="{1C4A9DD5-5D4F-4885-D756-0C95B7685CBC}"/>
          </ac:cxnSpMkLst>
        </pc:cxnChg>
        <pc:cxnChg chg="ord replST">
          <ac:chgData name="bullingerm.tmt22" userId="9ce3b8b2-035f-4175-b301-998b03a50e38" providerId="ADAL" clId="{D8E03A0D-8A42-4CF5-82BF-586E462557BB}" dt="2024-03-04T17:44:55.828" v="2193"/>
          <ac:cxnSpMkLst>
            <pc:docMk/>
            <pc:sldMk cId="1339647628" sldId="586"/>
            <ac:cxnSpMk id="666" creationId="{D94B1C41-E2C6-4458-1C9C-5D42A6AD09A1}"/>
          </ac:cxnSpMkLst>
        </pc:cxnChg>
        <pc:cxnChg chg="del">
          <ac:chgData name="bullingerm.tmt22" userId="9ce3b8b2-035f-4175-b301-998b03a50e38" providerId="ADAL" clId="{D8E03A0D-8A42-4CF5-82BF-586E462557BB}" dt="2024-03-01T10:49:07.886" v="172" actId="478"/>
          <ac:cxnSpMkLst>
            <pc:docMk/>
            <pc:sldMk cId="1339647628" sldId="586"/>
            <ac:cxnSpMk id="668" creationId="{CE7826FE-53C4-D480-59B8-A0BF61C3891E}"/>
          </ac:cxnSpMkLst>
        </pc:cxnChg>
        <pc:cxnChg chg="del">
          <ac:chgData name="bullingerm.tmt22" userId="9ce3b8b2-035f-4175-b301-998b03a50e38" providerId="ADAL" clId="{D8E03A0D-8A42-4CF5-82BF-586E462557BB}" dt="2024-03-01T10:49:07.886" v="173" actId="478"/>
          <ac:cxnSpMkLst>
            <pc:docMk/>
            <pc:sldMk cId="1339647628" sldId="586"/>
            <ac:cxnSpMk id="671" creationId="{75D98A1D-5F06-4C0E-4193-EED0C394582F}"/>
          </ac:cxnSpMkLst>
        </pc:cxnChg>
        <pc:cxnChg chg="del">
          <ac:chgData name="bullingerm.tmt22" userId="9ce3b8b2-035f-4175-b301-998b03a50e38" providerId="ADAL" clId="{D8E03A0D-8A42-4CF5-82BF-586E462557BB}" dt="2024-03-01T10:49:07.901" v="174" actId="478"/>
          <ac:cxnSpMkLst>
            <pc:docMk/>
            <pc:sldMk cId="1339647628" sldId="586"/>
            <ac:cxnSpMk id="674" creationId="{A4F0E31B-CF27-E5DD-13CE-09945C0A22D8}"/>
          </ac:cxnSpMkLst>
        </pc:cxnChg>
        <pc:cxnChg chg="del">
          <ac:chgData name="bullingerm.tmt22" userId="9ce3b8b2-035f-4175-b301-998b03a50e38" providerId="ADAL" clId="{D8E03A0D-8A42-4CF5-82BF-586E462557BB}" dt="2024-03-01T10:49:07.901" v="175" actId="478"/>
          <ac:cxnSpMkLst>
            <pc:docMk/>
            <pc:sldMk cId="1339647628" sldId="586"/>
            <ac:cxnSpMk id="677" creationId="{2CBAA4A6-59E5-0DDF-0530-AF30AFF2974F}"/>
          </ac:cxnSpMkLst>
        </pc:cxnChg>
        <pc:cxnChg chg="del">
          <ac:chgData name="bullingerm.tmt22" userId="9ce3b8b2-035f-4175-b301-998b03a50e38" providerId="ADAL" clId="{D8E03A0D-8A42-4CF5-82BF-586E462557BB}" dt="2024-03-01T10:49:07.901" v="176" actId="478"/>
          <ac:cxnSpMkLst>
            <pc:docMk/>
            <pc:sldMk cId="1339647628" sldId="586"/>
            <ac:cxnSpMk id="680" creationId="{4A05E5CB-5153-F454-85B8-8EAC37FC0FFB}"/>
          </ac:cxnSpMkLst>
        </pc:cxnChg>
        <pc:cxnChg chg="del">
          <ac:chgData name="bullingerm.tmt22" userId="9ce3b8b2-035f-4175-b301-998b03a50e38" providerId="ADAL" clId="{D8E03A0D-8A42-4CF5-82BF-586E462557BB}" dt="2024-03-01T10:49:07.901" v="177" actId="478"/>
          <ac:cxnSpMkLst>
            <pc:docMk/>
            <pc:sldMk cId="1339647628" sldId="586"/>
            <ac:cxnSpMk id="683" creationId="{EAEB4FE6-74D7-8F21-B125-0D8C4AC4B230}"/>
          </ac:cxnSpMkLst>
        </pc:cxnChg>
        <pc:cxnChg chg="del">
          <ac:chgData name="bullingerm.tmt22" userId="9ce3b8b2-035f-4175-b301-998b03a50e38" providerId="ADAL" clId="{D8E03A0D-8A42-4CF5-82BF-586E462557BB}" dt="2024-03-01T10:49:07.901" v="178" actId="478"/>
          <ac:cxnSpMkLst>
            <pc:docMk/>
            <pc:sldMk cId="1339647628" sldId="586"/>
            <ac:cxnSpMk id="684" creationId="{52B6ED2C-1762-36D9-F934-805726A7C4E5}"/>
          </ac:cxnSpMkLst>
        </pc:cxnChg>
      </pc:sldChg>
      <pc:sldChg chg="addSp delSp modSp add del mod">
        <pc:chgData name="bullingerm.tmt22" userId="9ce3b8b2-035f-4175-b301-998b03a50e38" providerId="ADAL" clId="{D8E03A0D-8A42-4CF5-82BF-586E462557BB}" dt="2024-03-04T17:44:56.628" v="2509"/>
        <pc:sldMkLst>
          <pc:docMk/>
          <pc:sldMk cId="2468756552" sldId="590"/>
        </pc:sldMkLst>
        <pc:spChg chg="add mod">
          <ac:chgData name="bullingerm.tmt22" userId="9ce3b8b2-035f-4175-b301-998b03a50e38" providerId="ADAL" clId="{D8E03A0D-8A42-4CF5-82BF-586E462557BB}" dt="2024-03-04T17:44:55.628" v="2096" actId="478"/>
          <ac:spMkLst>
            <pc:docMk/>
            <pc:sldMk cId="2468756552" sldId="590"/>
            <ac:spMk id="298" creationId="{228B8A2F-5301-7AD1-9E05-D3B3A14DE425}"/>
          </ac:spMkLst>
        </pc:spChg>
        <pc:spChg chg="add mod">
          <ac:chgData name="bullingerm.tmt22" userId="9ce3b8b2-035f-4175-b301-998b03a50e38" providerId="ADAL" clId="{D8E03A0D-8A42-4CF5-82BF-586E462557BB}" dt="2024-03-01T10:49:08.321" v="492" actId="478"/>
          <ac:spMkLst>
            <pc:docMk/>
            <pc:sldMk cId="2468756552" sldId="590"/>
            <ac:spMk id="298" creationId="{F1187D43-66A2-D164-3B7C-C513B230B7C0}"/>
          </ac:spMkLst>
        </pc:spChg>
        <pc:spChg chg="del mod ord replST">
          <ac:chgData name="bullingerm.tmt22" userId="9ce3b8b2-035f-4175-b301-998b03a50e38" providerId="ADAL" clId="{D8E03A0D-8A42-4CF5-82BF-586E462557BB}" dt="2024-03-04T17:44:55.628" v="2096" actId="478"/>
          <ac:spMkLst>
            <pc:docMk/>
            <pc:sldMk cId="2468756552" sldId="590"/>
            <ac:spMk id="299" creationId="{B5A0621D-D8D0-607D-FC81-CD0D7B87619E}"/>
          </ac:spMkLst>
        </pc:spChg>
        <pc:spChg chg="mod ord replST">
          <ac:chgData name="bullingerm.tmt22" userId="9ce3b8b2-035f-4175-b301-998b03a50e38" providerId="ADAL" clId="{D8E03A0D-8A42-4CF5-82BF-586E462557BB}" dt="2024-03-04T17:44:56.618" v="2503"/>
          <ac:spMkLst>
            <pc:docMk/>
            <pc:sldMk cId="2468756552" sldId="590"/>
            <ac:spMk id="300" creationId="{66477FF8-1AAD-11A0-B71A-E48424A97E0A}"/>
          </ac:spMkLst>
        </pc:spChg>
        <pc:spChg chg="del">
          <ac:chgData name="bullingerm.tmt22" userId="9ce3b8b2-035f-4175-b301-998b03a50e38" providerId="ADAL" clId="{D8E03A0D-8A42-4CF5-82BF-586E462557BB}" dt="2024-03-01T10:49:08.353" v="528" actId="478"/>
          <ac:spMkLst>
            <pc:docMk/>
            <pc:sldMk cId="2468756552" sldId="590"/>
            <ac:spMk id="300" creationId="{E867B8CF-4A4B-5B72-94C1-4D93B3066C5E}"/>
          </ac:spMkLst>
        </pc:spChg>
        <pc:spChg chg="del">
          <ac:chgData name="bullingerm.tmt22" userId="9ce3b8b2-035f-4175-b301-998b03a50e38" providerId="ADAL" clId="{D8E03A0D-8A42-4CF5-82BF-586E462557BB}" dt="2024-03-04T17:44:55.673" v="2132" actId="478"/>
          <ac:spMkLst>
            <pc:docMk/>
            <pc:sldMk cId="2468756552" sldId="590"/>
            <ac:spMk id="301" creationId="{B432422E-B22E-96EC-B284-DD6D1BEB8849}"/>
          </ac:spMkLst>
        </pc:spChg>
        <pc:spChg chg="del">
          <ac:chgData name="bullingerm.tmt22" userId="9ce3b8b2-035f-4175-b301-998b03a50e38" providerId="ADAL" clId="{D8E03A0D-8A42-4CF5-82BF-586E462557BB}" dt="2024-03-01T10:49:08.353" v="527" actId="478"/>
          <ac:spMkLst>
            <pc:docMk/>
            <pc:sldMk cId="2468756552" sldId="590"/>
            <ac:spMk id="301" creationId="{D070EFB8-2AAB-C450-47B1-5F4F446B8DC2}"/>
          </ac:spMkLst>
        </pc:spChg>
        <pc:spChg chg="del">
          <ac:chgData name="bullingerm.tmt22" userId="9ce3b8b2-035f-4175-b301-998b03a50e38" providerId="ADAL" clId="{D8E03A0D-8A42-4CF5-82BF-586E462557BB}" dt="2024-03-01T10:49:08.353" v="526" actId="478"/>
          <ac:spMkLst>
            <pc:docMk/>
            <pc:sldMk cId="2468756552" sldId="590"/>
            <ac:spMk id="302" creationId="{A13E7031-101C-6656-16E2-F39BA6A091CE}"/>
          </ac:spMkLst>
        </pc:spChg>
        <pc:spChg chg="del">
          <ac:chgData name="bullingerm.tmt22" userId="9ce3b8b2-035f-4175-b301-998b03a50e38" providerId="ADAL" clId="{D8E03A0D-8A42-4CF5-82BF-586E462557BB}" dt="2024-03-04T17:44:55.673" v="2131" actId="478"/>
          <ac:spMkLst>
            <pc:docMk/>
            <pc:sldMk cId="2468756552" sldId="590"/>
            <ac:spMk id="302" creationId="{AA860A2B-8225-08C0-5111-5FC426D6E597}"/>
          </ac:spMkLst>
        </pc:spChg>
        <pc:spChg chg="del">
          <ac:chgData name="bullingerm.tmt22" userId="9ce3b8b2-035f-4175-b301-998b03a50e38" providerId="ADAL" clId="{D8E03A0D-8A42-4CF5-82BF-586E462557BB}" dt="2024-03-04T17:44:55.673" v="2130" actId="478"/>
          <ac:spMkLst>
            <pc:docMk/>
            <pc:sldMk cId="2468756552" sldId="590"/>
            <ac:spMk id="303" creationId="{1FFA8E9F-2E4B-5D27-6640-C72A88BE2F4B}"/>
          </ac:spMkLst>
        </pc:spChg>
        <pc:spChg chg="del">
          <ac:chgData name="bullingerm.tmt22" userId="9ce3b8b2-035f-4175-b301-998b03a50e38" providerId="ADAL" clId="{D8E03A0D-8A42-4CF5-82BF-586E462557BB}" dt="2024-03-01T10:49:08.353" v="525" actId="478"/>
          <ac:spMkLst>
            <pc:docMk/>
            <pc:sldMk cId="2468756552" sldId="590"/>
            <ac:spMk id="303" creationId="{EE03F281-960C-DCED-FC4D-A6312632F8AB}"/>
          </ac:spMkLst>
        </pc:spChg>
        <pc:spChg chg="del">
          <ac:chgData name="bullingerm.tmt22" userId="9ce3b8b2-035f-4175-b301-998b03a50e38" providerId="ADAL" clId="{D8E03A0D-8A42-4CF5-82BF-586E462557BB}" dt="2024-03-01T10:49:08.353" v="524" actId="478"/>
          <ac:spMkLst>
            <pc:docMk/>
            <pc:sldMk cId="2468756552" sldId="590"/>
            <ac:spMk id="304" creationId="{5E687777-4D6E-FF8A-1286-56CE2461DD65}"/>
          </ac:spMkLst>
        </pc:spChg>
        <pc:spChg chg="del">
          <ac:chgData name="bullingerm.tmt22" userId="9ce3b8b2-035f-4175-b301-998b03a50e38" providerId="ADAL" clId="{D8E03A0D-8A42-4CF5-82BF-586E462557BB}" dt="2024-03-04T17:44:55.673" v="2129" actId="478"/>
          <ac:spMkLst>
            <pc:docMk/>
            <pc:sldMk cId="2468756552" sldId="590"/>
            <ac:spMk id="304" creationId="{BE121E61-BF21-0EE8-A5ED-A3AC84872865}"/>
          </ac:spMkLst>
        </pc:spChg>
        <pc:spChg chg="del">
          <ac:chgData name="bullingerm.tmt22" userId="9ce3b8b2-035f-4175-b301-998b03a50e38" providerId="ADAL" clId="{D8E03A0D-8A42-4CF5-82BF-586E462557BB}" dt="2024-03-01T10:49:08.353" v="523" actId="478"/>
          <ac:spMkLst>
            <pc:docMk/>
            <pc:sldMk cId="2468756552" sldId="590"/>
            <ac:spMk id="305" creationId="{31197AE5-11B0-7564-54B6-0EBC8B5CF092}"/>
          </ac:spMkLst>
        </pc:spChg>
        <pc:spChg chg="del">
          <ac:chgData name="bullingerm.tmt22" userId="9ce3b8b2-035f-4175-b301-998b03a50e38" providerId="ADAL" clId="{D8E03A0D-8A42-4CF5-82BF-586E462557BB}" dt="2024-03-04T17:44:55.673" v="2128" actId="478"/>
          <ac:spMkLst>
            <pc:docMk/>
            <pc:sldMk cId="2468756552" sldId="590"/>
            <ac:spMk id="305" creationId="{4945BB1B-58D0-ACD0-E654-3260722BF846}"/>
          </ac:spMkLst>
        </pc:spChg>
        <pc:spChg chg="del">
          <ac:chgData name="bullingerm.tmt22" userId="9ce3b8b2-035f-4175-b301-998b03a50e38" providerId="ADAL" clId="{D8E03A0D-8A42-4CF5-82BF-586E462557BB}" dt="2024-03-01T10:49:08.353" v="520" actId="478"/>
          <ac:spMkLst>
            <pc:docMk/>
            <pc:sldMk cId="2468756552" sldId="590"/>
            <ac:spMk id="306" creationId="{87FADE79-177A-59F2-1CC3-6A3114571258}"/>
          </ac:spMkLst>
        </pc:spChg>
        <pc:spChg chg="del">
          <ac:chgData name="bullingerm.tmt22" userId="9ce3b8b2-035f-4175-b301-998b03a50e38" providerId="ADAL" clId="{D8E03A0D-8A42-4CF5-82BF-586E462557BB}" dt="2024-03-04T17:44:55.673" v="2127" actId="478"/>
          <ac:spMkLst>
            <pc:docMk/>
            <pc:sldMk cId="2468756552" sldId="590"/>
            <ac:spMk id="306" creationId="{98D1A609-D67F-1438-300E-BD07A5310A76}"/>
          </ac:spMkLst>
        </pc:spChg>
        <pc:spChg chg="del">
          <ac:chgData name="bullingerm.tmt22" userId="9ce3b8b2-035f-4175-b301-998b03a50e38" providerId="ADAL" clId="{D8E03A0D-8A42-4CF5-82BF-586E462557BB}" dt="2024-03-01T10:49:08.321" v="492" actId="478"/>
          <ac:spMkLst>
            <pc:docMk/>
            <pc:sldMk cId="2468756552" sldId="590"/>
            <ac:spMk id="307" creationId="{6A98EB7A-28A0-C624-2B69-25888CC407C2}"/>
          </ac:spMkLst>
        </pc:spChg>
        <pc:spChg chg="del">
          <ac:chgData name="bullingerm.tmt22" userId="9ce3b8b2-035f-4175-b301-998b03a50e38" providerId="ADAL" clId="{D8E03A0D-8A42-4CF5-82BF-586E462557BB}" dt="2024-03-04T17:44:55.670" v="2124" actId="478"/>
          <ac:spMkLst>
            <pc:docMk/>
            <pc:sldMk cId="2468756552" sldId="590"/>
            <ac:spMk id="307" creationId="{9BCD6156-E24F-8C0E-6E73-9229C3336BA9}"/>
          </ac:spMkLst>
        </pc:spChg>
        <pc:spChg chg="del">
          <ac:chgData name="bullingerm.tmt22" userId="9ce3b8b2-035f-4175-b301-998b03a50e38" providerId="ADAL" clId="{D8E03A0D-8A42-4CF5-82BF-586E462557BB}" dt="2024-03-04T17:44:55.670" v="2123" actId="478"/>
          <ac:spMkLst>
            <pc:docMk/>
            <pc:sldMk cId="2468756552" sldId="590"/>
            <ac:spMk id="308" creationId="{3422961C-6EA6-0FF3-45B1-51F062B038DE}"/>
          </ac:spMkLst>
        </pc:spChg>
        <pc:spChg chg="del">
          <ac:chgData name="bullingerm.tmt22" userId="9ce3b8b2-035f-4175-b301-998b03a50e38" providerId="ADAL" clId="{D8E03A0D-8A42-4CF5-82BF-586E462557BB}" dt="2024-03-01T10:49:08.353" v="519" actId="478"/>
          <ac:spMkLst>
            <pc:docMk/>
            <pc:sldMk cId="2468756552" sldId="590"/>
            <ac:spMk id="308" creationId="{CBF800A7-711E-9FE6-0866-9A8D9D74B679}"/>
          </ac:spMkLst>
        </pc:spChg>
        <pc:spChg chg="del">
          <ac:chgData name="bullingerm.tmt22" userId="9ce3b8b2-035f-4175-b301-998b03a50e38" providerId="ADAL" clId="{D8E03A0D-8A42-4CF5-82BF-586E462557BB}" dt="2024-03-04T17:44:55.668" v="2122" actId="478"/>
          <ac:spMkLst>
            <pc:docMk/>
            <pc:sldMk cId="2468756552" sldId="590"/>
            <ac:spMk id="309" creationId="{08F858AD-266A-0422-10B5-BA416A981015}"/>
          </ac:spMkLst>
        </pc:spChg>
        <pc:spChg chg="del">
          <ac:chgData name="bullingerm.tmt22" userId="9ce3b8b2-035f-4175-b301-998b03a50e38" providerId="ADAL" clId="{D8E03A0D-8A42-4CF5-82BF-586E462557BB}" dt="2024-03-01T10:49:08.352" v="518" actId="478"/>
          <ac:spMkLst>
            <pc:docMk/>
            <pc:sldMk cId="2468756552" sldId="590"/>
            <ac:spMk id="309" creationId="{BADC34F1-7A36-9685-6343-BB1E0A202CFD}"/>
          </ac:spMkLst>
        </pc:spChg>
        <pc:spChg chg="del">
          <ac:chgData name="bullingerm.tmt22" userId="9ce3b8b2-035f-4175-b301-998b03a50e38" providerId="ADAL" clId="{D8E03A0D-8A42-4CF5-82BF-586E462557BB}" dt="2024-03-04T17:44:55.658" v="2121" actId="478"/>
          <ac:spMkLst>
            <pc:docMk/>
            <pc:sldMk cId="2468756552" sldId="590"/>
            <ac:spMk id="310" creationId="{E1289D9E-4844-11E3-85D3-CC99965F1F16}"/>
          </ac:spMkLst>
        </pc:spChg>
        <pc:spChg chg="del">
          <ac:chgData name="bullingerm.tmt22" userId="9ce3b8b2-035f-4175-b301-998b03a50e38" providerId="ADAL" clId="{D8E03A0D-8A42-4CF5-82BF-586E462557BB}" dt="2024-03-01T10:49:08.352" v="517" actId="478"/>
          <ac:spMkLst>
            <pc:docMk/>
            <pc:sldMk cId="2468756552" sldId="590"/>
            <ac:spMk id="310" creationId="{EDA0FF97-F8F4-4057-8920-46CCD49C32B9}"/>
          </ac:spMkLst>
        </pc:spChg>
        <pc:spChg chg="del">
          <ac:chgData name="bullingerm.tmt22" userId="9ce3b8b2-035f-4175-b301-998b03a50e38" providerId="ADAL" clId="{D8E03A0D-8A42-4CF5-82BF-586E462557BB}" dt="2024-03-01T10:49:08.352" v="516" actId="478"/>
          <ac:spMkLst>
            <pc:docMk/>
            <pc:sldMk cId="2468756552" sldId="590"/>
            <ac:spMk id="311" creationId="{27C82A29-A12C-247B-CDCC-98DFBD4FC0D6}"/>
          </ac:spMkLst>
        </pc:spChg>
        <pc:spChg chg="del">
          <ac:chgData name="bullingerm.tmt22" userId="9ce3b8b2-035f-4175-b301-998b03a50e38" providerId="ADAL" clId="{D8E03A0D-8A42-4CF5-82BF-586E462557BB}" dt="2024-03-04T17:44:55.658" v="2120" actId="478"/>
          <ac:spMkLst>
            <pc:docMk/>
            <pc:sldMk cId="2468756552" sldId="590"/>
            <ac:spMk id="311" creationId="{ECB97606-8FA7-454F-0492-DC0D4E0E0AF4}"/>
          </ac:spMkLst>
        </pc:spChg>
        <pc:spChg chg="del">
          <ac:chgData name="bullingerm.tmt22" userId="9ce3b8b2-035f-4175-b301-998b03a50e38" providerId="ADAL" clId="{D8E03A0D-8A42-4CF5-82BF-586E462557BB}" dt="2024-03-01T10:49:08.351" v="515" actId="478"/>
          <ac:spMkLst>
            <pc:docMk/>
            <pc:sldMk cId="2468756552" sldId="590"/>
            <ac:spMk id="312" creationId="{3F381E7D-9B89-7A2A-2801-6485E14666E4}"/>
          </ac:spMkLst>
        </pc:spChg>
        <pc:spChg chg="del">
          <ac:chgData name="bullingerm.tmt22" userId="9ce3b8b2-035f-4175-b301-998b03a50e38" providerId="ADAL" clId="{D8E03A0D-8A42-4CF5-82BF-586E462557BB}" dt="2024-03-04T17:44:55.658" v="2119" actId="478"/>
          <ac:spMkLst>
            <pc:docMk/>
            <pc:sldMk cId="2468756552" sldId="590"/>
            <ac:spMk id="312" creationId="{AFBDF85F-6640-65B0-77F2-9F79D9A65F5C}"/>
          </ac:spMkLst>
        </pc:spChg>
        <pc:spChg chg="del">
          <ac:chgData name="bullingerm.tmt22" userId="9ce3b8b2-035f-4175-b301-998b03a50e38" providerId="ADAL" clId="{D8E03A0D-8A42-4CF5-82BF-586E462557BB}" dt="2024-03-01T10:49:08.363" v="536" actId="478"/>
          <ac:spMkLst>
            <pc:docMk/>
            <pc:sldMk cId="2468756552" sldId="590"/>
            <ac:spMk id="313" creationId="{207A6933-AF7F-560D-8788-EDF3D8B6C6EE}"/>
          </ac:spMkLst>
        </pc:spChg>
        <pc:spChg chg="del">
          <ac:chgData name="bullingerm.tmt22" userId="9ce3b8b2-035f-4175-b301-998b03a50e38" providerId="ADAL" clId="{D8E03A0D-8A42-4CF5-82BF-586E462557BB}" dt="2024-03-04T17:44:55.678" v="2140" actId="478"/>
          <ac:spMkLst>
            <pc:docMk/>
            <pc:sldMk cId="2468756552" sldId="590"/>
            <ac:spMk id="313" creationId="{59FD6CB5-D920-46BC-15C3-024A0DE64B14}"/>
          </ac:spMkLst>
        </pc:spChg>
        <pc:spChg chg="del">
          <ac:chgData name="bullingerm.tmt22" userId="9ce3b8b2-035f-4175-b301-998b03a50e38" providerId="ADAL" clId="{D8E03A0D-8A42-4CF5-82BF-586E462557BB}" dt="2024-03-04T17:44:55.678" v="2139" actId="478"/>
          <ac:spMkLst>
            <pc:docMk/>
            <pc:sldMk cId="2468756552" sldId="590"/>
            <ac:spMk id="314" creationId="{B5A245E0-E49F-C555-69BE-480C76A306D3}"/>
          </ac:spMkLst>
        </pc:spChg>
        <pc:spChg chg="del">
          <ac:chgData name="bullingerm.tmt22" userId="9ce3b8b2-035f-4175-b301-998b03a50e38" providerId="ADAL" clId="{D8E03A0D-8A42-4CF5-82BF-586E462557BB}" dt="2024-03-01T10:49:08.361" v="535" actId="478"/>
          <ac:spMkLst>
            <pc:docMk/>
            <pc:sldMk cId="2468756552" sldId="590"/>
            <ac:spMk id="314" creationId="{BC47DB4F-9541-A8D8-B5EC-4E7C3F8F03C3}"/>
          </ac:spMkLst>
        </pc:spChg>
        <pc:spChg chg="del">
          <ac:chgData name="bullingerm.tmt22" userId="9ce3b8b2-035f-4175-b301-998b03a50e38" providerId="ADAL" clId="{D8E03A0D-8A42-4CF5-82BF-586E462557BB}" dt="2024-03-01T10:49:08.361" v="534" actId="478"/>
          <ac:spMkLst>
            <pc:docMk/>
            <pc:sldMk cId="2468756552" sldId="590"/>
            <ac:spMk id="315" creationId="{0747710C-3023-BED3-199C-E207B15E4AD1}"/>
          </ac:spMkLst>
        </pc:spChg>
        <pc:spChg chg="del">
          <ac:chgData name="bullingerm.tmt22" userId="9ce3b8b2-035f-4175-b301-998b03a50e38" providerId="ADAL" clId="{D8E03A0D-8A42-4CF5-82BF-586E462557BB}" dt="2024-03-04T17:44:55.678" v="2138" actId="478"/>
          <ac:spMkLst>
            <pc:docMk/>
            <pc:sldMk cId="2468756552" sldId="590"/>
            <ac:spMk id="315" creationId="{C65EAAFD-DFB5-914F-628A-296B06AED8DB}"/>
          </ac:spMkLst>
        </pc:spChg>
        <pc:spChg chg="del">
          <ac:chgData name="bullingerm.tmt22" userId="9ce3b8b2-035f-4175-b301-998b03a50e38" providerId="ADAL" clId="{D8E03A0D-8A42-4CF5-82BF-586E462557BB}" dt="2024-03-01T10:49:08.361" v="533" actId="478"/>
          <ac:spMkLst>
            <pc:docMk/>
            <pc:sldMk cId="2468756552" sldId="590"/>
            <ac:spMk id="316" creationId="{574B4558-B31B-11B9-9FEF-B1230D77A373}"/>
          </ac:spMkLst>
        </pc:spChg>
        <pc:spChg chg="del">
          <ac:chgData name="bullingerm.tmt22" userId="9ce3b8b2-035f-4175-b301-998b03a50e38" providerId="ADAL" clId="{D8E03A0D-8A42-4CF5-82BF-586E462557BB}" dt="2024-03-04T17:44:55.678" v="2137" actId="478"/>
          <ac:spMkLst>
            <pc:docMk/>
            <pc:sldMk cId="2468756552" sldId="590"/>
            <ac:spMk id="316" creationId="{7FE4377A-68CA-38F7-428D-C09AFEAA837B}"/>
          </ac:spMkLst>
        </pc:spChg>
        <pc:spChg chg="del">
          <ac:chgData name="bullingerm.tmt22" userId="9ce3b8b2-035f-4175-b301-998b03a50e38" providerId="ADAL" clId="{D8E03A0D-8A42-4CF5-82BF-586E462557BB}" dt="2024-03-04T17:44:55.678" v="2136" actId="478"/>
          <ac:spMkLst>
            <pc:docMk/>
            <pc:sldMk cId="2468756552" sldId="590"/>
            <ac:spMk id="317" creationId="{64A65045-9BB8-9623-F5B5-2BF83C969165}"/>
          </ac:spMkLst>
        </pc:spChg>
        <pc:spChg chg="del">
          <ac:chgData name="bullingerm.tmt22" userId="9ce3b8b2-035f-4175-b301-998b03a50e38" providerId="ADAL" clId="{D8E03A0D-8A42-4CF5-82BF-586E462557BB}" dt="2024-03-01T10:49:08.353" v="532" actId="478"/>
          <ac:spMkLst>
            <pc:docMk/>
            <pc:sldMk cId="2468756552" sldId="590"/>
            <ac:spMk id="317" creationId="{7B429A85-1921-1BEE-6635-394CB881FC30}"/>
          </ac:spMkLst>
        </pc:spChg>
        <pc:spChg chg="del">
          <ac:chgData name="bullingerm.tmt22" userId="9ce3b8b2-035f-4175-b301-998b03a50e38" providerId="ADAL" clId="{D8E03A0D-8A42-4CF5-82BF-586E462557BB}" dt="2024-03-01T10:49:08.353" v="531" actId="478"/>
          <ac:spMkLst>
            <pc:docMk/>
            <pc:sldMk cId="2468756552" sldId="590"/>
            <ac:spMk id="318" creationId="{590A9DD6-D96A-FD27-4BD9-68E3E0053C43}"/>
          </ac:spMkLst>
        </pc:spChg>
        <pc:spChg chg="del">
          <ac:chgData name="bullingerm.tmt22" userId="9ce3b8b2-035f-4175-b301-998b03a50e38" providerId="ADAL" clId="{D8E03A0D-8A42-4CF5-82BF-586E462557BB}" dt="2024-03-04T17:44:55.678" v="2135" actId="478"/>
          <ac:spMkLst>
            <pc:docMk/>
            <pc:sldMk cId="2468756552" sldId="590"/>
            <ac:spMk id="318" creationId="{CBC3E57F-63B8-FF5F-7BF4-877481991604}"/>
          </ac:spMkLst>
        </pc:spChg>
        <pc:spChg chg="del">
          <ac:chgData name="bullingerm.tmt22" userId="9ce3b8b2-035f-4175-b301-998b03a50e38" providerId="ADAL" clId="{D8E03A0D-8A42-4CF5-82BF-586E462557BB}" dt="2024-03-01T10:49:08.353" v="530" actId="478"/>
          <ac:spMkLst>
            <pc:docMk/>
            <pc:sldMk cId="2468756552" sldId="590"/>
            <ac:spMk id="319" creationId="{40E9204C-5BD9-FB9A-6DA2-C1743E66FCBA}"/>
          </ac:spMkLst>
        </pc:spChg>
        <pc:spChg chg="del">
          <ac:chgData name="bullingerm.tmt22" userId="9ce3b8b2-035f-4175-b301-998b03a50e38" providerId="ADAL" clId="{D8E03A0D-8A42-4CF5-82BF-586E462557BB}" dt="2024-03-04T17:44:55.673" v="2134" actId="478"/>
          <ac:spMkLst>
            <pc:docMk/>
            <pc:sldMk cId="2468756552" sldId="590"/>
            <ac:spMk id="319" creationId="{9BFA9F3E-FCB6-0EDB-A8B8-43CFC6D80180}"/>
          </ac:spMkLst>
        </pc:spChg>
        <pc:spChg chg="del">
          <ac:chgData name="bullingerm.tmt22" userId="9ce3b8b2-035f-4175-b301-998b03a50e38" providerId="ADAL" clId="{D8E03A0D-8A42-4CF5-82BF-586E462557BB}" dt="2024-03-04T17:44:55.673" v="2133" actId="478"/>
          <ac:spMkLst>
            <pc:docMk/>
            <pc:sldMk cId="2468756552" sldId="590"/>
            <ac:spMk id="320" creationId="{3BD6A410-1999-87B7-F7DC-501EBBC783C3}"/>
          </ac:spMkLst>
        </pc:spChg>
        <pc:spChg chg="del">
          <ac:chgData name="bullingerm.tmt22" userId="9ce3b8b2-035f-4175-b301-998b03a50e38" providerId="ADAL" clId="{D8E03A0D-8A42-4CF5-82BF-586E462557BB}" dt="2024-03-01T10:49:08.353" v="529" actId="478"/>
          <ac:spMkLst>
            <pc:docMk/>
            <pc:sldMk cId="2468756552" sldId="590"/>
            <ac:spMk id="320" creationId="{6DD71942-809C-8CD1-D1DC-09A60A6C6D3F}"/>
          </ac:spMkLst>
        </pc:spChg>
        <pc:spChg chg="del">
          <ac:chgData name="bullingerm.tmt22" userId="9ce3b8b2-035f-4175-b301-998b03a50e38" providerId="ADAL" clId="{D8E03A0D-8A42-4CF5-82BF-586E462557BB}" dt="2024-03-04T17:44:55.670" v="2125" actId="478"/>
          <ac:spMkLst>
            <pc:docMk/>
            <pc:sldMk cId="2468756552" sldId="590"/>
            <ac:spMk id="321" creationId="{9AA4A87F-17E2-C69F-8899-AC62F44F4AEC}"/>
          </ac:spMkLst>
        </pc:spChg>
        <pc:spChg chg="del">
          <ac:chgData name="bullingerm.tmt22" userId="9ce3b8b2-035f-4175-b301-998b03a50e38" providerId="ADAL" clId="{D8E03A0D-8A42-4CF5-82BF-586E462557BB}" dt="2024-03-01T10:49:08.353" v="521" actId="478"/>
          <ac:spMkLst>
            <pc:docMk/>
            <pc:sldMk cId="2468756552" sldId="590"/>
            <ac:spMk id="321" creationId="{BAEC4708-0EBA-0B81-B73A-D992CF481DAD}"/>
          </ac:spMkLst>
        </pc:spChg>
        <pc:spChg chg="del">
          <ac:chgData name="bullingerm.tmt22" userId="9ce3b8b2-035f-4175-b301-998b03a50e38" providerId="ADAL" clId="{D8E03A0D-8A42-4CF5-82BF-586E462557BB}" dt="2024-03-01T10:49:08.343" v="514" actId="478"/>
          <ac:spMkLst>
            <pc:docMk/>
            <pc:sldMk cId="2468756552" sldId="590"/>
            <ac:spMk id="322" creationId="{1D76CDF2-76D5-08E7-B147-7D5872F3A987}"/>
          </ac:spMkLst>
        </pc:spChg>
        <pc:spChg chg="del">
          <ac:chgData name="bullingerm.tmt22" userId="9ce3b8b2-035f-4175-b301-998b03a50e38" providerId="ADAL" clId="{D8E03A0D-8A42-4CF5-82BF-586E462557BB}" dt="2024-03-04T17:44:55.658" v="2118" actId="478"/>
          <ac:spMkLst>
            <pc:docMk/>
            <pc:sldMk cId="2468756552" sldId="590"/>
            <ac:spMk id="322" creationId="{5FFCBF7B-3564-0D91-0F51-7EAB19F0BD66}"/>
          </ac:spMkLst>
        </pc:spChg>
        <pc:spChg chg="del">
          <ac:chgData name="bullingerm.tmt22" userId="9ce3b8b2-035f-4175-b301-998b03a50e38" providerId="ADAL" clId="{D8E03A0D-8A42-4CF5-82BF-586E462557BB}" dt="2024-03-01T10:49:08.353" v="522" actId="478"/>
          <ac:spMkLst>
            <pc:docMk/>
            <pc:sldMk cId="2468756552" sldId="590"/>
            <ac:spMk id="323" creationId="{18454559-D4EC-CCAD-5C85-ED3D6220A86C}"/>
          </ac:spMkLst>
        </pc:spChg>
        <pc:spChg chg="del">
          <ac:chgData name="bullingerm.tmt22" userId="9ce3b8b2-035f-4175-b301-998b03a50e38" providerId="ADAL" clId="{D8E03A0D-8A42-4CF5-82BF-586E462557BB}" dt="2024-03-04T17:44:55.672" v="2126" actId="478"/>
          <ac:spMkLst>
            <pc:docMk/>
            <pc:sldMk cId="2468756552" sldId="590"/>
            <ac:spMk id="323" creationId="{D0A29509-BF44-2E0C-3283-B42273897A35}"/>
          </ac:spMkLst>
        </pc:spChg>
        <pc:spChg chg="del">
          <ac:chgData name="bullingerm.tmt22" userId="9ce3b8b2-035f-4175-b301-998b03a50e38" providerId="ADAL" clId="{D8E03A0D-8A42-4CF5-82BF-586E462557BB}" dt="2024-03-01T10:49:08.343" v="513" actId="478"/>
          <ac:spMkLst>
            <pc:docMk/>
            <pc:sldMk cId="2468756552" sldId="590"/>
            <ac:spMk id="324" creationId="{264AA776-C97E-C990-804C-D988E83B7418}"/>
          </ac:spMkLst>
        </pc:spChg>
        <pc:spChg chg="del">
          <ac:chgData name="bullingerm.tmt22" userId="9ce3b8b2-035f-4175-b301-998b03a50e38" providerId="ADAL" clId="{D8E03A0D-8A42-4CF5-82BF-586E462557BB}" dt="2024-03-04T17:44:55.658" v="2117" actId="478"/>
          <ac:spMkLst>
            <pc:docMk/>
            <pc:sldMk cId="2468756552" sldId="590"/>
            <ac:spMk id="324" creationId="{FA2910F3-A32A-6ACA-C1D4-E679D5ABB57C}"/>
          </ac:spMkLst>
        </pc:spChg>
        <pc:spChg chg="del">
          <ac:chgData name="bullingerm.tmt22" userId="9ce3b8b2-035f-4175-b301-998b03a50e38" providerId="ADAL" clId="{D8E03A0D-8A42-4CF5-82BF-586E462557BB}" dt="2024-03-01T10:49:08.343" v="512" actId="478"/>
          <ac:spMkLst>
            <pc:docMk/>
            <pc:sldMk cId="2468756552" sldId="590"/>
            <ac:spMk id="325" creationId="{36C489C7-7231-6470-03C8-E6882DEB8AB3}"/>
          </ac:spMkLst>
        </pc:spChg>
        <pc:spChg chg="del">
          <ac:chgData name="bullingerm.tmt22" userId="9ce3b8b2-035f-4175-b301-998b03a50e38" providerId="ADAL" clId="{D8E03A0D-8A42-4CF5-82BF-586E462557BB}" dt="2024-03-04T17:44:55.658" v="2116" actId="478"/>
          <ac:spMkLst>
            <pc:docMk/>
            <pc:sldMk cId="2468756552" sldId="590"/>
            <ac:spMk id="325" creationId="{F6E8F836-42EF-DB96-F207-355E51E0F208}"/>
          </ac:spMkLst>
        </pc:spChg>
        <pc:spChg chg="del">
          <ac:chgData name="bullingerm.tmt22" userId="9ce3b8b2-035f-4175-b301-998b03a50e38" providerId="ADAL" clId="{D8E03A0D-8A42-4CF5-82BF-586E462557BB}" dt="2024-03-01T10:49:08.343" v="511" actId="478"/>
          <ac:spMkLst>
            <pc:docMk/>
            <pc:sldMk cId="2468756552" sldId="590"/>
            <ac:spMk id="326" creationId="{2A68D4A3-A660-47B5-7CE6-B7655A5BE3E8}"/>
          </ac:spMkLst>
        </pc:spChg>
        <pc:spChg chg="del">
          <ac:chgData name="bullingerm.tmt22" userId="9ce3b8b2-035f-4175-b301-998b03a50e38" providerId="ADAL" clId="{D8E03A0D-8A42-4CF5-82BF-586E462557BB}" dt="2024-03-04T17:44:55.658" v="2115" actId="478"/>
          <ac:spMkLst>
            <pc:docMk/>
            <pc:sldMk cId="2468756552" sldId="590"/>
            <ac:spMk id="326" creationId="{A59A49B6-1360-9C33-8E4B-37BA8CBEA5F0}"/>
          </ac:spMkLst>
        </pc:spChg>
        <pc:spChg chg="del">
          <ac:chgData name="bullingerm.tmt22" userId="9ce3b8b2-035f-4175-b301-998b03a50e38" providerId="ADAL" clId="{D8E03A0D-8A42-4CF5-82BF-586E462557BB}" dt="2024-03-04T17:44:55.658" v="2114" actId="478"/>
          <ac:spMkLst>
            <pc:docMk/>
            <pc:sldMk cId="2468756552" sldId="590"/>
            <ac:spMk id="327" creationId="{AF7C9493-47D1-C427-29BC-A644164F0C11}"/>
          </ac:spMkLst>
        </pc:spChg>
        <pc:spChg chg="del">
          <ac:chgData name="bullingerm.tmt22" userId="9ce3b8b2-035f-4175-b301-998b03a50e38" providerId="ADAL" clId="{D8E03A0D-8A42-4CF5-82BF-586E462557BB}" dt="2024-03-01T10:49:08.343" v="510" actId="478"/>
          <ac:spMkLst>
            <pc:docMk/>
            <pc:sldMk cId="2468756552" sldId="590"/>
            <ac:spMk id="327" creationId="{E288118A-3B50-5C78-8210-9C13D83C7A41}"/>
          </ac:spMkLst>
        </pc:spChg>
        <pc:spChg chg="del">
          <ac:chgData name="bullingerm.tmt22" userId="9ce3b8b2-035f-4175-b301-998b03a50e38" providerId="ADAL" clId="{D8E03A0D-8A42-4CF5-82BF-586E462557BB}" dt="2024-03-04T17:44:55.658" v="2113" actId="478"/>
          <ac:spMkLst>
            <pc:docMk/>
            <pc:sldMk cId="2468756552" sldId="590"/>
            <ac:spMk id="328" creationId="{335DDE1C-8F88-A63C-76C4-B184B494DD89}"/>
          </ac:spMkLst>
        </pc:spChg>
        <pc:spChg chg="del">
          <ac:chgData name="bullingerm.tmt22" userId="9ce3b8b2-035f-4175-b301-998b03a50e38" providerId="ADAL" clId="{D8E03A0D-8A42-4CF5-82BF-586E462557BB}" dt="2024-03-01T10:49:08.343" v="509" actId="478"/>
          <ac:spMkLst>
            <pc:docMk/>
            <pc:sldMk cId="2468756552" sldId="590"/>
            <ac:spMk id="328" creationId="{4E832B67-6ACA-7D13-38E7-DC14217FF9F0}"/>
          </ac:spMkLst>
        </pc:spChg>
        <pc:spChg chg="del">
          <ac:chgData name="bullingerm.tmt22" userId="9ce3b8b2-035f-4175-b301-998b03a50e38" providerId="ADAL" clId="{D8E03A0D-8A42-4CF5-82BF-586E462557BB}" dt="2024-03-01T10:49:08.343" v="508" actId="478"/>
          <ac:spMkLst>
            <pc:docMk/>
            <pc:sldMk cId="2468756552" sldId="590"/>
            <ac:spMk id="329" creationId="{7DE8A5B2-CD20-AA79-98DF-C76DD22B7CCC}"/>
          </ac:spMkLst>
        </pc:spChg>
        <pc:spChg chg="del">
          <ac:chgData name="bullingerm.tmt22" userId="9ce3b8b2-035f-4175-b301-998b03a50e38" providerId="ADAL" clId="{D8E03A0D-8A42-4CF5-82BF-586E462557BB}" dt="2024-03-04T17:44:55.658" v="2112" actId="478"/>
          <ac:spMkLst>
            <pc:docMk/>
            <pc:sldMk cId="2468756552" sldId="590"/>
            <ac:spMk id="329" creationId="{972513CB-9631-63C6-FD59-B786A4541AFB}"/>
          </ac:spMkLst>
        </pc:spChg>
        <pc:spChg chg="del">
          <ac:chgData name="bullingerm.tmt22" userId="9ce3b8b2-035f-4175-b301-998b03a50e38" providerId="ADAL" clId="{D8E03A0D-8A42-4CF5-82BF-586E462557BB}" dt="2024-03-04T17:44:55.658" v="2111" actId="478"/>
          <ac:spMkLst>
            <pc:docMk/>
            <pc:sldMk cId="2468756552" sldId="590"/>
            <ac:spMk id="330" creationId="{3F6FABC3-4E82-919B-5D04-3F104823BCD3}"/>
          </ac:spMkLst>
        </pc:spChg>
        <pc:spChg chg="del">
          <ac:chgData name="bullingerm.tmt22" userId="9ce3b8b2-035f-4175-b301-998b03a50e38" providerId="ADAL" clId="{D8E03A0D-8A42-4CF5-82BF-586E462557BB}" dt="2024-03-01T10:49:08.343" v="507" actId="478"/>
          <ac:spMkLst>
            <pc:docMk/>
            <pc:sldMk cId="2468756552" sldId="590"/>
            <ac:spMk id="330" creationId="{F38B50A1-096B-863E-AF45-FA15F4A33BF7}"/>
          </ac:spMkLst>
        </pc:spChg>
        <pc:spChg chg="del">
          <ac:chgData name="bullingerm.tmt22" userId="9ce3b8b2-035f-4175-b301-998b03a50e38" providerId="ADAL" clId="{D8E03A0D-8A42-4CF5-82BF-586E462557BB}" dt="2024-03-01T10:49:08.343" v="506" actId="478"/>
          <ac:spMkLst>
            <pc:docMk/>
            <pc:sldMk cId="2468756552" sldId="590"/>
            <ac:spMk id="331" creationId="{855EC2A7-78E0-4B46-EC23-C5D1A46733A3}"/>
          </ac:spMkLst>
        </pc:spChg>
        <pc:spChg chg="del">
          <ac:chgData name="bullingerm.tmt22" userId="9ce3b8b2-035f-4175-b301-998b03a50e38" providerId="ADAL" clId="{D8E03A0D-8A42-4CF5-82BF-586E462557BB}" dt="2024-03-04T17:44:55.658" v="2110" actId="478"/>
          <ac:spMkLst>
            <pc:docMk/>
            <pc:sldMk cId="2468756552" sldId="590"/>
            <ac:spMk id="331" creationId="{B62CFC71-ABDA-C03F-404C-1789248993EC}"/>
          </ac:spMkLst>
        </pc:spChg>
        <pc:spChg chg="del">
          <ac:chgData name="bullingerm.tmt22" userId="9ce3b8b2-035f-4175-b301-998b03a50e38" providerId="ADAL" clId="{D8E03A0D-8A42-4CF5-82BF-586E462557BB}" dt="2024-03-01T10:49:08.343" v="505" actId="478"/>
          <ac:spMkLst>
            <pc:docMk/>
            <pc:sldMk cId="2468756552" sldId="590"/>
            <ac:spMk id="332" creationId="{01CC31E9-1B50-C70A-727E-9911503BDB14}"/>
          </ac:spMkLst>
        </pc:spChg>
        <pc:spChg chg="del">
          <ac:chgData name="bullingerm.tmt22" userId="9ce3b8b2-035f-4175-b301-998b03a50e38" providerId="ADAL" clId="{D8E03A0D-8A42-4CF5-82BF-586E462557BB}" dt="2024-03-04T17:44:55.658" v="2109" actId="478"/>
          <ac:spMkLst>
            <pc:docMk/>
            <pc:sldMk cId="2468756552" sldId="590"/>
            <ac:spMk id="332" creationId="{4FFAF835-28E5-C9DC-E5E0-05162A09BBF8}"/>
          </ac:spMkLst>
        </pc:spChg>
        <pc:spChg chg="del">
          <ac:chgData name="bullingerm.tmt22" userId="9ce3b8b2-035f-4175-b301-998b03a50e38" providerId="ADAL" clId="{D8E03A0D-8A42-4CF5-82BF-586E462557BB}" dt="2024-03-04T17:44:55.658" v="2108" actId="478"/>
          <ac:spMkLst>
            <pc:docMk/>
            <pc:sldMk cId="2468756552" sldId="590"/>
            <ac:spMk id="333" creationId="{7A9D3968-7917-DB33-4848-BF860B4D228E}"/>
          </ac:spMkLst>
        </pc:spChg>
        <pc:spChg chg="del">
          <ac:chgData name="bullingerm.tmt22" userId="9ce3b8b2-035f-4175-b301-998b03a50e38" providerId="ADAL" clId="{D8E03A0D-8A42-4CF5-82BF-586E462557BB}" dt="2024-03-01T10:49:08.343" v="504" actId="478"/>
          <ac:spMkLst>
            <pc:docMk/>
            <pc:sldMk cId="2468756552" sldId="590"/>
            <ac:spMk id="333" creationId="{F2D5CABB-F05E-9117-820D-C53A450A4A02}"/>
          </ac:spMkLst>
        </pc:spChg>
        <pc:spChg chg="del">
          <ac:chgData name="bullingerm.tmt22" userId="9ce3b8b2-035f-4175-b301-998b03a50e38" providerId="ADAL" clId="{D8E03A0D-8A42-4CF5-82BF-586E462557BB}" dt="2024-03-04T17:44:55.658" v="2107" actId="478"/>
          <ac:spMkLst>
            <pc:docMk/>
            <pc:sldMk cId="2468756552" sldId="590"/>
            <ac:spMk id="334" creationId="{7B4697E4-1547-6BCA-B297-C480698F645A}"/>
          </ac:spMkLst>
        </pc:spChg>
        <pc:spChg chg="del">
          <ac:chgData name="bullingerm.tmt22" userId="9ce3b8b2-035f-4175-b301-998b03a50e38" providerId="ADAL" clId="{D8E03A0D-8A42-4CF5-82BF-586E462557BB}" dt="2024-03-01T10:49:08.343" v="503" actId="478"/>
          <ac:spMkLst>
            <pc:docMk/>
            <pc:sldMk cId="2468756552" sldId="590"/>
            <ac:spMk id="334" creationId="{F9AE6177-6A3A-9831-28CA-176DF14291DD}"/>
          </ac:spMkLst>
        </pc:spChg>
        <pc:spChg chg="del">
          <ac:chgData name="bullingerm.tmt22" userId="9ce3b8b2-035f-4175-b301-998b03a50e38" providerId="ADAL" clId="{D8E03A0D-8A42-4CF5-82BF-586E462557BB}" dt="2024-03-01T10:49:08.343" v="502" actId="478"/>
          <ac:spMkLst>
            <pc:docMk/>
            <pc:sldMk cId="2468756552" sldId="590"/>
            <ac:spMk id="335" creationId="{0EB8CB90-9CD5-C31F-A206-D82D89D2AC74}"/>
          </ac:spMkLst>
        </pc:spChg>
        <pc:spChg chg="del">
          <ac:chgData name="bullingerm.tmt22" userId="9ce3b8b2-035f-4175-b301-998b03a50e38" providerId="ADAL" clId="{D8E03A0D-8A42-4CF5-82BF-586E462557BB}" dt="2024-03-04T17:44:55.658" v="2106" actId="478"/>
          <ac:spMkLst>
            <pc:docMk/>
            <pc:sldMk cId="2468756552" sldId="590"/>
            <ac:spMk id="335" creationId="{2A067FDC-1561-4368-3E18-ED148E35B041}"/>
          </ac:spMkLst>
        </pc:spChg>
        <pc:spChg chg="del">
          <ac:chgData name="bullingerm.tmt22" userId="9ce3b8b2-035f-4175-b301-998b03a50e38" providerId="ADAL" clId="{D8E03A0D-8A42-4CF5-82BF-586E462557BB}" dt="2024-03-04T17:44:55.648" v="2105" actId="478"/>
          <ac:spMkLst>
            <pc:docMk/>
            <pc:sldMk cId="2468756552" sldId="590"/>
            <ac:spMk id="336" creationId="{27408969-5146-8C39-183C-2F78C06D7498}"/>
          </ac:spMkLst>
        </pc:spChg>
        <pc:spChg chg="del">
          <ac:chgData name="bullingerm.tmt22" userId="9ce3b8b2-035f-4175-b301-998b03a50e38" providerId="ADAL" clId="{D8E03A0D-8A42-4CF5-82BF-586E462557BB}" dt="2024-03-01T10:49:08.341" v="501" actId="478"/>
          <ac:spMkLst>
            <pc:docMk/>
            <pc:sldMk cId="2468756552" sldId="590"/>
            <ac:spMk id="336" creationId="{C0231EF6-460C-4A80-B450-FFC39BDB33C6}"/>
          </ac:spMkLst>
        </pc:spChg>
        <pc:spChg chg="del">
          <ac:chgData name="bullingerm.tmt22" userId="9ce3b8b2-035f-4175-b301-998b03a50e38" providerId="ADAL" clId="{D8E03A0D-8A42-4CF5-82BF-586E462557BB}" dt="2024-03-01T10:49:08.341" v="500" actId="478"/>
          <ac:spMkLst>
            <pc:docMk/>
            <pc:sldMk cId="2468756552" sldId="590"/>
            <ac:spMk id="337" creationId="{053DA13D-1113-C444-9836-09D2B2449AF0}"/>
          </ac:spMkLst>
        </pc:spChg>
        <pc:spChg chg="del">
          <ac:chgData name="bullingerm.tmt22" userId="9ce3b8b2-035f-4175-b301-998b03a50e38" providerId="ADAL" clId="{D8E03A0D-8A42-4CF5-82BF-586E462557BB}" dt="2024-03-04T17:44:55.648" v="2104" actId="478"/>
          <ac:spMkLst>
            <pc:docMk/>
            <pc:sldMk cId="2468756552" sldId="590"/>
            <ac:spMk id="337" creationId="{0CF1A62A-760D-3064-142A-4BD28C00FF7C}"/>
          </ac:spMkLst>
        </pc:spChg>
        <pc:spChg chg="replST">
          <ac:chgData name="bullingerm.tmt22" userId="9ce3b8b2-035f-4175-b301-998b03a50e38" providerId="ADAL" clId="{D8E03A0D-8A42-4CF5-82BF-586E462557BB}" dt="2024-03-01T10:49:09.392" v="968"/>
          <ac:spMkLst>
            <pc:docMk/>
            <pc:sldMk cId="2468756552" sldId="590"/>
            <ac:spMk id="338" creationId="{27B7A62B-CF6E-57D2-9D89-54A4674EB9F3}"/>
          </ac:spMkLst>
        </pc:spChg>
        <pc:spChg chg="replST">
          <ac:chgData name="bullingerm.tmt22" userId="9ce3b8b2-035f-4175-b301-998b03a50e38" providerId="ADAL" clId="{D8E03A0D-8A42-4CF5-82BF-586E462557BB}" dt="2024-03-01T10:49:09.409" v="971"/>
          <ac:spMkLst>
            <pc:docMk/>
            <pc:sldMk cId="2468756552" sldId="590"/>
            <ac:spMk id="339" creationId="{7BA0500E-B793-7928-D2E6-6C36EA71D8B9}"/>
          </ac:spMkLst>
        </pc:spChg>
        <pc:spChg chg="replST">
          <ac:chgData name="bullingerm.tmt22" userId="9ce3b8b2-035f-4175-b301-998b03a50e38" providerId="ADAL" clId="{D8E03A0D-8A42-4CF5-82BF-586E462557BB}" dt="2024-03-01T10:49:09.409" v="975"/>
          <ac:spMkLst>
            <pc:docMk/>
            <pc:sldMk cId="2468756552" sldId="590"/>
            <ac:spMk id="341" creationId="{6EC579BC-418D-40CC-FECB-1509B1E46E58}"/>
          </ac:spMkLst>
        </pc:spChg>
        <pc:spChg chg="replST">
          <ac:chgData name="bullingerm.tmt22" userId="9ce3b8b2-035f-4175-b301-998b03a50e38" providerId="ADAL" clId="{D8E03A0D-8A42-4CF5-82BF-586E462557BB}" dt="2024-03-01T10:49:09.409" v="978"/>
          <ac:spMkLst>
            <pc:docMk/>
            <pc:sldMk cId="2468756552" sldId="590"/>
            <ac:spMk id="342" creationId="{79CC6303-4B7B-BC6C-5AA5-D9E607525E6E}"/>
          </ac:spMkLst>
        </pc:spChg>
        <pc:spChg chg="replST">
          <ac:chgData name="bullingerm.tmt22" userId="9ce3b8b2-035f-4175-b301-998b03a50e38" providerId="ADAL" clId="{D8E03A0D-8A42-4CF5-82BF-586E462557BB}" dt="2024-03-01T10:49:09.425" v="982"/>
          <ac:spMkLst>
            <pc:docMk/>
            <pc:sldMk cId="2468756552" sldId="590"/>
            <ac:spMk id="344" creationId="{780DE7AF-351A-2A6F-4594-DA980AE6036D}"/>
          </ac:spMkLst>
        </pc:spChg>
        <pc:spChg chg="replST">
          <ac:chgData name="bullingerm.tmt22" userId="9ce3b8b2-035f-4175-b301-998b03a50e38" providerId="ADAL" clId="{D8E03A0D-8A42-4CF5-82BF-586E462557BB}" dt="2024-03-04T17:44:56.539" v="2463"/>
          <ac:spMkLst>
            <pc:docMk/>
            <pc:sldMk cId="2468756552" sldId="590"/>
            <ac:spMk id="345" creationId="{38A304B6-F787-72FF-0F0D-3322E5ABBC08}"/>
          </ac:spMkLst>
        </pc:spChg>
        <pc:spChg chg="replST">
          <ac:chgData name="bullingerm.tmt22" userId="9ce3b8b2-035f-4175-b301-998b03a50e38" providerId="ADAL" clId="{D8E03A0D-8A42-4CF5-82BF-586E462557BB}" dt="2024-03-04T17:44:56.548" v="2466"/>
          <ac:spMkLst>
            <pc:docMk/>
            <pc:sldMk cId="2468756552" sldId="590"/>
            <ac:spMk id="346" creationId="{3D5D5118-7064-A6CA-9F8F-6E98DFE522A5}"/>
          </ac:spMkLst>
        </pc:spChg>
        <pc:spChg chg="replST">
          <ac:chgData name="bullingerm.tmt22" userId="9ce3b8b2-035f-4175-b301-998b03a50e38" providerId="ADAL" clId="{D8E03A0D-8A42-4CF5-82BF-586E462557BB}" dt="2024-03-04T17:44:56.558" v="2470"/>
          <ac:spMkLst>
            <pc:docMk/>
            <pc:sldMk cId="2468756552" sldId="590"/>
            <ac:spMk id="348" creationId="{E02C162D-85E8-1B2F-ECE5-5CC661B8EFF8}"/>
          </ac:spMkLst>
        </pc:spChg>
        <pc:spChg chg="replST">
          <ac:chgData name="bullingerm.tmt22" userId="9ce3b8b2-035f-4175-b301-998b03a50e38" providerId="ADAL" clId="{D8E03A0D-8A42-4CF5-82BF-586E462557BB}" dt="2024-03-04T17:44:56.568" v="2473"/>
          <ac:spMkLst>
            <pc:docMk/>
            <pc:sldMk cId="2468756552" sldId="590"/>
            <ac:spMk id="349" creationId="{C3A3A0CE-6BE3-827E-5F72-609B8B886321}"/>
          </ac:spMkLst>
        </pc:spChg>
        <pc:spChg chg="replST">
          <ac:chgData name="bullingerm.tmt22" userId="9ce3b8b2-035f-4175-b301-998b03a50e38" providerId="ADAL" clId="{D8E03A0D-8A42-4CF5-82BF-586E462557BB}" dt="2024-03-04T17:44:56.568" v="2477"/>
          <ac:spMkLst>
            <pc:docMk/>
            <pc:sldMk cId="2468756552" sldId="590"/>
            <ac:spMk id="351" creationId="{204411A0-C46C-854C-2607-C4539810DDBC}"/>
          </ac:spMkLst>
        </pc:spChg>
        <pc:spChg chg="replST">
          <ac:chgData name="bullingerm.tmt22" userId="9ce3b8b2-035f-4175-b301-998b03a50e38" providerId="ADAL" clId="{D8E03A0D-8A42-4CF5-82BF-586E462557BB}" dt="2024-03-04T17:44:56.578" v="2480"/>
          <ac:spMkLst>
            <pc:docMk/>
            <pc:sldMk cId="2468756552" sldId="590"/>
            <ac:spMk id="352" creationId="{A4759599-608A-8865-2BAA-88EEA663BFEF}"/>
          </ac:spMkLst>
        </pc:spChg>
        <pc:spChg chg="replST">
          <ac:chgData name="bullingerm.tmt22" userId="9ce3b8b2-035f-4175-b301-998b03a50e38" providerId="ADAL" clId="{D8E03A0D-8A42-4CF5-82BF-586E462557BB}" dt="2024-03-04T17:44:56.589" v="2484"/>
          <ac:spMkLst>
            <pc:docMk/>
            <pc:sldMk cId="2468756552" sldId="590"/>
            <ac:spMk id="354" creationId="{5ADE2600-7A1E-FC72-C901-E2F8B52F073E}"/>
          </ac:spMkLst>
        </pc:spChg>
        <pc:spChg chg="replST">
          <ac:chgData name="bullingerm.tmt22" userId="9ce3b8b2-035f-4175-b301-998b03a50e38" providerId="ADAL" clId="{D8E03A0D-8A42-4CF5-82BF-586E462557BB}" dt="2024-03-04T17:44:56.590" v="2487"/>
          <ac:spMkLst>
            <pc:docMk/>
            <pc:sldMk cId="2468756552" sldId="590"/>
            <ac:spMk id="355" creationId="{B9BE1520-C311-FA31-8598-D6774578F002}"/>
          </ac:spMkLst>
        </pc:spChg>
        <pc:spChg chg="replST">
          <ac:chgData name="bullingerm.tmt22" userId="9ce3b8b2-035f-4175-b301-998b03a50e38" providerId="ADAL" clId="{D8E03A0D-8A42-4CF5-82BF-586E462557BB}" dt="2024-03-04T17:44:56.598" v="2491"/>
          <ac:spMkLst>
            <pc:docMk/>
            <pc:sldMk cId="2468756552" sldId="590"/>
            <ac:spMk id="357" creationId="{A2DE4006-72CE-7A61-FA60-34804F3DB82B}"/>
          </ac:spMkLst>
        </pc:spChg>
        <pc:spChg chg="replST">
          <ac:chgData name="bullingerm.tmt22" userId="9ce3b8b2-035f-4175-b301-998b03a50e38" providerId="ADAL" clId="{D8E03A0D-8A42-4CF5-82BF-586E462557BB}" dt="2024-03-04T17:44:56.608" v="2494"/>
          <ac:spMkLst>
            <pc:docMk/>
            <pc:sldMk cId="2468756552" sldId="590"/>
            <ac:spMk id="358" creationId="{D2C3D21D-AA2E-A855-0AA3-725C2B7F0856}"/>
          </ac:spMkLst>
        </pc:spChg>
        <pc:spChg chg="replST">
          <ac:chgData name="bullingerm.tmt22" userId="9ce3b8b2-035f-4175-b301-998b03a50e38" providerId="ADAL" clId="{D8E03A0D-8A42-4CF5-82BF-586E462557BB}" dt="2024-03-04T17:44:56.608" v="2498"/>
          <ac:spMkLst>
            <pc:docMk/>
            <pc:sldMk cId="2468756552" sldId="590"/>
            <ac:spMk id="360" creationId="{7FDA90FD-8EA5-A0DD-9508-F6356F947B02}"/>
          </ac:spMkLst>
        </pc:spChg>
        <pc:spChg chg="replST">
          <ac:chgData name="bullingerm.tmt22" userId="9ce3b8b2-035f-4175-b301-998b03a50e38" providerId="ADAL" clId="{D8E03A0D-8A42-4CF5-82BF-586E462557BB}" dt="2024-03-04T17:44:56.618" v="2501"/>
          <ac:spMkLst>
            <pc:docMk/>
            <pc:sldMk cId="2468756552" sldId="590"/>
            <ac:spMk id="361" creationId="{6AA0C6D2-08FB-0B7F-D234-D8D6E117384F}"/>
          </ac:spMkLst>
        </pc:spChg>
        <pc:spChg chg="ord replST">
          <ac:chgData name="bullingerm.tmt22" userId="9ce3b8b2-035f-4175-b301-998b03a50e38" providerId="ADAL" clId="{D8E03A0D-8A42-4CF5-82BF-586E462557BB}" dt="2024-03-04T17:44:56.628" v="2509"/>
          <ac:spMkLst>
            <pc:docMk/>
            <pc:sldMk cId="2468756552" sldId="590"/>
            <ac:spMk id="362" creationId="{131B5AB2-F078-77EC-9217-04C2350D99B0}"/>
          </ac:spMkLst>
        </pc:spChg>
        <pc:spChg chg="del">
          <ac:chgData name="bullingerm.tmt22" userId="9ce3b8b2-035f-4175-b301-998b03a50e38" providerId="ADAL" clId="{D8E03A0D-8A42-4CF5-82BF-586E462557BB}" dt="2024-03-01T10:49:08.323" v="499" actId="478"/>
          <ac:spMkLst>
            <pc:docMk/>
            <pc:sldMk cId="2468756552" sldId="590"/>
            <ac:spMk id="365" creationId="{AFEF6FC3-09DF-7E64-C967-2307FD37772A}"/>
          </ac:spMkLst>
        </pc:spChg>
        <pc:spChg chg="replST">
          <ac:chgData name="bullingerm.tmt22" userId="9ce3b8b2-035f-4175-b301-998b03a50e38" providerId="ADAL" clId="{D8E03A0D-8A42-4CF5-82BF-586E462557BB}" dt="2024-03-01T10:49:09.442" v="985"/>
          <ac:spMkLst>
            <pc:docMk/>
            <pc:sldMk cId="2468756552" sldId="590"/>
            <ac:spMk id="366" creationId="{ED5144A8-FDFC-E9D3-624A-AE76AC496E1A}"/>
          </ac:spMkLst>
        </pc:spChg>
        <pc:spChg chg="replST">
          <ac:chgData name="bullingerm.tmt22" userId="9ce3b8b2-035f-4175-b301-998b03a50e38" providerId="ADAL" clId="{D8E03A0D-8A42-4CF5-82BF-586E462557BB}" dt="2024-03-01T10:49:09.457" v="989"/>
          <ac:spMkLst>
            <pc:docMk/>
            <pc:sldMk cId="2468756552" sldId="590"/>
            <ac:spMk id="368" creationId="{99822EA3-0A38-090C-03F4-F0F1C22138D6}"/>
          </ac:spMkLst>
        </pc:spChg>
        <pc:spChg chg="replST">
          <ac:chgData name="bullingerm.tmt22" userId="9ce3b8b2-035f-4175-b301-998b03a50e38" providerId="ADAL" clId="{D8E03A0D-8A42-4CF5-82BF-586E462557BB}" dt="2024-03-01T10:49:09.457" v="992"/>
          <ac:spMkLst>
            <pc:docMk/>
            <pc:sldMk cId="2468756552" sldId="590"/>
            <ac:spMk id="369" creationId="{9103C779-BA5D-B6E1-CA76-730B8A6AAD99}"/>
          </ac:spMkLst>
        </pc:spChg>
        <pc:spChg chg="replST">
          <ac:chgData name="bullingerm.tmt22" userId="9ce3b8b2-035f-4175-b301-998b03a50e38" providerId="ADAL" clId="{D8E03A0D-8A42-4CF5-82BF-586E462557BB}" dt="2024-03-01T10:49:09.474" v="996"/>
          <ac:spMkLst>
            <pc:docMk/>
            <pc:sldMk cId="2468756552" sldId="590"/>
            <ac:spMk id="371" creationId="{44DF9397-B808-C523-BE30-C3E8E2B86E1F}"/>
          </ac:spMkLst>
        </pc:spChg>
        <pc:spChg chg="replST">
          <ac:chgData name="bullingerm.tmt22" userId="9ce3b8b2-035f-4175-b301-998b03a50e38" providerId="ADAL" clId="{D8E03A0D-8A42-4CF5-82BF-586E462557BB}" dt="2024-03-01T10:49:09.474" v="999"/>
          <ac:spMkLst>
            <pc:docMk/>
            <pc:sldMk cId="2468756552" sldId="590"/>
            <ac:spMk id="372" creationId="{77C3D5DB-E4C0-8FE2-FAF5-04C20C6D5A4A}"/>
          </ac:spMkLst>
        </pc:spChg>
        <pc:spChg chg="replST">
          <ac:chgData name="bullingerm.tmt22" userId="9ce3b8b2-035f-4175-b301-998b03a50e38" providerId="ADAL" clId="{D8E03A0D-8A42-4CF5-82BF-586E462557BB}" dt="2024-03-01T10:49:09.492" v="1003"/>
          <ac:spMkLst>
            <pc:docMk/>
            <pc:sldMk cId="2468756552" sldId="590"/>
            <ac:spMk id="374" creationId="{08E36731-AF92-08B2-6003-0F37D5538B62}"/>
          </ac:spMkLst>
        </pc:spChg>
        <pc:spChg chg="replST">
          <ac:chgData name="bullingerm.tmt22" userId="9ce3b8b2-035f-4175-b301-998b03a50e38" providerId="ADAL" clId="{D8E03A0D-8A42-4CF5-82BF-586E462557BB}" dt="2024-03-01T10:49:09.492" v="1006"/>
          <ac:spMkLst>
            <pc:docMk/>
            <pc:sldMk cId="2468756552" sldId="590"/>
            <ac:spMk id="375" creationId="{B2193780-D786-B8F4-6F2A-BF2F9E1FC724}"/>
          </ac:spMkLst>
        </pc:spChg>
        <pc:spChg chg="replST">
          <ac:chgData name="bullingerm.tmt22" userId="9ce3b8b2-035f-4175-b301-998b03a50e38" providerId="ADAL" clId="{D8E03A0D-8A42-4CF5-82BF-586E462557BB}" dt="2024-03-01T10:49:09.492" v="1010"/>
          <ac:spMkLst>
            <pc:docMk/>
            <pc:sldMk cId="2468756552" sldId="590"/>
            <ac:spMk id="377" creationId="{2A3044D5-1086-98EF-3292-756407D4C98C}"/>
          </ac:spMkLst>
        </pc:spChg>
        <pc:spChg chg="replST">
          <ac:chgData name="bullingerm.tmt22" userId="9ce3b8b2-035f-4175-b301-998b03a50e38" providerId="ADAL" clId="{D8E03A0D-8A42-4CF5-82BF-586E462557BB}" dt="2024-03-01T10:49:09.508" v="1013"/>
          <ac:spMkLst>
            <pc:docMk/>
            <pc:sldMk cId="2468756552" sldId="590"/>
            <ac:spMk id="378" creationId="{1B911372-7968-A8EF-8A65-375FC7F43EAD}"/>
          </ac:spMkLst>
        </pc:spChg>
        <pc:spChg chg="del ord replST">
          <ac:chgData name="bullingerm.tmt22" userId="9ce3b8b2-035f-4175-b301-998b03a50e38" providerId="ADAL" clId="{D8E03A0D-8A42-4CF5-82BF-586E462557BB}" dt="2024-03-04T17:44:55.636" v="2103" actId="478"/>
          <ac:spMkLst>
            <pc:docMk/>
            <pc:sldMk cId="2468756552" sldId="590"/>
            <ac:spMk id="379" creationId="{74FA8AA5-6337-864C-363F-862A57EF700A}"/>
          </ac:spMkLst>
        </pc:spChg>
        <pc:cxnChg chg="del ord replST">
          <ac:chgData name="bullingerm.tmt22" userId="9ce3b8b2-035f-4175-b301-998b03a50e38" providerId="ADAL" clId="{D8E03A0D-8A42-4CF5-82BF-586E462557BB}" dt="2024-03-04T17:44:55.628" v="2097" actId="478"/>
          <ac:cxnSpMkLst>
            <pc:docMk/>
            <pc:sldMk cId="2468756552" sldId="590"/>
            <ac:cxnSpMk id="340" creationId="{47270873-3F66-B938-09C1-25B493E3318C}"/>
          </ac:cxnSpMkLst>
        </pc:cxnChg>
        <pc:cxnChg chg="del ord replST">
          <ac:chgData name="bullingerm.tmt22" userId="9ce3b8b2-035f-4175-b301-998b03a50e38" providerId="ADAL" clId="{D8E03A0D-8A42-4CF5-82BF-586E462557BB}" dt="2024-03-04T17:44:55.628" v="2098" actId="478"/>
          <ac:cxnSpMkLst>
            <pc:docMk/>
            <pc:sldMk cId="2468756552" sldId="590"/>
            <ac:cxnSpMk id="343" creationId="{F6B5ED5F-CEAD-E499-91AF-D278A830FD12}"/>
          </ac:cxnSpMkLst>
        </pc:cxnChg>
        <pc:cxnChg chg="del">
          <ac:chgData name="bullingerm.tmt22" userId="9ce3b8b2-035f-4175-b301-998b03a50e38" providerId="ADAL" clId="{D8E03A0D-8A42-4CF5-82BF-586E462557BB}" dt="2024-03-01T10:49:08.323" v="493" actId="478"/>
          <ac:cxnSpMkLst>
            <pc:docMk/>
            <pc:sldMk cId="2468756552" sldId="590"/>
            <ac:cxnSpMk id="347" creationId="{9F92E19B-1DE2-5855-C1B4-D9ECDD157C11}"/>
          </ac:cxnSpMkLst>
        </pc:cxnChg>
        <pc:cxnChg chg="ord replST">
          <ac:chgData name="bullingerm.tmt22" userId="9ce3b8b2-035f-4175-b301-998b03a50e38" providerId="ADAL" clId="{D8E03A0D-8A42-4CF5-82BF-586E462557BB}" dt="2024-03-04T17:44:56.618" v="2504"/>
          <ac:cxnSpMkLst>
            <pc:docMk/>
            <pc:sldMk cId="2468756552" sldId="590"/>
            <ac:cxnSpMk id="347" creationId="{ED6FCCA7-99FE-F8A3-4369-24E2301A933A}"/>
          </ac:cxnSpMkLst>
        </pc:cxnChg>
        <pc:cxnChg chg="del">
          <ac:chgData name="bullingerm.tmt22" userId="9ce3b8b2-035f-4175-b301-998b03a50e38" providerId="ADAL" clId="{D8E03A0D-8A42-4CF5-82BF-586E462557BB}" dt="2024-03-01T10:49:08.323" v="494" actId="478"/>
          <ac:cxnSpMkLst>
            <pc:docMk/>
            <pc:sldMk cId="2468756552" sldId="590"/>
            <ac:cxnSpMk id="350" creationId="{52EDFABA-DEC8-0D23-0C07-48C0C0F60030}"/>
          </ac:cxnSpMkLst>
        </pc:cxnChg>
        <pc:cxnChg chg="ord replST">
          <ac:chgData name="bullingerm.tmt22" userId="9ce3b8b2-035f-4175-b301-998b03a50e38" providerId="ADAL" clId="{D8E03A0D-8A42-4CF5-82BF-586E462557BB}" dt="2024-03-04T17:44:56.628" v="2505"/>
          <ac:cxnSpMkLst>
            <pc:docMk/>
            <pc:sldMk cId="2468756552" sldId="590"/>
            <ac:cxnSpMk id="350" creationId="{D2FBBBCA-7947-9B59-D2DA-979C5745E9B8}"/>
          </ac:cxnSpMkLst>
        </pc:cxnChg>
        <pc:cxnChg chg="ord replST">
          <ac:chgData name="bullingerm.tmt22" userId="9ce3b8b2-035f-4175-b301-998b03a50e38" providerId="ADAL" clId="{D8E03A0D-8A42-4CF5-82BF-586E462557BB}" dt="2024-03-04T17:44:56.628" v="2506"/>
          <ac:cxnSpMkLst>
            <pc:docMk/>
            <pc:sldMk cId="2468756552" sldId="590"/>
            <ac:cxnSpMk id="353" creationId="{68A79D1A-343F-587F-1820-3B86D295FE41}"/>
          </ac:cxnSpMkLst>
        </pc:cxnChg>
        <pc:cxnChg chg="del">
          <ac:chgData name="bullingerm.tmt22" userId="9ce3b8b2-035f-4175-b301-998b03a50e38" providerId="ADAL" clId="{D8E03A0D-8A42-4CF5-82BF-586E462557BB}" dt="2024-03-01T10:49:08.323" v="495" actId="478"/>
          <ac:cxnSpMkLst>
            <pc:docMk/>
            <pc:sldMk cId="2468756552" sldId="590"/>
            <ac:cxnSpMk id="353" creationId="{A5534B8F-9723-B6EA-AF5F-6306761FF4C4}"/>
          </ac:cxnSpMkLst>
        </pc:cxnChg>
        <pc:cxnChg chg="del">
          <ac:chgData name="bullingerm.tmt22" userId="9ce3b8b2-035f-4175-b301-998b03a50e38" providerId="ADAL" clId="{D8E03A0D-8A42-4CF5-82BF-586E462557BB}" dt="2024-03-01T10:49:08.323" v="496" actId="478"/>
          <ac:cxnSpMkLst>
            <pc:docMk/>
            <pc:sldMk cId="2468756552" sldId="590"/>
            <ac:cxnSpMk id="356" creationId="{7A0F0E4E-9366-B262-F842-C6F8B1FA9EDE}"/>
          </ac:cxnSpMkLst>
        </pc:cxnChg>
        <pc:cxnChg chg="ord replST">
          <ac:chgData name="bullingerm.tmt22" userId="9ce3b8b2-035f-4175-b301-998b03a50e38" providerId="ADAL" clId="{D8E03A0D-8A42-4CF5-82BF-586E462557BB}" dt="2024-03-04T17:44:56.628" v="2507"/>
          <ac:cxnSpMkLst>
            <pc:docMk/>
            <pc:sldMk cId="2468756552" sldId="590"/>
            <ac:cxnSpMk id="356" creationId="{9D7556BD-B493-E5B0-F7FE-37AF7C385948}"/>
          </ac:cxnSpMkLst>
        </pc:cxnChg>
        <pc:cxnChg chg="ord replST">
          <ac:chgData name="bullingerm.tmt22" userId="9ce3b8b2-035f-4175-b301-998b03a50e38" providerId="ADAL" clId="{D8E03A0D-8A42-4CF5-82BF-586E462557BB}" dt="2024-03-04T17:44:56.628" v="2508"/>
          <ac:cxnSpMkLst>
            <pc:docMk/>
            <pc:sldMk cId="2468756552" sldId="590"/>
            <ac:cxnSpMk id="359" creationId="{3509A4C9-337C-F260-9300-AFE6E08369DE}"/>
          </ac:cxnSpMkLst>
        </pc:cxnChg>
        <pc:cxnChg chg="del">
          <ac:chgData name="bullingerm.tmt22" userId="9ce3b8b2-035f-4175-b301-998b03a50e38" providerId="ADAL" clId="{D8E03A0D-8A42-4CF5-82BF-586E462557BB}" dt="2024-03-01T10:49:08.323" v="497" actId="478"/>
          <ac:cxnSpMkLst>
            <pc:docMk/>
            <pc:sldMk cId="2468756552" sldId="590"/>
            <ac:cxnSpMk id="359" creationId="{40B8847A-2D42-89A3-0C67-9ACBFD23218F}"/>
          </ac:cxnSpMkLst>
        </pc:cxnChg>
        <pc:cxnChg chg="del">
          <ac:chgData name="bullingerm.tmt22" userId="9ce3b8b2-035f-4175-b301-998b03a50e38" providerId="ADAL" clId="{D8E03A0D-8A42-4CF5-82BF-586E462557BB}" dt="2024-03-01T10:49:08.323" v="498" actId="478"/>
          <ac:cxnSpMkLst>
            <pc:docMk/>
            <pc:sldMk cId="2468756552" sldId="590"/>
            <ac:cxnSpMk id="362" creationId="{8509CB98-AA2E-EB7C-09FD-62C41B34A4CF}"/>
          </ac:cxnSpMkLst>
        </pc:cxnChg>
        <pc:cxnChg chg="del ord replST">
          <ac:chgData name="bullingerm.tmt22" userId="9ce3b8b2-035f-4175-b301-998b03a50e38" providerId="ADAL" clId="{D8E03A0D-8A42-4CF5-82BF-586E462557BB}" dt="2024-03-04T17:44:55.636" v="2099" actId="478"/>
          <ac:cxnSpMkLst>
            <pc:docMk/>
            <pc:sldMk cId="2468756552" sldId="590"/>
            <ac:cxnSpMk id="367" creationId="{646D08B8-71C3-9271-7F2D-948B9B418B8F}"/>
          </ac:cxnSpMkLst>
        </pc:cxnChg>
        <pc:cxnChg chg="del ord replST">
          <ac:chgData name="bullingerm.tmt22" userId="9ce3b8b2-035f-4175-b301-998b03a50e38" providerId="ADAL" clId="{D8E03A0D-8A42-4CF5-82BF-586E462557BB}" dt="2024-03-04T17:44:55.636" v="2100" actId="478"/>
          <ac:cxnSpMkLst>
            <pc:docMk/>
            <pc:sldMk cId="2468756552" sldId="590"/>
            <ac:cxnSpMk id="370" creationId="{210F7C39-8218-000E-AC4E-5AFA8DAFCBA6}"/>
          </ac:cxnSpMkLst>
        </pc:cxnChg>
        <pc:cxnChg chg="del ord replST">
          <ac:chgData name="bullingerm.tmt22" userId="9ce3b8b2-035f-4175-b301-998b03a50e38" providerId="ADAL" clId="{D8E03A0D-8A42-4CF5-82BF-586E462557BB}" dt="2024-03-04T17:44:55.636" v="2101" actId="478"/>
          <ac:cxnSpMkLst>
            <pc:docMk/>
            <pc:sldMk cId="2468756552" sldId="590"/>
            <ac:cxnSpMk id="373" creationId="{291B673E-CBD3-4EB6-7B0C-56F4FE8DFEED}"/>
          </ac:cxnSpMkLst>
        </pc:cxnChg>
        <pc:cxnChg chg="del ord replST">
          <ac:chgData name="bullingerm.tmt22" userId="9ce3b8b2-035f-4175-b301-998b03a50e38" providerId="ADAL" clId="{D8E03A0D-8A42-4CF5-82BF-586E462557BB}" dt="2024-03-04T17:44:55.636" v="2102" actId="478"/>
          <ac:cxnSpMkLst>
            <pc:docMk/>
            <pc:sldMk cId="2468756552" sldId="590"/>
            <ac:cxnSpMk id="376" creationId="{970E3C76-66B5-3FAF-B1D2-E6DA13740919}"/>
          </ac:cxnSpMkLst>
        </pc:cxnChg>
      </pc:sldChg>
      <pc:sldChg chg="addSp delSp modSp mod modClrScheme chgLayout">
        <pc:chgData name="bullingerm.tmt22" userId="9ce3b8b2-035f-4175-b301-998b03a50e38" providerId="ADAL" clId="{D8E03A0D-8A42-4CF5-82BF-586E462557BB}" dt="2024-03-04T18:23:17.316" v="3538" actId="20577"/>
        <pc:sldMkLst>
          <pc:docMk/>
          <pc:sldMk cId="3574513803" sldId="591"/>
        </pc:sldMkLst>
        <pc:spChg chg="mod ord">
          <ac:chgData name="bullingerm.tmt22" userId="9ce3b8b2-035f-4175-b301-998b03a50e38" providerId="ADAL" clId="{D8E03A0D-8A42-4CF5-82BF-586E462557BB}" dt="2024-03-04T17:48:11.935" v="2565" actId="700"/>
          <ac:spMkLst>
            <pc:docMk/>
            <pc:sldMk cId="3574513803" sldId="591"/>
            <ac:spMk id="26" creationId="{DD37C719-14B2-41B2-8CAD-71BC625B82EF}"/>
          </ac:spMkLst>
        </pc:spChg>
        <pc:spChg chg="mod ord">
          <ac:chgData name="bullingerm.tmt22" userId="9ce3b8b2-035f-4175-b301-998b03a50e38" providerId="ADAL" clId="{D8E03A0D-8A42-4CF5-82BF-586E462557BB}" dt="2024-03-04T17:48:11.935" v="2565" actId="700"/>
          <ac:spMkLst>
            <pc:docMk/>
            <pc:sldMk cId="3574513803" sldId="591"/>
            <ac:spMk id="27" creationId="{7127265E-C808-1F80-ADA4-2FC5EB0712FD}"/>
          </ac:spMkLst>
        </pc:spChg>
        <pc:spChg chg="add mod">
          <ac:chgData name="bullingerm.tmt22" userId="9ce3b8b2-035f-4175-b301-998b03a50e38" providerId="ADAL" clId="{D8E03A0D-8A42-4CF5-82BF-586E462557BB}" dt="2024-03-04T17:44:56.648" v="2510" actId="478"/>
          <ac:spMkLst>
            <pc:docMk/>
            <pc:sldMk cId="3574513803" sldId="591"/>
            <ac:spMk id="234" creationId="{6C9C1C3E-D2D2-267B-806A-A238ADD06354}"/>
          </ac:spMkLst>
        </pc:spChg>
        <pc:spChg chg="add mod">
          <ac:chgData name="bullingerm.tmt22" userId="9ce3b8b2-035f-4175-b301-998b03a50e38" providerId="ADAL" clId="{D8E03A0D-8A42-4CF5-82BF-586E462557BB}" dt="2024-03-01T10:49:09.540" v="1023" actId="478"/>
          <ac:spMkLst>
            <pc:docMk/>
            <pc:sldMk cId="3574513803" sldId="591"/>
            <ac:spMk id="234" creationId="{BFDEB2B1-42C9-6E4A-782C-FF0403525288}"/>
          </ac:spMkLst>
        </pc:spChg>
        <pc:spChg chg="mod ord replST">
          <ac:chgData name="bullingerm.tmt22" userId="9ce3b8b2-035f-4175-b301-998b03a50e38" providerId="ADAL" clId="{D8E03A0D-8A42-4CF5-82BF-586E462557BB}" dt="2024-03-04T17:48:11.935" v="2565" actId="700"/>
          <ac:spMkLst>
            <pc:docMk/>
            <pc:sldMk cId="3574513803" sldId="591"/>
            <ac:spMk id="235" creationId="{01009BE7-E467-AE63-FE85-3FF72F758418}"/>
          </ac:spMkLst>
        </pc:spChg>
        <pc:spChg chg="del">
          <ac:chgData name="bullingerm.tmt22" userId="9ce3b8b2-035f-4175-b301-998b03a50e38" providerId="ADAL" clId="{D8E03A0D-8A42-4CF5-82BF-586E462557BB}" dt="2024-03-01T10:49:09.540" v="1023" actId="478"/>
          <ac:spMkLst>
            <pc:docMk/>
            <pc:sldMk cId="3574513803" sldId="591"/>
            <ac:spMk id="235" creationId="{EE4BBAFD-2578-E5EF-5F1F-83BF4CB5EB4C}"/>
          </ac:spMkLst>
        </pc:spChg>
        <pc:spChg chg="del mod replST">
          <ac:chgData name="bullingerm.tmt22" userId="9ce3b8b2-035f-4175-b301-998b03a50e38" providerId="ADAL" clId="{D8E03A0D-8A42-4CF5-82BF-586E462557BB}" dt="2024-03-04T17:44:56.648" v="2510" actId="478"/>
          <ac:spMkLst>
            <pc:docMk/>
            <pc:sldMk cId="3574513803" sldId="591"/>
            <ac:spMk id="236" creationId="{E8335CDF-AF14-1E05-F387-2D70C230ED69}"/>
          </ac:spMkLst>
        </pc:spChg>
        <pc:spChg chg="del">
          <ac:chgData name="bullingerm.tmt22" userId="9ce3b8b2-035f-4175-b301-998b03a50e38" providerId="ADAL" clId="{D8E03A0D-8A42-4CF5-82BF-586E462557BB}" dt="2024-03-01T10:49:09.574" v="1052" actId="478"/>
          <ac:spMkLst>
            <pc:docMk/>
            <pc:sldMk cId="3574513803" sldId="591"/>
            <ac:spMk id="237" creationId="{5057F9F6-4800-F0C3-62E0-31AFF3A64ABF}"/>
          </ac:spMkLst>
        </pc:spChg>
        <pc:spChg chg="del">
          <ac:chgData name="bullingerm.tmt22" userId="9ce3b8b2-035f-4175-b301-998b03a50e38" providerId="ADAL" clId="{D8E03A0D-8A42-4CF5-82BF-586E462557BB}" dt="2024-03-04T17:44:56.698" v="2539" actId="478"/>
          <ac:spMkLst>
            <pc:docMk/>
            <pc:sldMk cId="3574513803" sldId="591"/>
            <ac:spMk id="237" creationId="{88E77392-E719-7F8C-16F1-F819802FC396}"/>
          </ac:spMkLst>
        </pc:spChg>
        <pc:spChg chg="del">
          <ac:chgData name="bullingerm.tmt22" userId="9ce3b8b2-035f-4175-b301-998b03a50e38" providerId="ADAL" clId="{D8E03A0D-8A42-4CF5-82BF-586E462557BB}" dt="2024-03-01T10:49:09.574" v="1051" actId="478"/>
          <ac:spMkLst>
            <pc:docMk/>
            <pc:sldMk cId="3574513803" sldId="591"/>
            <ac:spMk id="238" creationId="{A839BC6B-61CC-A9E0-5BF0-3713221BD3F9}"/>
          </ac:spMkLst>
        </pc:spChg>
        <pc:spChg chg="del">
          <ac:chgData name="bullingerm.tmt22" userId="9ce3b8b2-035f-4175-b301-998b03a50e38" providerId="ADAL" clId="{D8E03A0D-8A42-4CF5-82BF-586E462557BB}" dt="2024-03-04T17:44:56.698" v="2538" actId="478"/>
          <ac:spMkLst>
            <pc:docMk/>
            <pc:sldMk cId="3574513803" sldId="591"/>
            <ac:spMk id="238" creationId="{F86D9443-06FB-DEC4-8A8D-40F501446763}"/>
          </ac:spMkLst>
        </pc:spChg>
        <pc:spChg chg="del">
          <ac:chgData name="bullingerm.tmt22" userId="9ce3b8b2-035f-4175-b301-998b03a50e38" providerId="ADAL" clId="{D8E03A0D-8A42-4CF5-82BF-586E462557BB}" dt="2024-03-04T17:44:56.698" v="2537" actId="478"/>
          <ac:spMkLst>
            <pc:docMk/>
            <pc:sldMk cId="3574513803" sldId="591"/>
            <ac:spMk id="239" creationId="{6227B83E-1AE5-DAF8-D107-302CEBB0A5F0}"/>
          </ac:spMkLst>
        </pc:spChg>
        <pc:spChg chg="del">
          <ac:chgData name="bullingerm.tmt22" userId="9ce3b8b2-035f-4175-b301-998b03a50e38" providerId="ADAL" clId="{D8E03A0D-8A42-4CF5-82BF-586E462557BB}" dt="2024-03-01T10:49:09.574" v="1050" actId="478"/>
          <ac:spMkLst>
            <pc:docMk/>
            <pc:sldMk cId="3574513803" sldId="591"/>
            <ac:spMk id="239" creationId="{C0872626-44AA-D9C7-1EED-32713D1E7C49}"/>
          </ac:spMkLst>
        </pc:spChg>
        <pc:spChg chg="del">
          <ac:chgData name="bullingerm.tmt22" userId="9ce3b8b2-035f-4175-b301-998b03a50e38" providerId="ADAL" clId="{D8E03A0D-8A42-4CF5-82BF-586E462557BB}" dt="2024-03-01T10:49:09.574" v="1049" actId="478"/>
          <ac:spMkLst>
            <pc:docMk/>
            <pc:sldMk cId="3574513803" sldId="591"/>
            <ac:spMk id="240" creationId="{B655B078-E409-4F83-E534-C498DB7BF258}"/>
          </ac:spMkLst>
        </pc:spChg>
        <pc:spChg chg="del">
          <ac:chgData name="bullingerm.tmt22" userId="9ce3b8b2-035f-4175-b301-998b03a50e38" providerId="ADAL" clId="{D8E03A0D-8A42-4CF5-82BF-586E462557BB}" dt="2024-03-04T17:44:56.698" v="2536" actId="478"/>
          <ac:spMkLst>
            <pc:docMk/>
            <pc:sldMk cId="3574513803" sldId="591"/>
            <ac:spMk id="240" creationId="{D591054A-1777-1FA9-21E7-BC7F1626121B}"/>
          </ac:spMkLst>
        </pc:spChg>
        <pc:spChg chg="del">
          <ac:chgData name="bullingerm.tmt22" userId="9ce3b8b2-035f-4175-b301-998b03a50e38" providerId="ADAL" clId="{D8E03A0D-8A42-4CF5-82BF-586E462557BB}" dt="2024-03-01T10:49:09.574" v="1048" actId="478"/>
          <ac:spMkLst>
            <pc:docMk/>
            <pc:sldMk cId="3574513803" sldId="591"/>
            <ac:spMk id="241" creationId="{A901833A-57B4-8910-3C9F-C191FEA80AAA}"/>
          </ac:spMkLst>
        </pc:spChg>
        <pc:spChg chg="del">
          <ac:chgData name="bullingerm.tmt22" userId="9ce3b8b2-035f-4175-b301-998b03a50e38" providerId="ADAL" clId="{D8E03A0D-8A42-4CF5-82BF-586E462557BB}" dt="2024-03-04T17:44:56.690" v="2535" actId="478"/>
          <ac:spMkLst>
            <pc:docMk/>
            <pc:sldMk cId="3574513803" sldId="591"/>
            <ac:spMk id="241" creationId="{D64D0471-4586-034D-626D-76892A4B1158}"/>
          </ac:spMkLst>
        </pc:spChg>
        <pc:spChg chg="del">
          <ac:chgData name="bullingerm.tmt22" userId="9ce3b8b2-035f-4175-b301-998b03a50e38" providerId="ADAL" clId="{D8E03A0D-8A42-4CF5-82BF-586E462557BB}" dt="2024-03-04T17:44:56.690" v="2534" actId="478"/>
          <ac:spMkLst>
            <pc:docMk/>
            <pc:sldMk cId="3574513803" sldId="591"/>
            <ac:spMk id="242" creationId="{8B375CF2-E8D9-ADF9-0D9F-B121E73942A8}"/>
          </ac:spMkLst>
        </pc:spChg>
        <pc:spChg chg="del">
          <ac:chgData name="bullingerm.tmt22" userId="9ce3b8b2-035f-4175-b301-998b03a50e38" providerId="ADAL" clId="{D8E03A0D-8A42-4CF5-82BF-586E462557BB}" dt="2024-03-01T10:49:09.574" v="1047" actId="478"/>
          <ac:spMkLst>
            <pc:docMk/>
            <pc:sldMk cId="3574513803" sldId="591"/>
            <ac:spMk id="242" creationId="{D4A24A8B-AD00-0459-5283-B71309787AD0}"/>
          </ac:spMkLst>
        </pc:spChg>
        <pc:spChg chg="del">
          <ac:chgData name="bullingerm.tmt22" userId="9ce3b8b2-035f-4175-b301-998b03a50e38" providerId="ADAL" clId="{D8E03A0D-8A42-4CF5-82BF-586E462557BB}" dt="2024-03-01T10:49:09.574" v="1044" actId="478"/>
          <ac:spMkLst>
            <pc:docMk/>
            <pc:sldMk cId="3574513803" sldId="591"/>
            <ac:spMk id="243" creationId="{6C8208FB-7B84-BF06-8BAD-AF15CAF03A9D}"/>
          </ac:spMkLst>
        </pc:spChg>
        <pc:spChg chg="del">
          <ac:chgData name="bullingerm.tmt22" userId="9ce3b8b2-035f-4175-b301-998b03a50e38" providerId="ADAL" clId="{D8E03A0D-8A42-4CF5-82BF-586E462557BB}" dt="2024-03-04T17:44:56.690" v="2531" actId="478"/>
          <ac:spMkLst>
            <pc:docMk/>
            <pc:sldMk cId="3574513803" sldId="591"/>
            <ac:spMk id="243" creationId="{F8B9C180-C498-7426-86DD-755550D91ACF}"/>
          </ac:spMkLst>
        </pc:spChg>
        <pc:spChg chg="del">
          <ac:chgData name="bullingerm.tmt22" userId="9ce3b8b2-035f-4175-b301-998b03a50e38" providerId="ADAL" clId="{D8E03A0D-8A42-4CF5-82BF-586E462557BB}" dt="2024-03-04T17:44:56.690" v="2530" actId="478"/>
          <ac:spMkLst>
            <pc:docMk/>
            <pc:sldMk cId="3574513803" sldId="591"/>
            <ac:spMk id="244" creationId="{27D9253E-A3A1-4000-B9BA-A68E264F8062}"/>
          </ac:spMkLst>
        </pc:spChg>
        <pc:spChg chg="del">
          <ac:chgData name="bullingerm.tmt22" userId="9ce3b8b2-035f-4175-b301-998b03a50e38" providerId="ADAL" clId="{D8E03A0D-8A42-4CF5-82BF-586E462557BB}" dt="2024-03-01T10:49:09.574" v="1043" actId="478"/>
          <ac:spMkLst>
            <pc:docMk/>
            <pc:sldMk cId="3574513803" sldId="591"/>
            <ac:spMk id="244" creationId="{38BED45E-E364-C67C-18FD-CBDB817CBDE2}"/>
          </ac:spMkLst>
        </pc:spChg>
        <pc:spChg chg="del">
          <ac:chgData name="bullingerm.tmt22" userId="9ce3b8b2-035f-4175-b301-998b03a50e38" providerId="ADAL" clId="{D8E03A0D-8A42-4CF5-82BF-586E462557BB}" dt="2024-03-01T10:49:09.574" v="1042" actId="478"/>
          <ac:spMkLst>
            <pc:docMk/>
            <pc:sldMk cId="3574513803" sldId="591"/>
            <ac:spMk id="245" creationId="{1F0318EF-B0C7-CD74-BE38-F24771B0ACB0}"/>
          </ac:spMkLst>
        </pc:spChg>
        <pc:spChg chg="del">
          <ac:chgData name="bullingerm.tmt22" userId="9ce3b8b2-035f-4175-b301-998b03a50e38" providerId="ADAL" clId="{D8E03A0D-8A42-4CF5-82BF-586E462557BB}" dt="2024-03-04T17:44:56.690" v="2529" actId="478"/>
          <ac:spMkLst>
            <pc:docMk/>
            <pc:sldMk cId="3574513803" sldId="591"/>
            <ac:spMk id="245" creationId="{F1E850B9-FB6E-D9D5-13F6-58D52051E656}"/>
          </ac:spMkLst>
        </pc:spChg>
        <pc:spChg chg="del">
          <ac:chgData name="bullingerm.tmt22" userId="9ce3b8b2-035f-4175-b301-998b03a50e38" providerId="ADAL" clId="{D8E03A0D-8A42-4CF5-82BF-586E462557BB}" dt="2024-03-04T17:44:56.690" v="2528" actId="478"/>
          <ac:spMkLst>
            <pc:docMk/>
            <pc:sldMk cId="3574513803" sldId="591"/>
            <ac:spMk id="246" creationId="{C73523B4-0B43-CD62-9B96-C0481F332FB2}"/>
          </ac:spMkLst>
        </pc:spChg>
        <pc:spChg chg="del">
          <ac:chgData name="bullingerm.tmt22" userId="9ce3b8b2-035f-4175-b301-998b03a50e38" providerId="ADAL" clId="{D8E03A0D-8A42-4CF5-82BF-586E462557BB}" dt="2024-03-01T10:49:09.574" v="1041" actId="478"/>
          <ac:spMkLst>
            <pc:docMk/>
            <pc:sldMk cId="3574513803" sldId="591"/>
            <ac:spMk id="246" creationId="{E7DB344A-8262-7F4C-DFCF-4F23F8755F9B}"/>
          </ac:spMkLst>
        </pc:spChg>
        <pc:spChg chg="del">
          <ac:chgData name="bullingerm.tmt22" userId="9ce3b8b2-035f-4175-b301-998b03a50e38" providerId="ADAL" clId="{D8E03A0D-8A42-4CF5-82BF-586E462557BB}" dt="2024-03-04T17:44:56.690" v="2527" actId="478"/>
          <ac:spMkLst>
            <pc:docMk/>
            <pc:sldMk cId="3574513803" sldId="591"/>
            <ac:spMk id="247" creationId="{8C17F094-2E28-EB19-1506-F1392B12FBFD}"/>
          </ac:spMkLst>
        </pc:spChg>
        <pc:spChg chg="del">
          <ac:chgData name="bullingerm.tmt22" userId="9ce3b8b2-035f-4175-b301-998b03a50e38" providerId="ADAL" clId="{D8E03A0D-8A42-4CF5-82BF-586E462557BB}" dt="2024-03-01T10:49:09.574" v="1040" actId="478"/>
          <ac:spMkLst>
            <pc:docMk/>
            <pc:sldMk cId="3574513803" sldId="591"/>
            <ac:spMk id="247" creationId="{92887A4B-0403-0022-D6B4-3194DEA5E95A}"/>
          </ac:spMkLst>
        </pc:spChg>
        <pc:spChg chg="del">
          <ac:chgData name="bullingerm.tmt22" userId="9ce3b8b2-035f-4175-b301-998b03a50e38" providerId="ADAL" clId="{D8E03A0D-8A42-4CF5-82BF-586E462557BB}" dt="2024-03-01T10:49:09.574" v="1039" actId="478"/>
          <ac:spMkLst>
            <pc:docMk/>
            <pc:sldMk cId="3574513803" sldId="591"/>
            <ac:spMk id="248" creationId="{26D97272-95B4-94CA-626A-2CF5F728EB69}"/>
          </ac:spMkLst>
        </pc:spChg>
        <pc:spChg chg="del">
          <ac:chgData name="bullingerm.tmt22" userId="9ce3b8b2-035f-4175-b301-998b03a50e38" providerId="ADAL" clId="{D8E03A0D-8A42-4CF5-82BF-586E462557BB}" dt="2024-03-04T17:44:56.690" v="2526" actId="478"/>
          <ac:spMkLst>
            <pc:docMk/>
            <pc:sldMk cId="3574513803" sldId="591"/>
            <ac:spMk id="248" creationId="{708B8788-5CF2-2577-0D8C-202875136AA0}"/>
          </ac:spMkLst>
        </pc:spChg>
        <pc:spChg chg="del">
          <ac:chgData name="bullingerm.tmt22" userId="9ce3b8b2-035f-4175-b301-998b03a50e38" providerId="ADAL" clId="{D8E03A0D-8A42-4CF5-82BF-586E462557BB}" dt="2024-03-04T17:44:56.703" v="2547" actId="478"/>
          <ac:spMkLst>
            <pc:docMk/>
            <pc:sldMk cId="3574513803" sldId="591"/>
            <ac:spMk id="249" creationId="{02A0FFA8-85D1-251A-E188-50649D029F80}"/>
          </ac:spMkLst>
        </pc:spChg>
        <pc:spChg chg="del">
          <ac:chgData name="bullingerm.tmt22" userId="9ce3b8b2-035f-4175-b301-998b03a50e38" providerId="ADAL" clId="{D8E03A0D-8A42-4CF5-82BF-586E462557BB}" dt="2024-03-01T10:49:09.592" v="1060" actId="478"/>
          <ac:spMkLst>
            <pc:docMk/>
            <pc:sldMk cId="3574513803" sldId="591"/>
            <ac:spMk id="249" creationId="{70844D1F-4CC3-C3C2-5430-AE68D6760AF2}"/>
          </ac:spMkLst>
        </pc:spChg>
        <pc:spChg chg="del">
          <ac:chgData name="bullingerm.tmt22" userId="9ce3b8b2-035f-4175-b301-998b03a50e38" providerId="ADAL" clId="{D8E03A0D-8A42-4CF5-82BF-586E462557BB}" dt="2024-03-04T17:44:56.703" v="2546" actId="478"/>
          <ac:spMkLst>
            <pc:docMk/>
            <pc:sldMk cId="3574513803" sldId="591"/>
            <ac:spMk id="250" creationId="{3064B500-83B3-1CD1-24BC-63673C7CA086}"/>
          </ac:spMkLst>
        </pc:spChg>
        <pc:spChg chg="del">
          <ac:chgData name="bullingerm.tmt22" userId="9ce3b8b2-035f-4175-b301-998b03a50e38" providerId="ADAL" clId="{D8E03A0D-8A42-4CF5-82BF-586E462557BB}" dt="2024-03-01T10:49:09.592" v="1059" actId="478"/>
          <ac:spMkLst>
            <pc:docMk/>
            <pc:sldMk cId="3574513803" sldId="591"/>
            <ac:spMk id="250" creationId="{84C2DBCF-2CF5-1C32-8287-C7EE327902D1}"/>
          </ac:spMkLst>
        </pc:spChg>
        <pc:spChg chg="del">
          <ac:chgData name="bullingerm.tmt22" userId="9ce3b8b2-035f-4175-b301-998b03a50e38" providerId="ADAL" clId="{D8E03A0D-8A42-4CF5-82BF-586E462557BB}" dt="2024-03-01T10:49:09.592" v="1058" actId="478"/>
          <ac:spMkLst>
            <pc:docMk/>
            <pc:sldMk cId="3574513803" sldId="591"/>
            <ac:spMk id="251" creationId="{5C97F5FF-EB71-9BF7-A594-F498BB456508}"/>
          </ac:spMkLst>
        </pc:spChg>
        <pc:spChg chg="del">
          <ac:chgData name="bullingerm.tmt22" userId="9ce3b8b2-035f-4175-b301-998b03a50e38" providerId="ADAL" clId="{D8E03A0D-8A42-4CF5-82BF-586E462557BB}" dt="2024-03-04T17:44:56.703" v="2545" actId="478"/>
          <ac:spMkLst>
            <pc:docMk/>
            <pc:sldMk cId="3574513803" sldId="591"/>
            <ac:spMk id="251" creationId="{76EEB786-DA2D-3E3F-14B3-B29297DF86E9}"/>
          </ac:spMkLst>
        </pc:spChg>
        <pc:spChg chg="del">
          <ac:chgData name="bullingerm.tmt22" userId="9ce3b8b2-035f-4175-b301-998b03a50e38" providerId="ADAL" clId="{D8E03A0D-8A42-4CF5-82BF-586E462557BB}" dt="2024-03-04T17:44:56.703" v="2544" actId="478"/>
          <ac:spMkLst>
            <pc:docMk/>
            <pc:sldMk cId="3574513803" sldId="591"/>
            <ac:spMk id="252" creationId="{2F8CBFAF-217A-AD2B-5DE6-ED2358661BB0}"/>
          </ac:spMkLst>
        </pc:spChg>
        <pc:spChg chg="del">
          <ac:chgData name="bullingerm.tmt22" userId="9ce3b8b2-035f-4175-b301-998b03a50e38" providerId="ADAL" clId="{D8E03A0D-8A42-4CF5-82BF-586E462557BB}" dt="2024-03-01T10:49:09.592" v="1057" actId="478"/>
          <ac:spMkLst>
            <pc:docMk/>
            <pc:sldMk cId="3574513803" sldId="591"/>
            <ac:spMk id="252" creationId="{3F08EC0A-A5B2-67CD-7943-3D0596BDDB2C}"/>
          </ac:spMkLst>
        </pc:spChg>
        <pc:spChg chg="del">
          <ac:chgData name="bullingerm.tmt22" userId="9ce3b8b2-035f-4175-b301-998b03a50e38" providerId="ADAL" clId="{D8E03A0D-8A42-4CF5-82BF-586E462557BB}" dt="2024-03-04T17:44:56.698" v="2543" actId="478"/>
          <ac:spMkLst>
            <pc:docMk/>
            <pc:sldMk cId="3574513803" sldId="591"/>
            <ac:spMk id="253" creationId="{6DA297BA-233A-92A1-1B60-7CCB4D458F7E}"/>
          </ac:spMkLst>
        </pc:spChg>
        <pc:spChg chg="del">
          <ac:chgData name="bullingerm.tmt22" userId="9ce3b8b2-035f-4175-b301-998b03a50e38" providerId="ADAL" clId="{D8E03A0D-8A42-4CF5-82BF-586E462557BB}" dt="2024-03-01T10:49:09.590" v="1056" actId="478"/>
          <ac:spMkLst>
            <pc:docMk/>
            <pc:sldMk cId="3574513803" sldId="591"/>
            <ac:spMk id="253" creationId="{B40F5AB0-BB7E-0478-A2B6-020C5F66CEE7}"/>
          </ac:spMkLst>
        </pc:spChg>
        <pc:spChg chg="del">
          <ac:chgData name="bullingerm.tmt22" userId="9ce3b8b2-035f-4175-b301-998b03a50e38" providerId="ADAL" clId="{D8E03A0D-8A42-4CF5-82BF-586E462557BB}" dt="2024-03-01T10:49:09.590" v="1055" actId="478"/>
          <ac:spMkLst>
            <pc:docMk/>
            <pc:sldMk cId="3574513803" sldId="591"/>
            <ac:spMk id="254" creationId="{6C8A8A29-A370-B5F5-E94E-54F826DC4063}"/>
          </ac:spMkLst>
        </pc:spChg>
        <pc:spChg chg="del">
          <ac:chgData name="bullingerm.tmt22" userId="9ce3b8b2-035f-4175-b301-998b03a50e38" providerId="ADAL" clId="{D8E03A0D-8A42-4CF5-82BF-586E462557BB}" dt="2024-03-04T17:44:56.698" v="2542" actId="478"/>
          <ac:spMkLst>
            <pc:docMk/>
            <pc:sldMk cId="3574513803" sldId="591"/>
            <ac:spMk id="254" creationId="{9F80FA25-B951-CE5F-A1DC-81078C16BDE1}"/>
          </ac:spMkLst>
        </pc:spChg>
        <pc:spChg chg="del">
          <ac:chgData name="bullingerm.tmt22" userId="9ce3b8b2-035f-4175-b301-998b03a50e38" providerId="ADAL" clId="{D8E03A0D-8A42-4CF5-82BF-586E462557BB}" dt="2024-03-04T17:44:56.698" v="2541" actId="478"/>
          <ac:spMkLst>
            <pc:docMk/>
            <pc:sldMk cId="3574513803" sldId="591"/>
            <ac:spMk id="255" creationId="{C6EFC7C1-E0D8-D630-0698-47A22A7BF855}"/>
          </ac:spMkLst>
        </pc:spChg>
        <pc:spChg chg="del">
          <ac:chgData name="bullingerm.tmt22" userId="9ce3b8b2-035f-4175-b301-998b03a50e38" providerId="ADAL" clId="{D8E03A0D-8A42-4CF5-82BF-586E462557BB}" dt="2024-03-01T10:49:09.590" v="1054" actId="478"/>
          <ac:spMkLst>
            <pc:docMk/>
            <pc:sldMk cId="3574513803" sldId="591"/>
            <ac:spMk id="255" creationId="{F4EC5498-C0E7-901C-D27F-063BF7224097}"/>
          </ac:spMkLst>
        </pc:spChg>
        <pc:spChg chg="del">
          <ac:chgData name="bullingerm.tmt22" userId="9ce3b8b2-035f-4175-b301-998b03a50e38" providerId="ADAL" clId="{D8E03A0D-8A42-4CF5-82BF-586E462557BB}" dt="2024-03-04T17:44:56.698" v="2540" actId="478"/>
          <ac:spMkLst>
            <pc:docMk/>
            <pc:sldMk cId="3574513803" sldId="591"/>
            <ac:spMk id="256" creationId="{C61E2A63-BAC7-230B-BCD0-F15FBCF831D9}"/>
          </ac:spMkLst>
        </pc:spChg>
        <pc:spChg chg="del">
          <ac:chgData name="bullingerm.tmt22" userId="9ce3b8b2-035f-4175-b301-998b03a50e38" providerId="ADAL" clId="{D8E03A0D-8A42-4CF5-82BF-586E462557BB}" dt="2024-03-01T10:49:09.574" v="1053" actId="478"/>
          <ac:spMkLst>
            <pc:docMk/>
            <pc:sldMk cId="3574513803" sldId="591"/>
            <ac:spMk id="256" creationId="{CEA5D551-0CF3-59FC-4254-CAAB25CF66E4}"/>
          </ac:spMkLst>
        </pc:spChg>
        <pc:spChg chg="del">
          <ac:chgData name="bullingerm.tmt22" userId="9ce3b8b2-035f-4175-b301-998b03a50e38" providerId="ADAL" clId="{D8E03A0D-8A42-4CF5-82BF-586E462557BB}" dt="2024-03-04T17:44:56.690" v="2532" actId="478"/>
          <ac:spMkLst>
            <pc:docMk/>
            <pc:sldMk cId="3574513803" sldId="591"/>
            <ac:spMk id="257" creationId="{0DD4913C-B3B9-5F28-336E-E8782B498FDE}"/>
          </ac:spMkLst>
        </pc:spChg>
        <pc:spChg chg="del">
          <ac:chgData name="bullingerm.tmt22" userId="9ce3b8b2-035f-4175-b301-998b03a50e38" providerId="ADAL" clId="{D8E03A0D-8A42-4CF5-82BF-586E462557BB}" dt="2024-03-01T10:49:09.574" v="1045" actId="478"/>
          <ac:spMkLst>
            <pc:docMk/>
            <pc:sldMk cId="3574513803" sldId="591"/>
            <ac:spMk id="257" creationId="{5C69D80F-919C-5C1C-0DA7-10721E54DAFA}"/>
          </ac:spMkLst>
        </pc:spChg>
        <pc:spChg chg="del">
          <ac:chgData name="bullingerm.tmt22" userId="9ce3b8b2-035f-4175-b301-998b03a50e38" providerId="ADAL" clId="{D8E03A0D-8A42-4CF5-82BF-586E462557BB}" dt="2024-03-04T17:44:56.689" v="2525" actId="478"/>
          <ac:spMkLst>
            <pc:docMk/>
            <pc:sldMk cId="3574513803" sldId="591"/>
            <ac:spMk id="258" creationId="{4788B858-ED02-5E70-1DE4-6D6EB9EBFCA0}"/>
          </ac:spMkLst>
        </pc:spChg>
        <pc:spChg chg="del">
          <ac:chgData name="bullingerm.tmt22" userId="9ce3b8b2-035f-4175-b301-998b03a50e38" providerId="ADAL" clId="{D8E03A0D-8A42-4CF5-82BF-586E462557BB}" dt="2024-03-01T10:49:09.574" v="1038" actId="478"/>
          <ac:spMkLst>
            <pc:docMk/>
            <pc:sldMk cId="3574513803" sldId="591"/>
            <ac:spMk id="258" creationId="{DAA204F2-8746-89F0-1B8B-7807AED95C26}"/>
          </ac:spMkLst>
        </pc:spChg>
        <pc:spChg chg="del">
          <ac:chgData name="bullingerm.tmt22" userId="9ce3b8b2-035f-4175-b301-998b03a50e38" providerId="ADAL" clId="{D8E03A0D-8A42-4CF5-82BF-586E462557BB}" dt="2024-03-04T17:44:56.690" v="2533" actId="478"/>
          <ac:spMkLst>
            <pc:docMk/>
            <pc:sldMk cId="3574513803" sldId="591"/>
            <ac:spMk id="259" creationId="{236BD5D7-93C3-E1E2-E4B8-6945E1368915}"/>
          </ac:spMkLst>
        </pc:spChg>
        <pc:spChg chg="del">
          <ac:chgData name="bullingerm.tmt22" userId="9ce3b8b2-035f-4175-b301-998b03a50e38" providerId="ADAL" clId="{D8E03A0D-8A42-4CF5-82BF-586E462557BB}" dt="2024-03-01T10:49:09.574" v="1046" actId="478"/>
          <ac:spMkLst>
            <pc:docMk/>
            <pc:sldMk cId="3574513803" sldId="591"/>
            <ac:spMk id="259" creationId="{8BB5A242-37DA-53B8-3D74-A0847C5AE226}"/>
          </ac:spMkLst>
        </pc:spChg>
        <pc:spChg chg="del">
          <ac:chgData name="bullingerm.tmt22" userId="9ce3b8b2-035f-4175-b301-998b03a50e38" providerId="ADAL" clId="{D8E03A0D-8A42-4CF5-82BF-586E462557BB}" dt="2024-03-04T17:44:56.689" v="2524" actId="478"/>
          <ac:spMkLst>
            <pc:docMk/>
            <pc:sldMk cId="3574513803" sldId="591"/>
            <ac:spMk id="260" creationId="{58406207-BAA8-E267-10EC-590713D7AB85}"/>
          </ac:spMkLst>
        </pc:spChg>
        <pc:spChg chg="del">
          <ac:chgData name="bullingerm.tmt22" userId="9ce3b8b2-035f-4175-b301-998b03a50e38" providerId="ADAL" clId="{D8E03A0D-8A42-4CF5-82BF-586E462557BB}" dt="2024-03-01T10:49:09.574" v="1037" actId="478"/>
          <ac:spMkLst>
            <pc:docMk/>
            <pc:sldMk cId="3574513803" sldId="591"/>
            <ac:spMk id="260" creationId="{BBEFDF1A-E47E-6C1E-3082-FF67EF09FD9B}"/>
          </ac:spMkLst>
        </pc:spChg>
        <pc:spChg chg="del">
          <ac:chgData name="bullingerm.tmt22" userId="9ce3b8b2-035f-4175-b301-998b03a50e38" providerId="ADAL" clId="{D8E03A0D-8A42-4CF5-82BF-586E462557BB}" dt="2024-03-04T17:44:56.678" v="2523" actId="478"/>
          <ac:spMkLst>
            <pc:docMk/>
            <pc:sldMk cId="3574513803" sldId="591"/>
            <ac:spMk id="261" creationId="{650D18B2-3908-9AFF-79C1-7B28E242EBCA}"/>
          </ac:spMkLst>
        </pc:spChg>
        <pc:spChg chg="del">
          <ac:chgData name="bullingerm.tmt22" userId="9ce3b8b2-035f-4175-b301-998b03a50e38" providerId="ADAL" clId="{D8E03A0D-8A42-4CF5-82BF-586E462557BB}" dt="2024-03-01T10:49:09.574" v="1036" actId="478"/>
          <ac:spMkLst>
            <pc:docMk/>
            <pc:sldMk cId="3574513803" sldId="591"/>
            <ac:spMk id="261" creationId="{87704EBD-3821-B3D7-1E86-A6DA6A0A4639}"/>
          </ac:spMkLst>
        </pc:spChg>
        <pc:spChg chg="del">
          <ac:chgData name="bullingerm.tmt22" userId="9ce3b8b2-035f-4175-b301-998b03a50e38" providerId="ADAL" clId="{D8E03A0D-8A42-4CF5-82BF-586E462557BB}" dt="2024-03-04T17:44:56.678" v="2522" actId="478"/>
          <ac:spMkLst>
            <pc:docMk/>
            <pc:sldMk cId="3574513803" sldId="591"/>
            <ac:spMk id="262" creationId="{CEDF5506-FE2C-0C44-3122-6EC9730A00BB}"/>
          </ac:spMkLst>
        </pc:spChg>
        <pc:spChg chg="del">
          <ac:chgData name="bullingerm.tmt22" userId="9ce3b8b2-035f-4175-b301-998b03a50e38" providerId="ADAL" clId="{D8E03A0D-8A42-4CF5-82BF-586E462557BB}" dt="2024-03-01T10:49:09.574" v="1035" actId="478"/>
          <ac:spMkLst>
            <pc:docMk/>
            <pc:sldMk cId="3574513803" sldId="591"/>
            <ac:spMk id="262" creationId="{D7252A58-5549-9C83-3B2C-63DFD0A29685}"/>
          </ac:spMkLst>
        </pc:spChg>
        <pc:spChg chg="del">
          <ac:chgData name="bullingerm.tmt22" userId="9ce3b8b2-035f-4175-b301-998b03a50e38" providerId="ADAL" clId="{D8E03A0D-8A42-4CF5-82BF-586E462557BB}" dt="2024-03-04T17:44:56.678" v="2521" actId="478"/>
          <ac:spMkLst>
            <pc:docMk/>
            <pc:sldMk cId="3574513803" sldId="591"/>
            <ac:spMk id="263" creationId="{12608240-B8DD-406B-7114-F7FA6867A56A}"/>
          </ac:spMkLst>
        </pc:spChg>
        <pc:spChg chg="del">
          <ac:chgData name="bullingerm.tmt22" userId="9ce3b8b2-035f-4175-b301-998b03a50e38" providerId="ADAL" clId="{D8E03A0D-8A42-4CF5-82BF-586E462557BB}" dt="2024-03-01T10:49:09.574" v="1034" actId="478"/>
          <ac:spMkLst>
            <pc:docMk/>
            <pc:sldMk cId="3574513803" sldId="591"/>
            <ac:spMk id="263" creationId="{FB92987A-AE0C-751D-5523-F0DE83635D6D}"/>
          </ac:spMkLst>
        </pc:spChg>
        <pc:spChg chg="del">
          <ac:chgData name="bullingerm.tmt22" userId="9ce3b8b2-035f-4175-b301-998b03a50e38" providerId="ADAL" clId="{D8E03A0D-8A42-4CF5-82BF-586E462557BB}" dt="2024-03-01T10:49:09.574" v="1033" actId="478"/>
          <ac:spMkLst>
            <pc:docMk/>
            <pc:sldMk cId="3574513803" sldId="591"/>
            <ac:spMk id="264" creationId="{1CCD21B8-93CF-B111-97E7-9BCAFABA5F29}"/>
          </ac:spMkLst>
        </pc:spChg>
        <pc:spChg chg="del">
          <ac:chgData name="bullingerm.tmt22" userId="9ce3b8b2-035f-4175-b301-998b03a50e38" providerId="ADAL" clId="{D8E03A0D-8A42-4CF5-82BF-586E462557BB}" dt="2024-03-04T17:44:56.678" v="2520" actId="478"/>
          <ac:spMkLst>
            <pc:docMk/>
            <pc:sldMk cId="3574513803" sldId="591"/>
            <ac:spMk id="264" creationId="{E4C86B4D-CE87-6A76-0BF4-0C41BBE04262}"/>
          </ac:spMkLst>
        </pc:spChg>
        <pc:spChg chg="del">
          <ac:chgData name="bullingerm.tmt22" userId="9ce3b8b2-035f-4175-b301-998b03a50e38" providerId="ADAL" clId="{D8E03A0D-8A42-4CF5-82BF-586E462557BB}" dt="2024-03-04T17:44:56.678" v="2519" actId="478"/>
          <ac:spMkLst>
            <pc:docMk/>
            <pc:sldMk cId="3574513803" sldId="591"/>
            <ac:spMk id="265" creationId="{9FF60E1F-9902-629D-9800-5113654C69B9}"/>
          </ac:spMkLst>
        </pc:spChg>
        <pc:spChg chg="del">
          <ac:chgData name="bullingerm.tmt22" userId="9ce3b8b2-035f-4175-b301-998b03a50e38" providerId="ADAL" clId="{D8E03A0D-8A42-4CF5-82BF-586E462557BB}" dt="2024-03-01T10:49:09.574" v="1032" actId="478"/>
          <ac:spMkLst>
            <pc:docMk/>
            <pc:sldMk cId="3574513803" sldId="591"/>
            <ac:spMk id="265" creationId="{A34EEA15-8100-EB14-EFA7-2FA67B8BBF52}"/>
          </ac:spMkLst>
        </pc:spChg>
        <pc:spChg chg="del">
          <ac:chgData name="bullingerm.tmt22" userId="9ce3b8b2-035f-4175-b301-998b03a50e38" providerId="ADAL" clId="{D8E03A0D-8A42-4CF5-82BF-586E462557BB}" dt="2024-03-01T10:49:09.574" v="1031" actId="478"/>
          <ac:spMkLst>
            <pc:docMk/>
            <pc:sldMk cId="3574513803" sldId="591"/>
            <ac:spMk id="266" creationId="{8D3FB326-8466-3C49-0161-0D3A2A71F9EA}"/>
          </ac:spMkLst>
        </pc:spChg>
        <pc:spChg chg="del">
          <ac:chgData name="bullingerm.tmt22" userId="9ce3b8b2-035f-4175-b301-998b03a50e38" providerId="ADAL" clId="{D8E03A0D-8A42-4CF5-82BF-586E462557BB}" dt="2024-03-04T17:44:56.678" v="2518" actId="478"/>
          <ac:spMkLst>
            <pc:docMk/>
            <pc:sldMk cId="3574513803" sldId="591"/>
            <ac:spMk id="266" creationId="{F8532996-24B6-05FE-CECA-45201FAF3281}"/>
          </ac:spMkLst>
        </pc:spChg>
        <pc:spChg chg="del">
          <ac:chgData name="bullingerm.tmt22" userId="9ce3b8b2-035f-4175-b301-998b03a50e38" providerId="ADAL" clId="{D8E03A0D-8A42-4CF5-82BF-586E462557BB}" dt="2024-03-01T10:49:09.574" v="1030" actId="478"/>
          <ac:spMkLst>
            <pc:docMk/>
            <pc:sldMk cId="3574513803" sldId="591"/>
            <ac:spMk id="267" creationId="{5E55094D-799D-905B-9C73-683BD2A63619}"/>
          </ac:spMkLst>
        </pc:spChg>
        <pc:spChg chg="del">
          <ac:chgData name="bullingerm.tmt22" userId="9ce3b8b2-035f-4175-b301-998b03a50e38" providerId="ADAL" clId="{D8E03A0D-8A42-4CF5-82BF-586E462557BB}" dt="2024-03-04T17:44:56.678" v="2517" actId="478"/>
          <ac:spMkLst>
            <pc:docMk/>
            <pc:sldMk cId="3574513803" sldId="591"/>
            <ac:spMk id="267" creationId="{CD8E2BFA-6D7E-0B8A-710B-F9C0CE432E33}"/>
          </ac:spMkLst>
        </pc:spChg>
        <pc:spChg chg="del">
          <ac:chgData name="bullingerm.tmt22" userId="9ce3b8b2-035f-4175-b301-998b03a50e38" providerId="ADAL" clId="{D8E03A0D-8A42-4CF5-82BF-586E462557BB}" dt="2024-03-04T17:44:56.678" v="2516" actId="478"/>
          <ac:spMkLst>
            <pc:docMk/>
            <pc:sldMk cId="3574513803" sldId="591"/>
            <ac:spMk id="268" creationId="{35E010C2-CD78-116E-072B-045D5FE5F285}"/>
          </ac:spMkLst>
        </pc:spChg>
        <pc:spChg chg="del">
          <ac:chgData name="bullingerm.tmt22" userId="9ce3b8b2-035f-4175-b301-998b03a50e38" providerId="ADAL" clId="{D8E03A0D-8A42-4CF5-82BF-586E462557BB}" dt="2024-03-01T10:49:09.558" v="1029" actId="478"/>
          <ac:spMkLst>
            <pc:docMk/>
            <pc:sldMk cId="3574513803" sldId="591"/>
            <ac:spMk id="268" creationId="{FC0736FC-CD5A-2F27-6447-59D8DEFD9BF2}"/>
          </ac:spMkLst>
        </pc:spChg>
        <pc:spChg chg="del">
          <ac:chgData name="bullingerm.tmt22" userId="9ce3b8b2-035f-4175-b301-998b03a50e38" providerId="ADAL" clId="{D8E03A0D-8A42-4CF5-82BF-586E462557BB}" dt="2024-03-04T17:44:56.678" v="2515" actId="478"/>
          <ac:spMkLst>
            <pc:docMk/>
            <pc:sldMk cId="3574513803" sldId="591"/>
            <ac:spMk id="269" creationId="{2685CE9F-9973-F5B8-6298-A69FFFB83222}"/>
          </ac:spMkLst>
        </pc:spChg>
        <pc:spChg chg="del">
          <ac:chgData name="bullingerm.tmt22" userId="9ce3b8b2-035f-4175-b301-998b03a50e38" providerId="ADAL" clId="{D8E03A0D-8A42-4CF5-82BF-586E462557BB}" dt="2024-03-01T10:49:09.558" v="1028" actId="478"/>
          <ac:spMkLst>
            <pc:docMk/>
            <pc:sldMk cId="3574513803" sldId="591"/>
            <ac:spMk id="269" creationId="{D487FD54-BF25-E687-55DC-4DACC92FED58}"/>
          </ac:spMkLst>
        </pc:spChg>
        <pc:spChg chg="del">
          <ac:chgData name="bullingerm.tmt22" userId="9ce3b8b2-035f-4175-b301-998b03a50e38" providerId="ADAL" clId="{D8E03A0D-8A42-4CF5-82BF-586E462557BB}" dt="2024-03-01T10:49:09.558" v="1027" actId="478"/>
          <ac:spMkLst>
            <pc:docMk/>
            <pc:sldMk cId="3574513803" sldId="591"/>
            <ac:spMk id="270" creationId="{0C24E886-83C5-0B38-257E-485B906D3BB0}"/>
          </ac:spMkLst>
        </pc:spChg>
        <pc:spChg chg="del">
          <ac:chgData name="bullingerm.tmt22" userId="9ce3b8b2-035f-4175-b301-998b03a50e38" providerId="ADAL" clId="{D8E03A0D-8A42-4CF5-82BF-586E462557BB}" dt="2024-03-04T17:44:56.668" v="2514" actId="478"/>
          <ac:spMkLst>
            <pc:docMk/>
            <pc:sldMk cId="3574513803" sldId="591"/>
            <ac:spMk id="270" creationId="{69951538-04A4-0741-F046-4BA1787A27DB}"/>
          </ac:spMkLst>
        </pc:spChg>
        <pc:spChg chg="del">
          <ac:chgData name="bullingerm.tmt22" userId="9ce3b8b2-035f-4175-b301-998b03a50e38" providerId="ADAL" clId="{D8E03A0D-8A42-4CF5-82BF-586E462557BB}" dt="2024-03-01T10:49:09.558" v="1026" actId="478"/>
          <ac:spMkLst>
            <pc:docMk/>
            <pc:sldMk cId="3574513803" sldId="591"/>
            <ac:spMk id="271" creationId="{10E45621-F0C2-5292-6F27-6FCC8B7C1507}"/>
          </ac:spMkLst>
        </pc:spChg>
        <pc:spChg chg="del">
          <ac:chgData name="bullingerm.tmt22" userId="9ce3b8b2-035f-4175-b301-998b03a50e38" providerId="ADAL" clId="{D8E03A0D-8A42-4CF5-82BF-586E462557BB}" dt="2024-03-04T17:44:56.668" v="2513" actId="478"/>
          <ac:spMkLst>
            <pc:docMk/>
            <pc:sldMk cId="3574513803" sldId="591"/>
            <ac:spMk id="271" creationId="{C85E25CD-CE23-1459-0800-C5BD441C8924}"/>
          </ac:spMkLst>
        </pc:spChg>
        <pc:spChg chg="del">
          <ac:chgData name="bullingerm.tmt22" userId="9ce3b8b2-035f-4175-b301-998b03a50e38" providerId="ADAL" clId="{D8E03A0D-8A42-4CF5-82BF-586E462557BB}" dt="2024-03-01T10:49:09.558" v="1025" actId="478"/>
          <ac:spMkLst>
            <pc:docMk/>
            <pc:sldMk cId="3574513803" sldId="591"/>
            <ac:spMk id="272" creationId="{1E7F221E-FBA4-D156-2931-3386508CFDA3}"/>
          </ac:spMkLst>
        </pc:spChg>
        <pc:spChg chg="del">
          <ac:chgData name="bullingerm.tmt22" userId="9ce3b8b2-035f-4175-b301-998b03a50e38" providerId="ADAL" clId="{D8E03A0D-8A42-4CF5-82BF-586E462557BB}" dt="2024-03-04T17:44:56.668" v="2512" actId="478"/>
          <ac:spMkLst>
            <pc:docMk/>
            <pc:sldMk cId="3574513803" sldId="591"/>
            <ac:spMk id="272" creationId="{55EA3B48-E040-43A5-B56A-16418A2631CE}"/>
          </ac:spMkLst>
        </pc:spChg>
        <pc:spChg chg="del">
          <ac:chgData name="bullingerm.tmt22" userId="9ce3b8b2-035f-4175-b301-998b03a50e38" providerId="ADAL" clId="{D8E03A0D-8A42-4CF5-82BF-586E462557BB}" dt="2024-03-01T10:49:09.558" v="1024" actId="478"/>
          <ac:spMkLst>
            <pc:docMk/>
            <pc:sldMk cId="3574513803" sldId="591"/>
            <ac:spMk id="273" creationId="{4F552857-4AF2-C598-C365-228A4F6DAEF3}"/>
          </ac:spMkLst>
        </pc:spChg>
        <pc:spChg chg="del">
          <ac:chgData name="bullingerm.tmt22" userId="9ce3b8b2-035f-4175-b301-998b03a50e38" providerId="ADAL" clId="{D8E03A0D-8A42-4CF5-82BF-586E462557BB}" dt="2024-03-04T17:44:56.668" v="2511" actId="478"/>
          <ac:spMkLst>
            <pc:docMk/>
            <pc:sldMk cId="3574513803" sldId="591"/>
            <ac:spMk id="273" creationId="{67D53D5B-AFE4-FAB3-0EE9-B77414A6B230}"/>
          </ac:spMkLst>
        </pc:spChg>
        <pc:spChg chg="add mod ord">
          <ac:chgData name="bullingerm.tmt22" userId="9ce3b8b2-035f-4175-b301-998b03a50e38" providerId="ADAL" clId="{D8E03A0D-8A42-4CF5-82BF-586E462557BB}" dt="2024-03-04T17:49:43.484" v="2641" actId="20577"/>
          <ac:spMkLst>
            <pc:docMk/>
            <pc:sldMk cId="3574513803" sldId="591"/>
            <ac:spMk id="274" creationId="{83BEA039-D8F9-B9EF-850B-688BFECE6787}"/>
          </ac:spMkLst>
        </pc:spChg>
        <pc:spChg chg="add mod ord">
          <ac:chgData name="bullingerm.tmt22" userId="9ce3b8b2-035f-4175-b301-998b03a50e38" providerId="ADAL" clId="{D8E03A0D-8A42-4CF5-82BF-586E462557BB}" dt="2024-03-04T18:23:17.316" v="3538" actId="20577"/>
          <ac:spMkLst>
            <pc:docMk/>
            <pc:sldMk cId="3574513803" sldId="591"/>
            <ac:spMk id="275" creationId="{6D9901DD-E46A-CC8E-AD78-8ABFC334A0D5}"/>
          </ac:spMkLst>
        </pc:spChg>
      </pc:sldChg>
      <pc:sldChg chg="addSp delSp modSp mod">
        <pc:chgData name="bullingerm.tmt22" userId="9ce3b8b2-035f-4175-b301-998b03a50e38" providerId="ADAL" clId="{D8E03A0D-8A42-4CF5-82BF-586E462557BB}" dt="2024-03-04T17:44:56.239" v="2352"/>
        <pc:sldMkLst>
          <pc:docMk/>
          <pc:sldMk cId="4264639648" sldId="595"/>
        </pc:sldMkLst>
        <pc:spChg chg="del">
          <ac:chgData name="bullingerm.tmt22" userId="9ce3b8b2-035f-4175-b301-998b03a50e38" providerId="ADAL" clId="{D8E03A0D-8A42-4CF5-82BF-586E462557BB}" dt="2024-03-01T10:49:08.120" v="323" actId="478"/>
          <ac:spMkLst>
            <pc:docMk/>
            <pc:sldMk cId="4264639648" sldId="595"/>
            <ac:spMk id="192" creationId="{B8DF493F-9799-5C6A-EC7F-6104EAFD11AD}"/>
          </ac:spMkLst>
        </pc:spChg>
        <pc:spChg chg="del">
          <ac:chgData name="bullingerm.tmt22" userId="9ce3b8b2-035f-4175-b301-998b03a50e38" providerId="ADAL" clId="{D8E03A0D-8A42-4CF5-82BF-586E462557BB}" dt="2024-03-04T17:44:55.488" v="1996" actId="478"/>
          <ac:spMkLst>
            <pc:docMk/>
            <pc:sldMk cId="4264639648" sldId="595"/>
            <ac:spMk id="192" creationId="{E4052B84-C105-20F3-6B7D-EBA0CD50FEC0}"/>
          </ac:spMkLst>
        </pc:spChg>
        <pc:spChg chg="del">
          <ac:chgData name="bullingerm.tmt22" userId="9ce3b8b2-035f-4175-b301-998b03a50e38" providerId="ADAL" clId="{D8E03A0D-8A42-4CF5-82BF-586E462557BB}" dt="2024-03-04T17:44:55.488" v="1988" actId="478"/>
          <ac:spMkLst>
            <pc:docMk/>
            <pc:sldMk cId="4264639648" sldId="595"/>
            <ac:spMk id="193" creationId="{7D668F09-CCD0-CFE8-09DA-0705494ACD0F}"/>
          </ac:spMkLst>
        </pc:spChg>
        <pc:spChg chg="del">
          <ac:chgData name="bullingerm.tmt22" userId="9ce3b8b2-035f-4175-b301-998b03a50e38" providerId="ADAL" clId="{D8E03A0D-8A42-4CF5-82BF-586E462557BB}" dt="2024-03-01T10:49:08.120" v="322" actId="478"/>
          <ac:spMkLst>
            <pc:docMk/>
            <pc:sldMk cId="4264639648" sldId="595"/>
            <ac:spMk id="193" creationId="{E346B94E-57F1-40F4-6CEB-8AC80C77C3E9}"/>
          </ac:spMkLst>
        </pc:spChg>
        <pc:spChg chg="del">
          <ac:chgData name="bullingerm.tmt22" userId="9ce3b8b2-035f-4175-b301-998b03a50e38" providerId="ADAL" clId="{D8E03A0D-8A42-4CF5-82BF-586E462557BB}" dt="2024-03-01T10:49:08.120" v="321" actId="478"/>
          <ac:spMkLst>
            <pc:docMk/>
            <pc:sldMk cId="4264639648" sldId="595"/>
            <ac:spMk id="194" creationId="{6EB7C44C-CC73-CB53-7ED9-39E899400A4E}"/>
          </ac:spMkLst>
        </pc:spChg>
        <pc:spChg chg="del">
          <ac:chgData name="bullingerm.tmt22" userId="9ce3b8b2-035f-4175-b301-998b03a50e38" providerId="ADAL" clId="{D8E03A0D-8A42-4CF5-82BF-586E462557BB}" dt="2024-03-04T17:44:55.479" v="1981" actId="478"/>
          <ac:spMkLst>
            <pc:docMk/>
            <pc:sldMk cId="4264639648" sldId="595"/>
            <ac:spMk id="194" creationId="{A0FA7067-6CAD-9B8D-493D-E648AD764ECB}"/>
          </ac:spMkLst>
        </pc:spChg>
        <pc:spChg chg="del">
          <ac:chgData name="bullingerm.tmt22" userId="9ce3b8b2-035f-4175-b301-998b03a50e38" providerId="ADAL" clId="{D8E03A0D-8A42-4CF5-82BF-586E462557BB}" dt="2024-03-04T17:44:55.488" v="1989" actId="478"/>
          <ac:spMkLst>
            <pc:docMk/>
            <pc:sldMk cId="4264639648" sldId="595"/>
            <ac:spMk id="195" creationId="{758A30A9-561A-BBD0-EC60-F2A17347A39B}"/>
          </ac:spMkLst>
        </pc:spChg>
        <pc:spChg chg="del">
          <ac:chgData name="bullingerm.tmt22" userId="9ce3b8b2-035f-4175-b301-998b03a50e38" providerId="ADAL" clId="{D8E03A0D-8A42-4CF5-82BF-586E462557BB}" dt="2024-03-01T10:49:08.120" v="320" actId="478"/>
          <ac:spMkLst>
            <pc:docMk/>
            <pc:sldMk cId="4264639648" sldId="595"/>
            <ac:spMk id="195" creationId="{FEEBD017-1010-26B6-40B7-1BEB9456656E}"/>
          </ac:spMkLst>
        </pc:spChg>
        <pc:spChg chg="del">
          <ac:chgData name="bullingerm.tmt22" userId="9ce3b8b2-035f-4175-b301-998b03a50e38" providerId="ADAL" clId="{D8E03A0D-8A42-4CF5-82BF-586E462557BB}" dt="2024-03-04T17:44:55.479" v="1980" actId="478"/>
          <ac:spMkLst>
            <pc:docMk/>
            <pc:sldMk cId="4264639648" sldId="595"/>
            <ac:spMk id="196" creationId="{ADD411E6-7649-ECFC-3FD3-FDB4A2789F07}"/>
          </ac:spMkLst>
        </pc:spChg>
        <pc:spChg chg="del">
          <ac:chgData name="bullingerm.tmt22" userId="9ce3b8b2-035f-4175-b301-998b03a50e38" providerId="ADAL" clId="{D8E03A0D-8A42-4CF5-82BF-586E462557BB}" dt="2024-03-01T10:49:08.120" v="319" actId="478"/>
          <ac:spMkLst>
            <pc:docMk/>
            <pc:sldMk cId="4264639648" sldId="595"/>
            <ac:spMk id="196" creationId="{F36E5076-8BD8-EE52-1BD5-8FF1CD4FDFF6}"/>
          </ac:spMkLst>
        </pc:spChg>
        <pc:spChg chg="del">
          <ac:chgData name="bullingerm.tmt22" userId="9ce3b8b2-035f-4175-b301-998b03a50e38" providerId="ADAL" clId="{D8E03A0D-8A42-4CF5-82BF-586E462557BB}" dt="2024-03-04T17:44:55.479" v="1979" actId="478"/>
          <ac:spMkLst>
            <pc:docMk/>
            <pc:sldMk cId="4264639648" sldId="595"/>
            <ac:spMk id="197" creationId="{2E4EEA13-66B3-83F3-3A67-AD08015FC8CA}"/>
          </ac:spMkLst>
        </pc:spChg>
        <pc:spChg chg="del">
          <ac:chgData name="bullingerm.tmt22" userId="9ce3b8b2-035f-4175-b301-998b03a50e38" providerId="ADAL" clId="{D8E03A0D-8A42-4CF5-82BF-586E462557BB}" dt="2024-03-01T10:49:08.120" v="318" actId="478"/>
          <ac:spMkLst>
            <pc:docMk/>
            <pc:sldMk cId="4264639648" sldId="595"/>
            <ac:spMk id="197" creationId="{34354567-201A-F1F0-AE3F-1BF64F495720}"/>
          </ac:spMkLst>
        </pc:spChg>
        <pc:spChg chg="del">
          <ac:chgData name="bullingerm.tmt22" userId="9ce3b8b2-035f-4175-b301-998b03a50e38" providerId="ADAL" clId="{D8E03A0D-8A42-4CF5-82BF-586E462557BB}" dt="2024-03-01T10:49:08.120" v="317" actId="478"/>
          <ac:spMkLst>
            <pc:docMk/>
            <pc:sldMk cId="4264639648" sldId="595"/>
            <ac:spMk id="198" creationId="{6364CA81-4E4B-B4DD-6CAF-9882A3ED0CAE}"/>
          </ac:spMkLst>
        </pc:spChg>
        <pc:spChg chg="del">
          <ac:chgData name="bullingerm.tmt22" userId="9ce3b8b2-035f-4175-b301-998b03a50e38" providerId="ADAL" clId="{D8E03A0D-8A42-4CF5-82BF-586E462557BB}" dt="2024-03-04T17:44:55.479" v="1978" actId="478"/>
          <ac:spMkLst>
            <pc:docMk/>
            <pc:sldMk cId="4264639648" sldId="595"/>
            <ac:spMk id="198" creationId="{F6223953-8974-33EE-59BF-2435233B10BE}"/>
          </ac:spMkLst>
        </pc:spChg>
        <pc:spChg chg="replST">
          <ac:chgData name="bullingerm.tmt22" userId="9ce3b8b2-035f-4175-b301-998b03a50e38" providerId="ADAL" clId="{D8E03A0D-8A42-4CF5-82BF-586E462557BB}" dt="2024-03-01T10:49:08.892" v="724"/>
          <ac:spMkLst>
            <pc:docMk/>
            <pc:sldMk cId="4264639648" sldId="595"/>
            <ac:spMk id="199" creationId="{4924B02A-DCF5-6D6F-2C45-D3D499B270BE}"/>
          </ac:spMkLst>
        </pc:spChg>
        <pc:spChg chg="replST">
          <ac:chgData name="bullingerm.tmt22" userId="9ce3b8b2-035f-4175-b301-998b03a50e38" providerId="ADAL" clId="{D8E03A0D-8A42-4CF5-82BF-586E462557BB}" dt="2024-03-01T10:49:08.892" v="727"/>
          <ac:spMkLst>
            <pc:docMk/>
            <pc:sldMk cId="4264639648" sldId="595"/>
            <ac:spMk id="200" creationId="{7C6F2B2F-C763-BCED-FAC4-58491A9EE9DA}"/>
          </ac:spMkLst>
        </pc:spChg>
        <pc:spChg chg="replST">
          <ac:chgData name="bullingerm.tmt22" userId="9ce3b8b2-035f-4175-b301-998b03a50e38" providerId="ADAL" clId="{D8E03A0D-8A42-4CF5-82BF-586E462557BB}" dt="2024-03-01T10:49:08.907" v="731"/>
          <ac:spMkLst>
            <pc:docMk/>
            <pc:sldMk cId="4264639648" sldId="595"/>
            <ac:spMk id="202" creationId="{0C9D81FE-E615-9BAB-CA56-1A7679D7290F}"/>
          </ac:spMkLst>
        </pc:spChg>
        <pc:spChg chg="replST">
          <ac:chgData name="bullingerm.tmt22" userId="9ce3b8b2-035f-4175-b301-998b03a50e38" providerId="ADAL" clId="{D8E03A0D-8A42-4CF5-82BF-586E462557BB}" dt="2024-03-01T10:49:08.920" v="734"/>
          <ac:spMkLst>
            <pc:docMk/>
            <pc:sldMk cId="4264639648" sldId="595"/>
            <ac:spMk id="203" creationId="{7D690F01-F666-ED3F-9C8C-A4DB258F94A0}"/>
          </ac:spMkLst>
        </pc:spChg>
        <pc:spChg chg="replST">
          <ac:chgData name="bullingerm.tmt22" userId="9ce3b8b2-035f-4175-b301-998b03a50e38" providerId="ADAL" clId="{D8E03A0D-8A42-4CF5-82BF-586E462557BB}" dt="2024-03-01T10:49:08.920" v="738"/>
          <ac:spMkLst>
            <pc:docMk/>
            <pc:sldMk cId="4264639648" sldId="595"/>
            <ac:spMk id="205" creationId="{E22C51B0-D78E-6C73-DEC3-599103FA15C8}"/>
          </ac:spMkLst>
        </pc:spChg>
        <pc:spChg chg="replST">
          <ac:chgData name="bullingerm.tmt22" userId="9ce3b8b2-035f-4175-b301-998b03a50e38" providerId="ADAL" clId="{D8E03A0D-8A42-4CF5-82BF-586E462557BB}" dt="2024-03-01T10:49:08.920" v="741"/>
          <ac:spMkLst>
            <pc:docMk/>
            <pc:sldMk cId="4264639648" sldId="595"/>
            <ac:spMk id="206" creationId="{9A96B9A7-09BE-B6B3-482E-A6BE7C35DA67}"/>
          </ac:spMkLst>
        </pc:spChg>
        <pc:spChg chg="del ord replST">
          <ac:chgData name="bullingerm.tmt22" userId="9ce3b8b2-035f-4175-b301-998b03a50e38" providerId="ADAL" clId="{D8E03A0D-8A42-4CF5-82BF-586E462557BB}" dt="2024-03-04T17:44:55.448" v="1961" actId="478"/>
          <ac:spMkLst>
            <pc:docMk/>
            <pc:sldMk cId="4264639648" sldId="595"/>
            <ac:spMk id="207" creationId="{F6EA15A0-7F4C-A5FF-A3CA-BF00B8B6DCD0}"/>
          </ac:spMkLst>
        </pc:spChg>
        <pc:spChg chg="replST">
          <ac:chgData name="bullingerm.tmt22" userId="9ce3b8b2-035f-4175-b301-998b03a50e38" providerId="ADAL" clId="{D8E03A0D-8A42-4CF5-82BF-586E462557BB}" dt="2024-03-01T10:49:08.936" v="745"/>
          <ac:spMkLst>
            <pc:docMk/>
            <pc:sldMk cId="4264639648" sldId="595"/>
            <ac:spMk id="208" creationId="{5DC8D103-61A8-F5AC-59F3-F4C8D6932BBE}"/>
          </ac:spMkLst>
        </pc:spChg>
        <pc:spChg chg="replST">
          <ac:chgData name="bullingerm.tmt22" userId="9ce3b8b2-035f-4175-b301-998b03a50e38" providerId="ADAL" clId="{D8E03A0D-8A42-4CF5-82BF-586E462557BB}" dt="2024-03-01T10:49:08.936" v="748"/>
          <ac:spMkLst>
            <pc:docMk/>
            <pc:sldMk cId="4264639648" sldId="595"/>
            <ac:spMk id="209" creationId="{DE7160AB-289C-43E2-F202-89C0450BA37D}"/>
          </ac:spMkLst>
        </pc:spChg>
        <pc:spChg chg="del">
          <ac:chgData name="bullingerm.tmt22" userId="9ce3b8b2-035f-4175-b301-998b03a50e38" providerId="ADAL" clId="{D8E03A0D-8A42-4CF5-82BF-586E462557BB}" dt="2024-03-04T17:44:55.479" v="1977" actId="478"/>
          <ac:spMkLst>
            <pc:docMk/>
            <pc:sldMk cId="4264639648" sldId="595"/>
            <ac:spMk id="211" creationId="{1A84F56B-9155-2DD0-1015-107367C88D77}"/>
          </ac:spMkLst>
        </pc:spChg>
        <pc:spChg chg="del">
          <ac:chgData name="bullingerm.tmt22" userId="9ce3b8b2-035f-4175-b301-998b03a50e38" providerId="ADAL" clId="{D8E03A0D-8A42-4CF5-82BF-586E462557BB}" dt="2024-03-01T10:49:08.085" v="308" actId="478"/>
          <ac:spMkLst>
            <pc:docMk/>
            <pc:sldMk cId="4264639648" sldId="595"/>
            <ac:spMk id="211" creationId="{26434492-0421-738E-406B-76CD169B3B87}"/>
          </ac:spMkLst>
        </pc:spChg>
        <pc:spChg chg="replST">
          <ac:chgData name="bullingerm.tmt22" userId="9ce3b8b2-035f-4175-b301-998b03a50e38" providerId="ADAL" clId="{D8E03A0D-8A42-4CF5-82BF-586E462557BB}" dt="2024-03-01T10:49:08.952" v="752"/>
          <ac:spMkLst>
            <pc:docMk/>
            <pc:sldMk cId="4264639648" sldId="595"/>
            <ac:spMk id="212" creationId="{5C4655BC-CB7A-8080-88BA-E255DFC6FB01}"/>
          </ac:spMkLst>
        </pc:spChg>
        <pc:spChg chg="replST">
          <ac:chgData name="bullingerm.tmt22" userId="9ce3b8b2-035f-4175-b301-998b03a50e38" providerId="ADAL" clId="{D8E03A0D-8A42-4CF5-82BF-586E462557BB}" dt="2024-03-01T10:49:08.952" v="755"/>
          <ac:spMkLst>
            <pc:docMk/>
            <pc:sldMk cId="4264639648" sldId="595"/>
            <ac:spMk id="213" creationId="{72B89B73-F2F9-E5FB-CF68-1182C73489BA}"/>
          </ac:spMkLst>
        </pc:spChg>
        <pc:spChg chg="replST">
          <ac:chgData name="bullingerm.tmt22" userId="9ce3b8b2-035f-4175-b301-998b03a50e38" providerId="ADAL" clId="{D8E03A0D-8A42-4CF5-82BF-586E462557BB}" dt="2024-03-01T10:49:08.968" v="759"/>
          <ac:spMkLst>
            <pc:docMk/>
            <pc:sldMk cId="4264639648" sldId="595"/>
            <ac:spMk id="215" creationId="{6FBA7F55-B835-98E6-BB4F-06062037C2B4}"/>
          </ac:spMkLst>
        </pc:spChg>
        <pc:spChg chg="replST">
          <ac:chgData name="bullingerm.tmt22" userId="9ce3b8b2-035f-4175-b301-998b03a50e38" providerId="ADAL" clId="{D8E03A0D-8A42-4CF5-82BF-586E462557BB}" dt="2024-03-01T10:49:08.968" v="762"/>
          <ac:spMkLst>
            <pc:docMk/>
            <pc:sldMk cId="4264639648" sldId="595"/>
            <ac:spMk id="216" creationId="{19ECB7D5-58AF-81C9-24F7-9601B8D6C84E}"/>
          </ac:spMkLst>
        </pc:spChg>
        <pc:spChg chg="replST">
          <ac:chgData name="bullingerm.tmt22" userId="9ce3b8b2-035f-4175-b301-998b03a50e38" providerId="ADAL" clId="{D8E03A0D-8A42-4CF5-82BF-586E462557BB}" dt="2024-03-01T10:49:08.984" v="766"/>
          <ac:spMkLst>
            <pc:docMk/>
            <pc:sldMk cId="4264639648" sldId="595"/>
            <ac:spMk id="218" creationId="{ED2BCBA2-B910-330D-DD06-146483A45589}"/>
          </ac:spMkLst>
        </pc:spChg>
        <pc:spChg chg="replST">
          <ac:chgData name="bullingerm.tmt22" userId="9ce3b8b2-035f-4175-b301-998b03a50e38" providerId="ADAL" clId="{D8E03A0D-8A42-4CF5-82BF-586E462557BB}" dt="2024-03-01T10:49:08.986" v="769"/>
          <ac:spMkLst>
            <pc:docMk/>
            <pc:sldMk cId="4264639648" sldId="595"/>
            <ac:spMk id="219" creationId="{A31EEDD9-B599-03A2-A3D7-9436B548587F}"/>
          </ac:spMkLst>
        </pc:spChg>
        <pc:spChg chg="del">
          <ac:chgData name="bullingerm.tmt22" userId="9ce3b8b2-035f-4175-b301-998b03a50e38" providerId="ADAL" clId="{D8E03A0D-8A42-4CF5-82BF-586E462557BB}" dt="2024-03-04T17:44:55.479" v="1976" actId="478"/>
          <ac:spMkLst>
            <pc:docMk/>
            <pc:sldMk cId="4264639648" sldId="595"/>
            <ac:spMk id="222" creationId="{AB39184E-D429-4D2B-DD4B-B5F4C9C0F5CF}"/>
          </ac:spMkLst>
        </pc:spChg>
        <pc:spChg chg="del">
          <ac:chgData name="bullingerm.tmt22" userId="9ce3b8b2-035f-4175-b301-998b03a50e38" providerId="ADAL" clId="{D8E03A0D-8A42-4CF5-82BF-586E462557BB}" dt="2024-03-04T17:44:55.479" v="1975" actId="478"/>
          <ac:spMkLst>
            <pc:docMk/>
            <pc:sldMk cId="4264639648" sldId="595"/>
            <ac:spMk id="223" creationId="{B33CBD43-DC4E-0023-F7E9-58167F8CA485}"/>
          </ac:spMkLst>
        </pc:spChg>
        <pc:spChg chg="add mod">
          <ac:chgData name="bullingerm.tmt22" userId="9ce3b8b2-035f-4175-b301-998b03a50e38" providerId="ADAL" clId="{D8E03A0D-8A42-4CF5-82BF-586E462557BB}" dt="2024-03-04T17:44:55.448" v="1958" actId="478"/>
          <ac:spMkLst>
            <pc:docMk/>
            <pc:sldMk cId="4264639648" sldId="595"/>
            <ac:spMk id="234" creationId="{1C19AA1F-6552-A786-2925-3F7D9616BDF4}"/>
          </ac:spMkLst>
        </pc:spChg>
        <pc:spChg chg="add mod">
          <ac:chgData name="bullingerm.tmt22" userId="9ce3b8b2-035f-4175-b301-998b03a50e38" providerId="ADAL" clId="{D8E03A0D-8A42-4CF5-82BF-586E462557BB}" dt="2024-03-01T10:49:08.085" v="308" actId="478"/>
          <ac:spMkLst>
            <pc:docMk/>
            <pc:sldMk cId="4264639648" sldId="595"/>
            <ac:spMk id="234" creationId="{CD0BA877-0B0C-00A2-0ED0-8A971A3CB971}"/>
          </ac:spMkLst>
        </pc:spChg>
        <pc:spChg chg="del mod ord replST">
          <ac:chgData name="bullingerm.tmt22" userId="9ce3b8b2-035f-4175-b301-998b03a50e38" providerId="ADAL" clId="{D8E03A0D-8A42-4CF5-82BF-586E462557BB}" dt="2024-03-04T17:44:55.448" v="1958" actId="478"/>
          <ac:spMkLst>
            <pc:docMk/>
            <pc:sldMk cId="4264639648" sldId="595"/>
            <ac:spMk id="235" creationId="{6F4A3F51-E33C-9257-22B4-5D643813A7BF}"/>
          </ac:spMkLst>
        </pc:spChg>
        <pc:spChg chg="mod ord replST">
          <ac:chgData name="bullingerm.tmt22" userId="9ce3b8b2-035f-4175-b301-998b03a50e38" providerId="ADAL" clId="{D8E03A0D-8A42-4CF5-82BF-586E462557BB}" dt="2024-03-04T17:44:56.235" v="2345"/>
          <ac:spMkLst>
            <pc:docMk/>
            <pc:sldMk cId="4264639648" sldId="595"/>
            <ac:spMk id="236" creationId="{2B4E7D65-769E-F27A-51F0-89AF517EFA47}"/>
          </ac:spMkLst>
        </pc:spChg>
        <pc:spChg chg="del">
          <ac:chgData name="bullingerm.tmt22" userId="9ce3b8b2-035f-4175-b301-998b03a50e38" providerId="ADAL" clId="{D8E03A0D-8A42-4CF5-82BF-586E462557BB}" dt="2024-03-01T10:49:08.136" v="345" actId="478"/>
          <ac:spMkLst>
            <pc:docMk/>
            <pc:sldMk cId="4264639648" sldId="595"/>
            <ac:spMk id="236" creationId="{2B5EFF59-529A-EB43-EA86-85CBFC29F8B7}"/>
          </ac:spMkLst>
        </pc:spChg>
        <pc:spChg chg="del">
          <ac:chgData name="bullingerm.tmt22" userId="9ce3b8b2-035f-4175-b301-998b03a50e38" providerId="ADAL" clId="{D8E03A0D-8A42-4CF5-82BF-586E462557BB}" dt="2024-03-04T17:44:55.488" v="1995" actId="478"/>
          <ac:spMkLst>
            <pc:docMk/>
            <pc:sldMk cId="4264639648" sldId="595"/>
            <ac:spMk id="237" creationId="{449F36BC-6475-D472-0DAD-54F7A9230F78}"/>
          </ac:spMkLst>
        </pc:spChg>
        <pc:spChg chg="del">
          <ac:chgData name="bullingerm.tmt22" userId="9ce3b8b2-035f-4175-b301-998b03a50e38" providerId="ADAL" clId="{D8E03A0D-8A42-4CF5-82BF-586E462557BB}" dt="2024-03-01T10:49:08.136" v="344" actId="478"/>
          <ac:spMkLst>
            <pc:docMk/>
            <pc:sldMk cId="4264639648" sldId="595"/>
            <ac:spMk id="237" creationId="{89270853-D818-2CA5-6C69-28995E017192}"/>
          </ac:spMkLst>
        </pc:spChg>
        <pc:spChg chg="del">
          <ac:chgData name="bullingerm.tmt22" userId="9ce3b8b2-035f-4175-b301-998b03a50e38" providerId="ADAL" clId="{D8E03A0D-8A42-4CF5-82BF-586E462557BB}" dt="2024-03-01T10:49:08.136" v="343" actId="478"/>
          <ac:spMkLst>
            <pc:docMk/>
            <pc:sldMk cId="4264639648" sldId="595"/>
            <ac:spMk id="238" creationId="{4FFBBB79-BB10-A234-A487-622691F1CA38}"/>
          </ac:spMkLst>
        </pc:spChg>
        <pc:spChg chg="del">
          <ac:chgData name="bullingerm.tmt22" userId="9ce3b8b2-035f-4175-b301-998b03a50e38" providerId="ADAL" clId="{D8E03A0D-8A42-4CF5-82BF-586E462557BB}" dt="2024-03-04T17:44:55.488" v="1994" actId="478"/>
          <ac:spMkLst>
            <pc:docMk/>
            <pc:sldMk cId="4264639648" sldId="595"/>
            <ac:spMk id="238" creationId="{D7424DC1-529B-9A7B-E500-2A30CB372125}"/>
          </ac:spMkLst>
        </pc:spChg>
        <pc:spChg chg="del">
          <ac:chgData name="bullingerm.tmt22" userId="9ce3b8b2-035f-4175-b301-998b03a50e38" providerId="ADAL" clId="{D8E03A0D-8A42-4CF5-82BF-586E462557BB}" dt="2024-03-01T10:49:08.136" v="342" actId="478"/>
          <ac:spMkLst>
            <pc:docMk/>
            <pc:sldMk cId="4264639648" sldId="595"/>
            <ac:spMk id="239" creationId="{5DD8ED75-9A5A-1FFF-6350-10E385863B3A}"/>
          </ac:spMkLst>
        </pc:spChg>
        <pc:spChg chg="del">
          <ac:chgData name="bullingerm.tmt22" userId="9ce3b8b2-035f-4175-b301-998b03a50e38" providerId="ADAL" clId="{D8E03A0D-8A42-4CF5-82BF-586E462557BB}" dt="2024-03-04T17:44:55.488" v="1993" actId="478"/>
          <ac:spMkLst>
            <pc:docMk/>
            <pc:sldMk cId="4264639648" sldId="595"/>
            <ac:spMk id="239" creationId="{87E39243-7530-038D-84EA-5440570D6303}"/>
          </ac:spMkLst>
        </pc:spChg>
        <pc:spChg chg="del">
          <ac:chgData name="bullingerm.tmt22" userId="9ce3b8b2-035f-4175-b301-998b03a50e38" providerId="ADAL" clId="{D8E03A0D-8A42-4CF5-82BF-586E462557BB}" dt="2024-03-04T17:44:55.488" v="1992" actId="478"/>
          <ac:spMkLst>
            <pc:docMk/>
            <pc:sldMk cId="4264639648" sldId="595"/>
            <ac:spMk id="240" creationId="{C4087D3E-26E8-2A9E-B4F3-0B5C296871E7}"/>
          </ac:spMkLst>
        </pc:spChg>
        <pc:spChg chg="del">
          <ac:chgData name="bullingerm.tmt22" userId="9ce3b8b2-035f-4175-b301-998b03a50e38" providerId="ADAL" clId="{D8E03A0D-8A42-4CF5-82BF-586E462557BB}" dt="2024-03-01T10:49:08.136" v="341" actId="478"/>
          <ac:spMkLst>
            <pc:docMk/>
            <pc:sldMk cId="4264639648" sldId="595"/>
            <ac:spMk id="240" creationId="{DFDFFEB7-3656-7E19-966C-28975DDFBCC1}"/>
          </ac:spMkLst>
        </pc:spChg>
        <pc:spChg chg="del">
          <ac:chgData name="bullingerm.tmt22" userId="9ce3b8b2-035f-4175-b301-998b03a50e38" providerId="ADAL" clId="{D8E03A0D-8A42-4CF5-82BF-586E462557BB}" dt="2024-03-01T10:49:08.136" v="340" actId="478"/>
          <ac:spMkLst>
            <pc:docMk/>
            <pc:sldMk cId="4264639648" sldId="595"/>
            <ac:spMk id="241" creationId="{7A765B0C-6348-E914-6125-1988B7EF2103}"/>
          </ac:spMkLst>
        </pc:spChg>
        <pc:spChg chg="del">
          <ac:chgData name="bullingerm.tmt22" userId="9ce3b8b2-035f-4175-b301-998b03a50e38" providerId="ADAL" clId="{D8E03A0D-8A42-4CF5-82BF-586E462557BB}" dt="2024-03-04T17:44:55.488" v="1991" actId="478"/>
          <ac:spMkLst>
            <pc:docMk/>
            <pc:sldMk cId="4264639648" sldId="595"/>
            <ac:spMk id="241" creationId="{882B6FBD-7E94-A989-4DF9-5C79EA0BB811}"/>
          </ac:spMkLst>
        </pc:spChg>
        <pc:spChg chg="del">
          <ac:chgData name="bullingerm.tmt22" userId="9ce3b8b2-035f-4175-b301-998b03a50e38" providerId="ADAL" clId="{D8E03A0D-8A42-4CF5-82BF-586E462557BB}" dt="2024-03-04T17:44:55.488" v="1990" actId="478"/>
          <ac:spMkLst>
            <pc:docMk/>
            <pc:sldMk cId="4264639648" sldId="595"/>
            <ac:spMk id="242" creationId="{6BA273FC-604A-E27C-5C48-CB7594E70D3C}"/>
          </ac:spMkLst>
        </pc:spChg>
        <pc:spChg chg="del">
          <ac:chgData name="bullingerm.tmt22" userId="9ce3b8b2-035f-4175-b301-998b03a50e38" providerId="ADAL" clId="{D8E03A0D-8A42-4CF5-82BF-586E462557BB}" dt="2024-03-01T10:49:08.136" v="337" actId="478"/>
          <ac:spMkLst>
            <pc:docMk/>
            <pc:sldMk cId="4264639648" sldId="595"/>
            <ac:spMk id="242" creationId="{A8BC9529-87C3-3E6A-4731-1E26B5FDDC39}"/>
          </ac:spMkLst>
        </pc:spChg>
        <pc:spChg chg="del">
          <ac:chgData name="bullingerm.tmt22" userId="9ce3b8b2-035f-4175-b301-998b03a50e38" providerId="ADAL" clId="{D8E03A0D-8A42-4CF5-82BF-586E462557BB}" dt="2024-03-01T10:49:08.120" v="336" actId="478"/>
          <ac:spMkLst>
            <pc:docMk/>
            <pc:sldMk cId="4264639648" sldId="595"/>
            <ac:spMk id="243" creationId="{5441126A-AE66-FD20-E241-561A7D51FDCD}"/>
          </ac:spMkLst>
        </pc:spChg>
        <pc:spChg chg="del">
          <ac:chgData name="bullingerm.tmt22" userId="9ce3b8b2-035f-4175-b301-998b03a50e38" providerId="ADAL" clId="{D8E03A0D-8A42-4CF5-82BF-586E462557BB}" dt="2024-03-04T17:44:55.488" v="1987" actId="478"/>
          <ac:spMkLst>
            <pc:docMk/>
            <pc:sldMk cId="4264639648" sldId="595"/>
            <ac:spMk id="243" creationId="{E62243BD-E849-96A6-62B9-A5BCDADFF4B7}"/>
          </ac:spMkLst>
        </pc:spChg>
        <pc:spChg chg="del">
          <ac:chgData name="bullingerm.tmt22" userId="9ce3b8b2-035f-4175-b301-998b03a50e38" providerId="ADAL" clId="{D8E03A0D-8A42-4CF5-82BF-586E462557BB}" dt="2024-03-01T10:49:08.120" v="335" actId="478"/>
          <ac:spMkLst>
            <pc:docMk/>
            <pc:sldMk cId="4264639648" sldId="595"/>
            <ac:spMk id="244" creationId="{29957EB5-BED4-FF0D-0336-AEE46E9A2B36}"/>
          </ac:spMkLst>
        </pc:spChg>
        <pc:spChg chg="del">
          <ac:chgData name="bullingerm.tmt22" userId="9ce3b8b2-035f-4175-b301-998b03a50e38" providerId="ADAL" clId="{D8E03A0D-8A42-4CF5-82BF-586E462557BB}" dt="2024-03-04T17:44:55.488" v="1986" actId="478"/>
          <ac:spMkLst>
            <pc:docMk/>
            <pc:sldMk cId="4264639648" sldId="595"/>
            <ac:spMk id="244" creationId="{6DB23E9B-52CE-A13C-32A4-BAD91E14B2C5}"/>
          </ac:spMkLst>
        </pc:spChg>
        <pc:spChg chg="del">
          <ac:chgData name="bullingerm.tmt22" userId="9ce3b8b2-035f-4175-b301-998b03a50e38" providerId="ADAL" clId="{D8E03A0D-8A42-4CF5-82BF-586E462557BB}" dt="2024-03-01T10:49:08.120" v="334" actId="478"/>
          <ac:spMkLst>
            <pc:docMk/>
            <pc:sldMk cId="4264639648" sldId="595"/>
            <ac:spMk id="245" creationId="{1F4653E9-18E4-1210-F68E-47CB8AD5145C}"/>
          </ac:spMkLst>
        </pc:spChg>
        <pc:spChg chg="del">
          <ac:chgData name="bullingerm.tmt22" userId="9ce3b8b2-035f-4175-b301-998b03a50e38" providerId="ADAL" clId="{D8E03A0D-8A42-4CF5-82BF-586E462557BB}" dt="2024-03-04T17:44:55.488" v="1985" actId="478"/>
          <ac:spMkLst>
            <pc:docMk/>
            <pc:sldMk cId="4264639648" sldId="595"/>
            <ac:spMk id="245" creationId="{A984D565-5EF4-98D3-5FBA-A1C325054AC3}"/>
          </ac:spMkLst>
        </pc:spChg>
        <pc:spChg chg="del">
          <ac:chgData name="bullingerm.tmt22" userId="9ce3b8b2-035f-4175-b301-998b03a50e38" providerId="ADAL" clId="{D8E03A0D-8A42-4CF5-82BF-586E462557BB}" dt="2024-03-04T17:44:55.488" v="1984" actId="478"/>
          <ac:spMkLst>
            <pc:docMk/>
            <pc:sldMk cId="4264639648" sldId="595"/>
            <ac:spMk id="246" creationId="{01DB37FA-F544-DE3E-688E-9A8EB1092503}"/>
          </ac:spMkLst>
        </pc:spChg>
        <pc:spChg chg="del">
          <ac:chgData name="bullingerm.tmt22" userId="9ce3b8b2-035f-4175-b301-998b03a50e38" providerId="ADAL" clId="{D8E03A0D-8A42-4CF5-82BF-586E462557BB}" dt="2024-03-01T10:49:08.120" v="333" actId="478"/>
          <ac:spMkLst>
            <pc:docMk/>
            <pc:sldMk cId="4264639648" sldId="595"/>
            <ac:spMk id="246" creationId="{84D3CD48-DF62-7E28-4D73-5E891051A91B}"/>
          </ac:spMkLst>
        </pc:spChg>
        <pc:spChg chg="del">
          <ac:chgData name="bullingerm.tmt22" userId="9ce3b8b2-035f-4175-b301-998b03a50e38" providerId="ADAL" clId="{D8E03A0D-8A42-4CF5-82BF-586E462557BB}" dt="2024-03-04T17:44:55.479" v="1983" actId="478"/>
          <ac:spMkLst>
            <pc:docMk/>
            <pc:sldMk cId="4264639648" sldId="595"/>
            <ac:spMk id="247" creationId="{31453C4C-043B-E407-5C49-B896308CB23E}"/>
          </ac:spMkLst>
        </pc:spChg>
        <pc:spChg chg="del">
          <ac:chgData name="bullingerm.tmt22" userId="9ce3b8b2-035f-4175-b301-998b03a50e38" providerId="ADAL" clId="{D8E03A0D-8A42-4CF5-82BF-586E462557BB}" dt="2024-03-01T10:49:08.120" v="332" actId="478"/>
          <ac:spMkLst>
            <pc:docMk/>
            <pc:sldMk cId="4264639648" sldId="595"/>
            <ac:spMk id="247" creationId="{B5B9C529-ECE4-458D-39DB-04D6FCBC6750}"/>
          </ac:spMkLst>
        </pc:spChg>
        <pc:spChg chg="del">
          <ac:chgData name="bullingerm.tmt22" userId="9ce3b8b2-035f-4175-b301-998b03a50e38" providerId="ADAL" clId="{D8E03A0D-8A42-4CF5-82BF-586E462557BB}" dt="2024-03-04T17:44:55.479" v="1982" actId="478"/>
          <ac:spMkLst>
            <pc:docMk/>
            <pc:sldMk cId="4264639648" sldId="595"/>
            <ac:spMk id="248" creationId="{78D5A22C-4624-FCA2-E48E-38D38579ADA7}"/>
          </ac:spMkLst>
        </pc:spChg>
        <pc:spChg chg="del">
          <ac:chgData name="bullingerm.tmt22" userId="9ce3b8b2-035f-4175-b301-998b03a50e38" providerId="ADAL" clId="{D8E03A0D-8A42-4CF5-82BF-586E462557BB}" dt="2024-03-01T10:49:08.136" v="353" actId="478"/>
          <ac:spMkLst>
            <pc:docMk/>
            <pc:sldMk cId="4264639648" sldId="595"/>
            <ac:spMk id="248" creationId="{916A6FA4-39D7-93EE-594E-7809B89AE27F}"/>
          </ac:spMkLst>
        </pc:spChg>
        <pc:spChg chg="del">
          <ac:chgData name="bullingerm.tmt22" userId="9ce3b8b2-035f-4175-b301-998b03a50e38" providerId="ADAL" clId="{D8E03A0D-8A42-4CF5-82BF-586E462557BB}" dt="2024-03-04T17:44:55.499" v="2003" actId="478"/>
          <ac:spMkLst>
            <pc:docMk/>
            <pc:sldMk cId="4264639648" sldId="595"/>
            <ac:spMk id="249" creationId="{C71B46AA-C8AF-E85D-C839-1885C7E99C24}"/>
          </ac:spMkLst>
        </pc:spChg>
        <pc:spChg chg="del">
          <ac:chgData name="bullingerm.tmt22" userId="9ce3b8b2-035f-4175-b301-998b03a50e38" providerId="ADAL" clId="{D8E03A0D-8A42-4CF5-82BF-586E462557BB}" dt="2024-03-04T17:44:55.499" v="2002" actId="478"/>
          <ac:spMkLst>
            <pc:docMk/>
            <pc:sldMk cId="4264639648" sldId="595"/>
            <ac:spMk id="250" creationId="{A9F87CD6-B20B-E6FE-72BB-4BB1316BEBDF}"/>
          </ac:spMkLst>
        </pc:spChg>
        <pc:spChg chg="del">
          <ac:chgData name="bullingerm.tmt22" userId="9ce3b8b2-035f-4175-b301-998b03a50e38" providerId="ADAL" clId="{D8E03A0D-8A42-4CF5-82BF-586E462557BB}" dt="2024-03-04T17:44:55.498" v="2001" actId="478"/>
          <ac:spMkLst>
            <pc:docMk/>
            <pc:sldMk cId="4264639648" sldId="595"/>
            <ac:spMk id="251" creationId="{2C808028-AC2E-D91C-6736-083E0353E021}"/>
          </ac:spMkLst>
        </pc:spChg>
        <pc:spChg chg="del">
          <ac:chgData name="bullingerm.tmt22" userId="9ce3b8b2-035f-4175-b301-998b03a50e38" providerId="ADAL" clId="{D8E03A0D-8A42-4CF5-82BF-586E462557BB}" dt="2024-03-04T17:44:55.498" v="2000" actId="478"/>
          <ac:spMkLst>
            <pc:docMk/>
            <pc:sldMk cId="4264639648" sldId="595"/>
            <ac:spMk id="252" creationId="{A5D3A0FD-468C-2C39-3A41-EBB0B1A88D31}"/>
          </ac:spMkLst>
        </pc:spChg>
        <pc:spChg chg="del">
          <ac:chgData name="bullingerm.tmt22" userId="9ce3b8b2-035f-4175-b301-998b03a50e38" providerId="ADAL" clId="{D8E03A0D-8A42-4CF5-82BF-586E462557BB}" dt="2024-03-04T17:44:55.488" v="1999" actId="478"/>
          <ac:spMkLst>
            <pc:docMk/>
            <pc:sldMk cId="4264639648" sldId="595"/>
            <ac:spMk id="253" creationId="{87054F96-F709-7F12-3784-085B4E35DBBA}"/>
          </ac:spMkLst>
        </pc:spChg>
        <pc:spChg chg="del">
          <ac:chgData name="bullingerm.tmt22" userId="9ce3b8b2-035f-4175-b301-998b03a50e38" providerId="ADAL" clId="{D8E03A0D-8A42-4CF5-82BF-586E462557BB}" dt="2024-03-04T17:44:55.488" v="1998" actId="478"/>
          <ac:spMkLst>
            <pc:docMk/>
            <pc:sldMk cId="4264639648" sldId="595"/>
            <ac:spMk id="254" creationId="{240C3FAF-DFC7-2417-B37B-56048C988D3F}"/>
          </ac:spMkLst>
        </pc:spChg>
        <pc:spChg chg="del">
          <ac:chgData name="bullingerm.tmt22" userId="9ce3b8b2-035f-4175-b301-998b03a50e38" providerId="ADAL" clId="{D8E03A0D-8A42-4CF5-82BF-586E462557BB}" dt="2024-03-04T17:44:55.488" v="1997" actId="478"/>
          <ac:spMkLst>
            <pc:docMk/>
            <pc:sldMk cId="4264639648" sldId="595"/>
            <ac:spMk id="255" creationId="{3E4931AA-719C-FAEA-AE40-918D4150A19D}"/>
          </ac:spMkLst>
        </pc:spChg>
        <pc:spChg chg="del">
          <ac:chgData name="bullingerm.tmt22" userId="9ce3b8b2-035f-4175-b301-998b03a50e38" providerId="ADAL" clId="{D8E03A0D-8A42-4CF5-82BF-586E462557BB}" dt="2024-03-04T17:44:55.479" v="1974" actId="478"/>
          <ac:spMkLst>
            <pc:docMk/>
            <pc:sldMk cId="4264639648" sldId="595"/>
            <ac:spMk id="256" creationId="{90652903-DB69-67FB-DB55-9637E9043C33}"/>
          </ac:spMkLst>
        </pc:spChg>
        <pc:spChg chg="del">
          <ac:chgData name="bullingerm.tmt22" userId="9ce3b8b2-035f-4175-b301-998b03a50e38" providerId="ADAL" clId="{D8E03A0D-8A42-4CF5-82BF-586E462557BB}" dt="2024-03-01T10:49:08.085" v="311" actId="478"/>
          <ac:spMkLst>
            <pc:docMk/>
            <pc:sldMk cId="4264639648" sldId="595"/>
            <ac:spMk id="257" creationId="{6EECA0BE-7CF9-A6BD-E32D-797DF04C9EA6}"/>
          </ac:spMkLst>
        </pc:spChg>
        <pc:spChg chg="del">
          <ac:chgData name="bullingerm.tmt22" userId="9ce3b8b2-035f-4175-b301-998b03a50e38" providerId="ADAL" clId="{D8E03A0D-8A42-4CF5-82BF-586E462557BB}" dt="2024-03-04T17:44:55.479" v="1973" actId="478"/>
          <ac:spMkLst>
            <pc:docMk/>
            <pc:sldMk cId="4264639648" sldId="595"/>
            <ac:spMk id="257" creationId="{E7239F7A-5B6F-6768-C305-5D6B9DED54C6}"/>
          </ac:spMkLst>
        </pc:spChg>
        <pc:spChg chg="del">
          <ac:chgData name="bullingerm.tmt22" userId="9ce3b8b2-035f-4175-b301-998b03a50e38" providerId="ADAL" clId="{D8E03A0D-8A42-4CF5-82BF-586E462557BB}" dt="2024-03-04T17:44:55.479" v="1972" actId="478"/>
          <ac:spMkLst>
            <pc:docMk/>
            <pc:sldMk cId="4264639648" sldId="595"/>
            <ac:spMk id="258" creationId="{4BB7F42D-A2AD-8C30-ABF6-FC778660FC11}"/>
          </ac:spMkLst>
        </pc:spChg>
        <pc:spChg chg="del">
          <ac:chgData name="bullingerm.tmt22" userId="9ce3b8b2-035f-4175-b301-998b03a50e38" providerId="ADAL" clId="{D8E03A0D-8A42-4CF5-82BF-586E462557BB}" dt="2024-03-04T17:44:55.479" v="1971" actId="478"/>
          <ac:spMkLst>
            <pc:docMk/>
            <pc:sldMk cId="4264639648" sldId="595"/>
            <ac:spMk id="259" creationId="{60B02E4B-80C7-BFA2-D9D1-EB02D88F6655}"/>
          </ac:spMkLst>
        </pc:spChg>
        <pc:spChg chg="del">
          <ac:chgData name="bullingerm.tmt22" userId="9ce3b8b2-035f-4175-b301-998b03a50e38" providerId="ADAL" clId="{D8E03A0D-8A42-4CF5-82BF-586E462557BB}" dt="2024-03-04T17:44:55.479" v="1970" actId="478"/>
          <ac:spMkLst>
            <pc:docMk/>
            <pc:sldMk cId="4264639648" sldId="595"/>
            <ac:spMk id="260" creationId="{85CC1EF3-EA3E-0818-5D5A-3110AE37FD51}"/>
          </ac:spMkLst>
        </pc:spChg>
        <pc:spChg chg="del">
          <ac:chgData name="bullingerm.tmt22" userId="9ce3b8b2-035f-4175-b301-998b03a50e38" providerId="ADAL" clId="{D8E03A0D-8A42-4CF5-82BF-586E462557BB}" dt="2024-03-04T17:44:55.478" v="1969" actId="478"/>
          <ac:spMkLst>
            <pc:docMk/>
            <pc:sldMk cId="4264639648" sldId="595"/>
            <ac:spMk id="261" creationId="{E9EB50D5-8424-4C63-FFE0-07B81008A5B2}"/>
          </ac:spMkLst>
        </pc:spChg>
        <pc:spChg chg="del">
          <ac:chgData name="bullingerm.tmt22" userId="9ce3b8b2-035f-4175-b301-998b03a50e38" providerId="ADAL" clId="{D8E03A0D-8A42-4CF5-82BF-586E462557BB}" dt="2024-03-04T17:44:55.472" v="1968" actId="478"/>
          <ac:spMkLst>
            <pc:docMk/>
            <pc:sldMk cId="4264639648" sldId="595"/>
            <ac:spMk id="262" creationId="{74E384E1-962B-43BC-A367-5BFAFA650C28}"/>
          </ac:spMkLst>
        </pc:spChg>
        <pc:spChg chg="del">
          <ac:chgData name="bullingerm.tmt22" userId="9ce3b8b2-035f-4175-b301-998b03a50e38" providerId="ADAL" clId="{D8E03A0D-8A42-4CF5-82BF-586E462557BB}" dt="2024-03-04T17:44:55.472" v="1967" actId="478"/>
          <ac:spMkLst>
            <pc:docMk/>
            <pc:sldMk cId="4264639648" sldId="595"/>
            <ac:spMk id="263" creationId="{5864FCAA-5EC5-E885-38B7-CB1F46DB3A5D}"/>
          </ac:spMkLst>
        </pc:spChg>
        <pc:spChg chg="replST">
          <ac:chgData name="bullingerm.tmt22" userId="9ce3b8b2-035f-4175-b301-998b03a50e38" providerId="ADAL" clId="{D8E03A0D-8A42-4CF5-82BF-586E462557BB}" dt="2024-03-04T17:44:56.149" v="2304"/>
          <ac:spMkLst>
            <pc:docMk/>
            <pc:sldMk cId="4264639648" sldId="595"/>
            <ac:spMk id="264" creationId="{FF8AF571-8778-AAD2-49C8-244FDAEBBF9D}"/>
          </ac:spMkLst>
        </pc:spChg>
        <pc:spChg chg="replST">
          <ac:chgData name="bullingerm.tmt22" userId="9ce3b8b2-035f-4175-b301-998b03a50e38" providerId="ADAL" clId="{D8E03A0D-8A42-4CF5-82BF-586E462557BB}" dt="2024-03-04T17:44:56.149" v="2307"/>
          <ac:spMkLst>
            <pc:docMk/>
            <pc:sldMk cId="4264639648" sldId="595"/>
            <ac:spMk id="265" creationId="{F25B3EC6-60A3-8ADA-E3E4-A026E8BA612A}"/>
          </ac:spMkLst>
        </pc:spChg>
        <pc:spChg chg="replST">
          <ac:chgData name="bullingerm.tmt22" userId="9ce3b8b2-035f-4175-b301-998b03a50e38" providerId="ADAL" clId="{D8E03A0D-8A42-4CF5-82BF-586E462557BB}" dt="2024-03-04T17:44:56.158" v="2311"/>
          <ac:spMkLst>
            <pc:docMk/>
            <pc:sldMk cId="4264639648" sldId="595"/>
            <ac:spMk id="267" creationId="{063E984D-3107-F164-379B-7888FB39F50B}"/>
          </ac:spMkLst>
        </pc:spChg>
        <pc:spChg chg="replST">
          <ac:chgData name="bullingerm.tmt22" userId="9ce3b8b2-035f-4175-b301-998b03a50e38" providerId="ADAL" clId="{D8E03A0D-8A42-4CF5-82BF-586E462557BB}" dt="2024-03-04T17:44:56.168" v="2314"/>
          <ac:spMkLst>
            <pc:docMk/>
            <pc:sldMk cId="4264639648" sldId="595"/>
            <ac:spMk id="268" creationId="{45AFCF1E-373C-A205-7F9C-9485AFA7E50E}"/>
          </ac:spMkLst>
        </pc:spChg>
        <pc:spChg chg="replST">
          <ac:chgData name="bullingerm.tmt22" userId="9ce3b8b2-035f-4175-b301-998b03a50e38" providerId="ADAL" clId="{D8E03A0D-8A42-4CF5-82BF-586E462557BB}" dt="2024-03-04T17:44:56.168" v="2318"/>
          <ac:spMkLst>
            <pc:docMk/>
            <pc:sldMk cId="4264639648" sldId="595"/>
            <ac:spMk id="270" creationId="{D64272F8-37AD-4797-D83A-7F3C969F0356}"/>
          </ac:spMkLst>
        </pc:spChg>
        <pc:spChg chg="replST">
          <ac:chgData name="bullingerm.tmt22" userId="9ce3b8b2-035f-4175-b301-998b03a50e38" providerId="ADAL" clId="{D8E03A0D-8A42-4CF5-82BF-586E462557BB}" dt="2024-03-04T17:44:56.179" v="2321"/>
          <ac:spMkLst>
            <pc:docMk/>
            <pc:sldMk cId="4264639648" sldId="595"/>
            <ac:spMk id="271" creationId="{58FA0B6A-B9A9-526A-FDAD-2ECFE2D8D29F}"/>
          </ac:spMkLst>
        </pc:spChg>
        <pc:spChg chg="del">
          <ac:chgData name="bullingerm.tmt22" userId="9ce3b8b2-035f-4175-b301-998b03a50e38" providerId="ADAL" clId="{D8E03A0D-8A42-4CF5-82BF-586E462557BB}" dt="2024-03-01T10:49:08.136" v="352" actId="478"/>
          <ac:spMkLst>
            <pc:docMk/>
            <pc:sldMk cId="4264639648" sldId="595"/>
            <ac:spMk id="271" creationId="{CB77283C-8767-C266-B4DE-DDB9D3E22D94}"/>
          </ac:spMkLst>
        </pc:spChg>
        <pc:spChg chg="ord replST">
          <ac:chgData name="bullingerm.tmt22" userId="9ce3b8b2-035f-4175-b301-998b03a50e38" providerId="ADAL" clId="{D8E03A0D-8A42-4CF5-82BF-586E462557BB}" dt="2024-03-04T17:44:56.239" v="2348"/>
          <ac:spMkLst>
            <pc:docMk/>
            <pc:sldMk cId="4264639648" sldId="595"/>
            <ac:spMk id="272" creationId="{7ECC14A2-B1BB-D4FE-72DB-98481F4195EA}"/>
          </ac:spMkLst>
        </pc:spChg>
        <pc:spChg chg="del">
          <ac:chgData name="bullingerm.tmt22" userId="9ce3b8b2-035f-4175-b301-998b03a50e38" providerId="ADAL" clId="{D8E03A0D-8A42-4CF5-82BF-586E462557BB}" dt="2024-03-01T10:49:08.136" v="351" actId="478"/>
          <ac:spMkLst>
            <pc:docMk/>
            <pc:sldMk cId="4264639648" sldId="595"/>
            <ac:spMk id="272" creationId="{8D2B9161-E68F-F7B0-21EF-DF0C5CE0229D}"/>
          </ac:spMkLst>
        </pc:spChg>
        <pc:spChg chg="del">
          <ac:chgData name="bullingerm.tmt22" userId="9ce3b8b2-035f-4175-b301-998b03a50e38" providerId="ADAL" clId="{D8E03A0D-8A42-4CF5-82BF-586E462557BB}" dt="2024-03-01T10:49:08.136" v="350" actId="478"/>
          <ac:spMkLst>
            <pc:docMk/>
            <pc:sldMk cId="4264639648" sldId="595"/>
            <ac:spMk id="273" creationId="{097A5E2D-E1D0-2570-D3BD-0495941AEBB2}"/>
          </ac:spMkLst>
        </pc:spChg>
        <pc:spChg chg="replST">
          <ac:chgData name="bullingerm.tmt22" userId="9ce3b8b2-035f-4175-b301-998b03a50e38" providerId="ADAL" clId="{D8E03A0D-8A42-4CF5-82BF-586E462557BB}" dt="2024-03-04T17:44:56.188" v="2325"/>
          <ac:spMkLst>
            <pc:docMk/>
            <pc:sldMk cId="4264639648" sldId="595"/>
            <ac:spMk id="273" creationId="{F12BDBD3-387E-F557-DC39-344F438374C0}"/>
          </ac:spMkLst>
        </pc:spChg>
        <pc:spChg chg="replST">
          <ac:chgData name="bullingerm.tmt22" userId="9ce3b8b2-035f-4175-b301-998b03a50e38" providerId="ADAL" clId="{D8E03A0D-8A42-4CF5-82BF-586E462557BB}" dt="2024-03-04T17:44:56.193" v="2328"/>
          <ac:spMkLst>
            <pc:docMk/>
            <pc:sldMk cId="4264639648" sldId="595"/>
            <ac:spMk id="274" creationId="{635DBBCF-0F99-6CD3-659C-56F0BC7481D4}"/>
          </ac:spMkLst>
        </pc:spChg>
        <pc:spChg chg="del">
          <ac:chgData name="bullingerm.tmt22" userId="9ce3b8b2-035f-4175-b301-998b03a50e38" providerId="ADAL" clId="{D8E03A0D-8A42-4CF5-82BF-586E462557BB}" dt="2024-03-01T10:49:08.136" v="349" actId="478"/>
          <ac:spMkLst>
            <pc:docMk/>
            <pc:sldMk cId="4264639648" sldId="595"/>
            <ac:spMk id="274" creationId="{B4D9A9E7-4503-0061-A4AC-B9FFB13A2766}"/>
          </ac:spMkLst>
        </pc:spChg>
        <pc:spChg chg="del">
          <ac:chgData name="bullingerm.tmt22" userId="9ce3b8b2-035f-4175-b301-998b03a50e38" providerId="ADAL" clId="{D8E03A0D-8A42-4CF5-82BF-586E462557BB}" dt="2024-03-01T10:49:08.136" v="348" actId="478"/>
          <ac:spMkLst>
            <pc:docMk/>
            <pc:sldMk cId="4264639648" sldId="595"/>
            <ac:spMk id="275" creationId="{B55BDA33-8973-0BC0-7555-139EEA23AAEC}"/>
          </ac:spMkLst>
        </pc:spChg>
        <pc:spChg chg="del">
          <ac:chgData name="bullingerm.tmt22" userId="9ce3b8b2-035f-4175-b301-998b03a50e38" providerId="ADAL" clId="{D8E03A0D-8A42-4CF5-82BF-586E462557BB}" dt="2024-03-01T10:49:08.136" v="347" actId="478"/>
          <ac:spMkLst>
            <pc:docMk/>
            <pc:sldMk cId="4264639648" sldId="595"/>
            <ac:spMk id="276" creationId="{9D8CD413-C762-5DCD-30AB-9FD8E55FCDFF}"/>
          </ac:spMkLst>
        </pc:spChg>
        <pc:spChg chg="replST">
          <ac:chgData name="bullingerm.tmt22" userId="9ce3b8b2-035f-4175-b301-998b03a50e38" providerId="ADAL" clId="{D8E03A0D-8A42-4CF5-82BF-586E462557BB}" dt="2024-03-04T17:44:56.203" v="2332"/>
          <ac:spMkLst>
            <pc:docMk/>
            <pc:sldMk cId="4264639648" sldId="595"/>
            <ac:spMk id="276" creationId="{DECB59DD-0734-2E67-9771-86347DDF5DAA}"/>
          </ac:spMkLst>
        </pc:spChg>
        <pc:spChg chg="del">
          <ac:chgData name="bullingerm.tmt22" userId="9ce3b8b2-035f-4175-b301-998b03a50e38" providerId="ADAL" clId="{D8E03A0D-8A42-4CF5-82BF-586E462557BB}" dt="2024-03-01T10:49:08.136" v="346" actId="478"/>
          <ac:spMkLst>
            <pc:docMk/>
            <pc:sldMk cId="4264639648" sldId="595"/>
            <ac:spMk id="277" creationId="{697ECF32-5821-8229-7A4A-5564DD7AA33A}"/>
          </ac:spMkLst>
        </pc:spChg>
        <pc:spChg chg="replST">
          <ac:chgData name="bullingerm.tmt22" userId="9ce3b8b2-035f-4175-b301-998b03a50e38" providerId="ADAL" clId="{D8E03A0D-8A42-4CF5-82BF-586E462557BB}" dt="2024-03-04T17:44:56.208" v="2335"/>
          <ac:spMkLst>
            <pc:docMk/>
            <pc:sldMk cId="4264639648" sldId="595"/>
            <ac:spMk id="277" creationId="{B329A55B-E0A3-18D7-643B-94335AD58607}"/>
          </ac:spMkLst>
        </pc:spChg>
        <pc:spChg chg="del">
          <ac:chgData name="bullingerm.tmt22" userId="9ce3b8b2-035f-4175-b301-998b03a50e38" providerId="ADAL" clId="{D8E03A0D-8A42-4CF5-82BF-586E462557BB}" dt="2024-03-01T10:49:08.136" v="338" actId="478"/>
          <ac:spMkLst>
            <pc:docMk/>
            <pc:sldMk cId="4264639648" sldId="595"/>
            <ac:spMk id="278" creationId="{4678EF14-B9DF-DD26-3F8C-0BD209342224}"/>
          </ac:spMkLst>
        </pc:spChg>
        <pc:spChg chg="del">
          <ac:chgData name="bullingerm.tmt22" userId="9ce3b8b2-035f-4175-b301-998b03a50e38" providerId="ADAL" clId="{D8E03A0D-8A42-4CF5-82BF-586E462557BB}" dt="2024-03-01T10:49:08.120" v="331" actId="478"/>
          <ac:spMkLst>
            <pc:docMk/>
            <pc:sldMk cId="4264639648" sldId="595"/>
            <ac:spMk id="279" creationId="{2D53B889-B46D-AD3E-7E56-571B95AF5C88}"/>
          </ac:spMkLst>
        </pc:spChg>
        <pc:spChg chg="replST">
          <ac:chgData name="bullingerm.tmt22" userId="9ce3b8b2-035f-4175-b301-998b03a50e38" providerId="ADAL" clId="{D8E03A0D-8A42-4CF5-82BF-586E462557BB}" dt="2024-03-04T17:44:56.218" v="2339"/>
          <ac:spMkLst>
            <pc:docMk/>
            <pc:sldMk cId="4264639648" sldId="595"/>
            <ac:spMk id="279" creationId="{4B792DD9-84A0-1A0E-8418-7D019EBB831E}"/>
          </ac:spMkLst>
        </pc:spChg>
        <pc:spChg chg="replST">
          <ac:chgData name="bullingerm.tmt22" userId="9ce3b8b2-035f-4175-b301-998b03a50e38" providerId="ADAL" clId="{D8E03A0D-8A42-4CF5-82BF-586E462557BB}" dt="2024-03-04T17:44:56.218" v="2342"/>
          <ac:spMkLst>
            <pc:docMk/>
            <pc:sldMk cId="4264639648" sldId="595"/>
            <ac:spMk id="280" creationId="{E9AD6221-A44D-AB1A-72AA-FCF41AB69D4D}"/>
          </ac:spMkLst>
        </pc:spChg>
        <pc:spChg chg="del">
          <ac:chgData name="bullingerm.tmt22" userId="9ce3b8b2-035f-4175-b301-998b03a50e38" providerId="ADAL" clId="{D8E03A0D-8A42-4CF5-82BF-586E462557BB}" dt="2024-03-01T10:49:08.136" v="339" actId="478"/>
          <ac:spMkLst>
            <pc:docMk/>
            <pc:sldMk cId="4264639648" sldId="595"/>
            <ac:spMk id="280" creationId="{EF878626-93DE-DAD2-1B84-1AC2E18CEF65}"/>
          </ac:spMkLst>
        </pc:spChg>
        <pc:spChg chg="del">
          <ac:chgData name="bullingerm.tmt22" userId="9ce3b8b2-035f-4175-b301-998b03a50e38" providerId="ADAL" clId="{D8E03A0D-8A42-4CF5-82BF-586E462557BB}" dt="2024-03-01T10:49:08.120" v="330" actId="478"/>
          <ac:spMkLst>
            <pc:docMk/>
            <pc:sldMk cId="4264639648" sldId="595"/>
            <ac:spMk id="281" creationId="{761B9FA1-5CB7-2274-110D-8CC67F7E4808}"/>
          </ac:spMkLst>
        </pc:spChg>
        <pc:spChg chg="del">
          <ac:chgData name="bullingerm.tmt22" userId="9ce3b8b2-035f-4175-b301-998b03a50e38" providerId="ADAL" clId="{D8E03A0D-8A42-4CF5-82BF-586E462557BB}" dt="2024-03-01T10:49:08.120" v="329" actId="478"/>
          <ac:spMkLst>
            <pc:docMk/>
            <pc:sldMk cId="4264639648" sldId="595"/>
            <ac:spMk id="282" creationId="{3DDFE7E1-4D13-30E7-11AB-600DEF4536E5}"/>
          </ac:spMkLst>
        </pc:spChg>
        <pc:spChg chg="del">
          <ac:chgData name="bullingerm.tmt22" userId="9ce3b8b2-035f-4175-b301-998b03a50e38" providerId="ADAL" clId="{D8E03A0D-8A42-4CF5-82BF-586E462557BB}" dt="2024-03-01T10:49:08.120" v="328" actId="478"/>
          <ac:spMkLst>
            <pc:docMk/>
            <pc:sldMk cId="4264639648" sldId="595"/>
            <ac:spMk id="283" creationId="{50510F16-5A41-9600-AD93-C8FD4849DF1C}"/>
          </ac:spMkLst>
        </pc:spChg>
        <pc:spChg chg="del">
          <ac:chgData name="bullingerm.tmt22" userId="9ce3b8b2-035f-4175-b301-998b03a50e38" providerId="ADAL" clId="{D8E03A0D-8A42-4CF5-82BF-586E462557BB}" dt="2024-03-01T10:49:08.120" v="327" actId="478"/>
          <ac:spMkLst>
            <pc:docMk/>
            <pc:sldMk cId="4264639648" sldId="595"/>
            <ac:spMk id="284" creationId="{BD40EE92-1CC4-89C7-7BBD-F8D25F23E410}"/>
          </ac:spMkLst>
        </pc:spChg>
        <pc:spChg chg="del">
          <ac:chgData name="bullingerm.tmt22" userId="9ce3b8b2-035f-4175-b301-998b03a50e38" providerId="ADAL" clId="{D8E03A0D-8A42-4CF5-82BF-586E462557BB}" dt="2024-03-01T10:49:08.120" v="326" actId="478"/>
          <ac:spMkLst>
            <pc:docMk/>
            <pc:sldMk cId="4264639648" sldId="595"/>
            <ac:spMk id="285" creationId="{CB5AB729-36AE-E5B6-9658-C2F81A478112}"/>
          </ac:spMkLst>
        </pc:spChg>
        <pc:spChg chg="del">
          <ac:chgData name="bullingerm.tmt22" userId="9ce3b8b2-035f-4175-b301-998b03a50e38" providerId="ADAL" clId="{D8E03A0D-8A42-4CF5-82BF-586E462557BB}" dt="2024-03-01T10:49:08.120" v="325" actId="478"/>
          <ac:spMkLst>
            <pc:docMk/>
            <pc:sldMk cId="4264639648" sldId="595"/>
            <ac:spMk id="286" creationId="{5701F592-5586-5B3E-7D05-FFC3CB49A45D}"/>
          </ac:spMkLst>
        </pc:spChg>
        <pc:spChg chg="del">
          <ac:chgData name="bullingerm.tmt22" userId="9ce3b8b2-035f-4175-b301-998b03a50e38" providerId="ADAL" clId="{D8E03A0D-8A42-4CF5-82BF-586E462557BB}" dt="2024-03-01T10:49:08.120" v="324" actId="478"/>
          <ac:spMkLst>
            <pc:docMk/>
            <pc:sldMk cId="4264639648" sldId="595"/>
            <ac:spMk id="287" creationId="{A244B6EC-8FFF-01B1-C0DD-63C24A4F172C}"/>
          </ac:spMkLst>
        </pc:spChg>
        <pc:cxnChg chg="del ord replST">
          <ac:chgData name="bullingerm.tmt22" userId="9ce3b8b2-035f-4175-b301-998b03a50e38" providerId="ADAL" clId="{D8E03A0D-8A42-4CF5-82BF-586E462557BB}" dt="2024-03-04T17:44:55.448" v="1959" actId="478"/>
          <ac:cxnSpMkLst>
            <pc:docMk/>
            <pc:sldMk cId="4264639648" sldId="595"/>
            <ac:cxnSpMk id="201" creationId="{5B5C77F2-400E-3554-B3DA-8CCA88CE600D}"/>
          </ac:cxnSpMkLst>
        </pc:cxnChg>
        <pc:cxnChg chg="del ord replST">
          <ac:chgData name="bullingerm.tmt22" userId="9ce3b8b2-035f-4175-b301-998b03a50e38" providerId="ADAL" clId="{D8E03A0D-8A42-4CF5-82BF-586E462557BB}" dt="2024-03-04T17:44:55.448" v="1960" actId="478"/>
          <ac:cxnSpMkLst>
            <pc:docMk/>
            <pc:sldMk cId="4264639648" sldId="595"/>
            <ac:cxnSpMk id="204" creationId="{985C8DB5-5765-2C1E-2273-E40F793A820E}"/>
          </ac:cxnSpMkLst>
        </pc:cxnChg>
        <pc:cxnChg chg="del ord replST">
          <ac:chgData name="bullingerm.tmt22" userId="9ce3b8b2-035f-4175-b301-998b03a50e38" providerId="ADAL" clId="{D8E03A0D-8A42-4CF5-82BF-586E462557BB}" dt="2024-03-04T17:44:55.459" v="1962" actId="478"/>
          <ac:cxnSpMkLst>
            <pc:docMk/>
            <pc:sldMk cId="4264639648" sldId="595"/>
            <ac:cxnSpMk id="210" creationId="{CF4DD915-8C1D-0023-34AB-3B10450EECE7}"/>
          </ac:cxnSpMkLst>
        </pc:cxnChg>
        <pc:cxnChg chg="del ord replST">
          <ac:chgData name="bullingerm.tmt22" userId="9ce3b8b2-035f-4175-b301-998b03a50e38" providerId="ADAL" clId="{D8E03A0D-8A42-4CF5-82BF-586E462557BB}" dt="2024-03-04T17:44:55.459" v="1963" actId="478"/>
          <ac:cxnSpMkLst>
            <pc:docMk/>
            <pc:sldMk cId="4264639648" sldId="595"/>
            <ac:cxnSpMk id="214" creationId="{CCA4E649-0E61-66A0-C951-5B0C50AA671C}"/>
          </ac:cxnSpMkLst>
        </pc:cxnChg>
        <pc:cxnChg chg="del ord replST">
          <ac:chgData name="bullingerm.tmt22" userId="9ce3b8b2-035f-4175-b301-998b03a50e38" providerId="ADAL" clId="{D8E03A0D-8A42-4CF5-82BF-586E462557BB}" dt="2024-03-04T17:44:55.459" v="1964" actId="478"/>
          <ac:cxnSpMkLst>
            <pc:docMk/>
            <pc:sldMk cId="4264639648" sldId="595"/>
            <ac:cxnSpMk id="217" creationId="{236F4BB4-6C14-24FC-EB9A-44F3B9679759}"/>
          </ac:cxnSpMkLst>
        </pc:cxnChg>
        <pc:cxnChg chg="del ord replST">
          <ac:chgData name="bullingerm.tmt22" userId="9ce3b8b2-035f-4175-b301-998b03a50e38" providerId="ADAL" clId="{D8E03A0D-8A42-4CF5-82BF-586E462557BB}" dt="2024-03-04T17:44:55.459" v="1965" actId="478"/>
          <ac:cxnSpMkLst>
            <pc:docMk/>
            <pc:sldMk cId="4264639648" sldId="595"/>
            <ac:cxnSpMk id="220" creationId="{F4D3967C-645F-FCDC-A51D-A84D6EDCD1EA}"/>
          </ac:cxnSpMkLst>
        </pc:cxnChg>
        <pc:cxnChg chg="del ord replST">
          <ac:chgData name="bullingerm.tmt22" userId="9ce3b8b2-035f-4175-b301-998b03a50e38" providerId="ADAL" clId="{D8E03A0D-8A42-4CF5-82BF-586E462557BB}" dt="2024-03-04T17:44:55.459" v="1966" actId="478"/>
          <ac:cxnSpMkLst>
            <pc:docMk/>
            <pc:sldMk cId="4264639648" sldId="595"/>
            <ac:cxnSpMk id="221" creationId="{4F480B1F-C288-ADD2-4BFE-D136AF326E83}"/>
          </ac:cxnSpMkLst>
        </pc:cxnChg>
        <pc:cxnChg chg="del">
          <ac:chgData name="bullingerm.tmt22" userId="9ce3b8b2-035f-4175-b301-998b03a50e38" providerId="ADAL" clId="{D8E03A0D-8A42-4CF5-82BF-586E462557BB}" dt="2024-03-01T10:49:08.085" v="309" actId="478"/>
          <ac:cxnSpMkLst>
            <pc:docMk/>
            <pc:sldMk cId="4264639648" sldId="595"/>
            <ac:cxnSpMk id="251" creationId="{A2C0DA8F-AE68-FF2C-873F-AE1373199EC8}"/>
          </ac:cxnSpMkLst>
        </pc:cxnChg>
        <pc:cxnChg chg="del">
          <ac:chgData name="bullingerm.tmt22" userId="9ce3b8b2-035f-4175-b301-998b03a50e38" providerId="ADAL" clId="{D8E03A0D-8A42-4CF5-82BF-586E462557BB}" dt="2024-03-01T10:49:08.085" v="310" actId="478"/>
          <ac:cxnSpMkLst>
            <pc:docMk/>
            <pc:sldMk cId="4264639648" sldId="595"/>
            <ac:cxnSpMk id="254" creationId="{7A978714-4638-BF89-0E4B-1E718065A18D}"/>
          </ac:cxnSpMkLst>
        </pc:cxnChg>
        <pc:cxnChg chg="del">
          <ac:chgData name="bullingerm.tmt22" userId="9ce3b8b2-035f-4175-b301-998b03a50e38" providerId="ADAL" clId="{D8E03A0D-8A42-4CF5-82BF-586E462557BB}" dt="2024-03-01T10:49:08.085" v="312" actId="478"/>
          <ac:cxnSpMkLst>
            <pc:docMk/>
            <pc:sldMk cId="4264639648" sldId="595"/>
            <ac:cxnSpMk id="260" creationId="{04877379-96EB-13E5-F44C-B6E7837541CB}"/>
          </ac:cxnSpMkLst>
        </pc:cxnChg>
        <pc:cxnChg chg="del">
          <ac:chgData name="bullingerm.tmt22" userId="9ce3b8b2-035f-4175-b301-998b03a50e38" providerId="ADAL" clId="{D8E03A0D-8A42-4CF5-82BF-586E462557BB}" dt="2024-03-01T10:49:08.085" v="313" actId="478"/>
          <ac:cxnSpMkLst>
            <pc:docMk/>
            <pc:sldMk cId="4264639648" sldId="595"/>
            <ac:cxnSpMk id="263" creationId="{BD3A82A3-0D08-E969-7C85-D71B9CC28C70}"/>
          </ac:cxnSpMkLst>
        </pc:cxnChg>
        <pc:cxnChg chg="del">
          <ac:chgData name="bullingerm.tmt22" userId="9ce3b8b2-035f-4175-b301-998b03a50e38" providerId="ADAL" clId="{D8E03A0D-8A42-4CF5-82BF-586E462557BB}" dt="2024-03-01T10:49:08.085" v="314" actId="478"/>
          <ac:cxnSpMkLst>
            <pc:docMk/>
            <pc:sldMk cId="4264639648" sldId="595"/>
            <ac:cxnSpMk id="266" creationId="{0284C1C9-E9B5-D7EE-21D6-56453E315EBD}"/>
          </ac:cxnSpMkLst>
        </pc:cxnChg>
        <pc:cxnChg chg="ord replST">
          <ac:chgData name="bullingerm.tmt22" userId="9ce3b8b2-035f-4175-b301-998b03a50e38" providerId="ADAL" clId="{D8E03A0D-8A42-4CF5-82BF-586E462557BB}" dt="2024-03-04T17:44:56.235" v="2346"/>
          <ac:cxnSpMkLst>
            <pc:docMk/>
            <pc:sldMk cId="4264639648" sldId="595"/>
            <ac:cxnSpMk id="266" creationId="{5C8509D3-DF9C-625B-5DFD-F4A44E0278F9}"/>
          </ac:cxnSpMkLst>
        </pc:cxnChg>
        <pc:cxnChg chg="ord replST">
          <ac:chgData name="bullingerm.tmt22" userId="9ce3b8b2-035f-4175-b301-998b03a50e38" providerId="ADAL" clId="{D8E03A0D-8A42-4CF5-82BF-586E462557BB}" dt="2024-03-04T17:44:56.235" v="2347"/>
          <ac:cxnSpMkLst>
            <pc:docMk/>
            <pc:sldMk cId="4264639648" sldId="595"/>
            <ac:cxnSpMk id="269" creationId="{6E591E73-C5BF-E758-EC6D-D4D98C415E80}"/>
          </ac:cxnSpMkLst>
        </pc:cxnChg>
        <pc:cxnChg chg="del">
          <ac:chgData name="bullingerm.tmt22" userId="9ce3b8b2-035f-4175-b301-998b03a50e38" providerId="ADAL" clId="{D8E03A0D-8A42-4CF5-82BF-586E462557BB}" dt="2024-03-01T10:49:08.101" v="315" actId="478"/>
          <ac:cxnSpMkLst>
            <pc:docMk/>
            <pc:sldMk cId="4264639648" sldId="595"/>
            <ac:cxnSpMk id="269" creationId="{CA767726-C3C5-87A2-5F86-F99854A0C3E9}"/>
          </ac:cxnSpMkLst>
        </pc:cxnChg>
        <pc:cxnChg chg="del">
          <ac:chgData name="bullingerm.tmt22" userId="9ce3b8b2-035f-4175-b301-998b03a50e38" providerId="ADAL" clId="{D8E03A0D-8A42-4CF5-82BF-586E462557BB}" dt="2024-03-01T10:49:08.101" v="316" actId="478"/>
          <ac:cxnSpMkLst>
            <pc:docMk/>
            <pc:sldMk cId="4264639648" sldId="595"/>
            <ac:cxnSpMk id="270" creationId="{CD50FBE1-DFEB-4F7A-1F36-659027F7F77A}"/>
          </ac:cxnSpMkLst>
        </pc:cxnChg>
        <pc:cxnChg chg="ord replST">
          <ac:chgData name="bullingerm.tmt22" userId="9ce3b8b2-035f-4175-b301-998b03a50e38" providerId="ADAL" clId="{D8E03A0D-8A42-4CF5-82BF-586E462557BB}" dt="2024-03-04T17:44:56.239" v="2349"/>
          <ac:cxnSpMkLst>
            <pc:docMk/>
            <pc:sldMk cId="4264639648" sldId="595"/>
            <ac:cxnSpMk id="275" creationId="{2998FB03-1515-C485-E5E8-C75A26F7EE2B}"/>
          </ac:cxnSpMkLst>
        </pc:cxnChg>
        <pc:cxnChg chg="ord replST">
          <ac:chgData name="bullingerm.tmt22" userId="9ce3b8b2-035f-4175-b301-998b03a50e38" providerId="ADAL" clId="{D8E03A0D-8A42-4CF5-82BF-586E462557BB}" dt="2024-03-04T17:44:56.239" v="2350"/>
          <ac:cxnSpMkLst>
            <pc:docMk/>
            <pc:sldMk cId="4264639648" sldId="595"/>
            <ac:cxnSpMk id="278" creationId="{3E9DF369-3251-318C-D1D2-98B33C5D69B6}"/>
          </ac:cxnSpMkLst>
        </pc:cxnChg>
        <pc:cxnChg chg="ord replST">
          <ac:chgData name="bullingerm.tmt22" userId="9ce3b8b2-035f-4175-b301-998b03a50e38" providerId="ADAL" clId="{D8E03A0D-8A42-4CF5-82BF-586E462557BB}" dt="2024-03-04T17:44:56.239" v="2351"/>
          <ac:cxnSpMkLst>
            <pc:docMk/>
            <pc:sldMk cId="4264639648" sldId="595"/>
            <ac:cxnSpMk id="281" creationId="{5A462173-6420-6321-60D7-8B43F791AD90}"/>
          </ac:cxnSpMkLst>
        </pc:cxnChg>
        <pc:cxnChg chg="ord replST">
          <ac:chgData name="bullingerm.tmt22" userId="9ce3b8b2-035f-4175-b301-998b03a50e38" providerId="ADAL" clId="{D8E03A0D-8A42-4CF5-82BF-586E462557BB}" dt="2024-03-04T17:44:56.239" v="2352"/>
          <ac:cxnSpMkLst>
            <pc:docMk/>
            <pc:sldMk cId="4264639648" sldId="595"/>
            <ac:cxnSpMk id="282" creationId="{8F669F36-23E1-1BE9-BC7B-C0560F4F656E}"/>
          </ac:cxnSpMkLst>
        </pc:cxnChg>
      </pc:sldChg>
      <pc:sldChg chg="addSp delSp modSp add mod ord">
        <pc:chgData name="bullingerm.tmt22" userId="9ce3b8b2-035f-4175-b301-998b03a50e38" providerId="ADAL" clId="{D8E03A0D-8A42-4CF5-82BF-586E462557BB}" dt="2024-03-04T18:47:12.088" v="4084" actId="207"/>
        <pc:sldMkLst>
          <pc:docMk/>
          <pc:sldMk cId="2284291004" sldId="596"/>
        </pc:sldMkLst>
        <pc:spChg chg="del">
          <ac:chgData name="bullingerm.tmt22" userId="9ce3b8b2-035f-4175-b301-998b03a50e38" providerId="ADAL" clId="{D8E03A0D-8A42-4CF5-82BF-586E462557BB}" dt="2024-03-04T15:35:07.812" v="1251" actId="478"/>
          <ac:spMkLst>
            <pc:docMk/>
            <pc:sldMk cId="2284291004" sldId="596"/>
            <ac:spMk id="4" creationId="{B8ECF902-B082-4799-A6ED-316F410CB465}"/>
          </ac:spMkLst>
        </pc:spChg>
        <pc:spChg chg="add del mod">
          <ac:chgData name="bullingerm.tmt22" userId="9ce3b8b2-035f-4175-b301-998b03a50e38" providerId="ADAL" clId="{D8E03A0D-8A42-4CF5-82BF-586E462557BB}" dt="2024-03-04T15:35:11.114" v="1252" actId="478"/>
          <ac:spMkLst>
            <pc:docMk/>
            <pc:sldMk cId="2284291004" sldId="596"/>
            <ac:spMk id="5" creationId="{558A5815-2876-B3FD-BF88-CEB6B03FEE5B}"/>
          </ac:spMkLst>
        </pc:spChg>
        <pc:spChg chg="add mod">
          <ac:chgData name="bullingerm.tmt22" userId="9ce3b8b2-035f-4175-b301-998b03a50e38" providerId="ADAL" clId="{D8E03A0D-8A42-4CF5-82BF-586E462557BB}" dt="2024-03-04T18:09:22.958" v="3324" actId="1076"/>
          <ac:spMkLst>
            <pc:docMk/>
            <pc:sldMk cId="2284291004" sldId="596"/>
            <ac:spMk id="7" creationId="{0CB4FA70-3826-CC49-D3AA-5EBB6BA40766}"/>
          </ac:spMkLst>
        </pc:spChg>
        <pc:spChg chg="add mod">
          <ac:chgData name="bullingerm.tmt22" userId="9ce3b8b2-035f-4175-b301-998b03a50e38" providerId="ADAL" clId="{D8E03A0D-8A42-4CF5-82BF-586E462557BB}" dt="2024-03-04T18:09:02.500" v="3323" actId="1076"/>
          <ac:spMkLst>
            <pc:docMk/>
            <pc:sldMk cId="2284291004" sldId="596"/>
            <ac:spMk id="8" creationId="{F04833D1-2A54-EAC8-A287-3E3888A4C1D4}"/>
          </ac:spMkLst>
        </pc:spChg>
        <pc:spChg chg="add mod">
          <ac:chgData name="bullingerm.tmt22" userId="9ce3b8b2-035f-4175-b301-998b03a50e38" providerId="ADAL" clId="{D8E03A0D-8A42-4CF5-82BF-586E462557BB}" dt="2024-03-04T18:29:24.023" v="3706" actId="207"/>
          <ac:spMkLst>
            <pc:docMk/>
            <pc:sldMk cId="2284291004" sldId="596"/>
            <ac:spMk id="9" creationId="{EF633A16-58A8-3080-7E30-461C09D41D9B}"/>
          </ac:spMkLst>
        </pc:spChg>
        <pc:spChg chg="add mod">
          <ac:chgData name="bullingerm.tmt22" userId="9ce3b8b2-035f-4175-b301-998b03a50e38" providerId="ADAL" clId="{D8E03A0D-8A42-4CF5-82BF-586E462557BB}" dt="2024-03-04T18:29:06.435" v="3705" actId="207"/>
          <ac:spMkLst>
            <pc:docMk/>
            <pc:sldMk cId="2284291004" sldId="596"/>
            <ac:spMk id="10" creationId="{42035EA0-1C79-9EAC-D477-752FCF1797F8}"/>
          </ac:spMkLst>
        </pc:spChg>
        <pc:spChg chg="add mod">
          <ac:chgData name="bullingerm.tmt22" userId="9ce3b8b2-035f-4175-b301-998b03a50e38" providerId="ADAL" clId="{D8E03A0D-8A42-4CF5-82BF-586E462557BB}" dt="2024-03-04T18:29:28.763" v="3708" actId="20577"/>
          <ac:spMkLst>
            <pc:docMk/>
            <pc:sldMk cId="2284291004" sldId="596"/>
            <ac:spMk id="11" creationId="{885AB151-DBBF-C316-9D31-8056D96079BC}"/>
          </ac:spMkLst>
        </pc:spChg>
        <pc:spChg chg="add mod">
          <ac:chgData name="bullingerm.tmt22" userId="9ce3b8b2-035f-4175-b301-998b03a50e38" providerId="ADAL" clId="{D8E03A0D-8A42-4CF5-82BF-586E462557BB}" dt="2024-03-04T18:29:32.476" v="3710" actId="20577"/>
          <ac:spMkLst>
            <pc:docMk/>
            <pc:sldMk cId="2284291004" sldId="596"/>
            <ac:spMk id="12" creationId="{17892B7D-5509-BD04-F831-1EE457D120A8}"/>
          </ac:spMkLst>
        </pc:spChg>
        <pc:spChg chg="add mod">
          <ac:chgData name="bullingerm.tmt22" userId="9ce3b8b2-035f-4175-b301-998b03a50e38" providerId="ADAL" clId="{D8E03A0D-8A42-4CF5-82BF-586E462557BB}" dt="2024-03-04T18:47:12.088" v="4084" actId="207"/>
          <ac:spMkLst>
            <pc:docMk/>
            <pc:sldMk cId="2284291004" sldId="596"/>
            <ac:spMk id="13" creationId="{0CB719B4-8A60-50EB-FA4A-ABFEEBE92E9E}"/>
          </ac:spMkLst>
        </pc:spChg>
        <pc:picChg chg="add del mod">
          <ac:chgData name="bullingerm.tmt22" userId="9ce3b8b2-035f-4175-b301-998b03a50e38" providerId="ADAL" clId="{D8E03A0D-8A42-4CF5-82BF-586E462557BB}" dt="2024-03-04T18:04:58.533" v="3110" actId="478"/>
          <ac:picMkLst>
            <pc:docMk/>
            <pc:sldMk cId="2284291004" sldId="596"/>
            <ac:picMk id="1026" creationId="{D7F7585B-7429-86F2-2F13-B1D02234E454}"/>
          </ac:picMkLst>
        </pc:picChg>
        <pc:picChg chg="add mod">
          <ac:chgData name="bullingerm.tmt22" userId="9ce3b8b2-035f-4175-b301-998b03a50e38" providerId="ADAL" clId="{D8E03A0D-8A42-4CF5-82BF-586E462557BB}" dt="2024-03-04T18:09:22.958" v="3324" actId="1076"/>
          <ac:picMkLst>
            <pc:docMk/>
            <pc:sldMk cId="2284291004" sldId="596"/>
            <ac:picMk id="1028" creationId="{20C12916-C97D-B00F-DA26-81C6A2277EB0}"/>
          </ac:picMkLst>
        </pc:picChg>
        <pc:picChg chg="add mod">
          <ac:chgData name="bullingerm.tmt22" userId="9ce3b8b2-035f-4175-b301-998b03a50e38" providerId="ADAL" clId="{D8E03A0D-8A42-4CF5-82BF-586E462557BB}" dt="2024-03-04T18:09:02.500" v="3323" actId="1076"/>
          <ac:picMkLst>
            <pc:docMk/>
            <pc:sldMk cId="2284291004" sldId="596"/>
            <ac:picMk id="1030" creationId="{75F07F70-B0DC-4E20-679F-A2617A87C135}"/>
          </ac:picMkLst>
        </pc:picChg>
        <pc:picChg chg="add mod">
          <ac:chgData name="bullingerm.tmt22" userId="9ce3b8b2-035f-4175-b301-998b03a50e38" providerId="ADAL" clId="{D8E03A0D-8A42-4CF5-82BF-586E462557BB}" dt="2024-03-04T18:26:09.913" v="3573"/>
          <ac:picMkLst>
            <pc:docMk/>
            <pc:sldMk cId="2284291004" sldId="596"/>
            <ac:picMk id="1032" creationId="{6824DC8B-BDDD-58DB-A407-C62BE3F82E13}"/>
          </ac:picMkLst>
        </pc:picChg>
        <pc:picChg chg="add mod">
          <ac:chgData name="bullingerm.tmt22" userId="9ce3b8b2-035f-4175-b301-998b03a50e38" providerId="ADAL" clId="{D8E03A0D-8A42-4CF5-82BF-586E462557BB}" dt="2024-03-04T18:25:16.277" v="3553" actId="732"/>
          <ac:picMkLst>
            <pc:docMk/>
            <pc:sldMk cId="2284291004" sldId="596"/>
            <ac:picMk id="1034" creationId="{D47E58D7-5EC2-B771-44BA-7B5C61757179}"/>
          </ac:picMkLst>
        </pc:picChg>
      </pc:sldChg>
      <pc:sldChg chg="delSp modSp del mod">
        <pc:chgData name="bullingerm.tmt22" userId="9ce3b8b2-035f-4175-b301-998b03a50e38" providerId="ADAL" clId="{D8E03A0D-8A42-4CF5-82BF-586E462557BB}" dt="2024-03-01T10:49:09.608" v="1067" actId="2696"/>
        <pc:sldMkLst>
          <pc:docMk/>
          <pc:sldMk cId="3557217094" sldId="596"/>
        </pc:sldMkLst>
        <pc:spChg chg="del">
          <ac:chgData name="bullingerm.tmt22" userId="9ce3b8b2-035f-4175-b301-998b03a50e38" providerId="ADAL" clId="{D8E03A0D-8A42-4CF5-82BF-586E462557BB}" dt="2024-03-01T10:49:09.608" v="1065" actId="478"/>
          <ac:spMkLst>
            <pc:docMk/>
            <pc:sldMk cId="3557217094" sldId="596"/>
            <ac:spMk id="42" creationId="{42F806DF-5CCC-B286-0A68-A49DB29CAAB9}"/>
          </ac:spMkLst>
        </pc:spChg>
        <pc:spChg chg="mod">
          <ac:chgData name="bullingerm.tmt22" userId="9ce3b8b2-035f-4175-b301-998b03a50e38" providerId="ADAL" clId="{D8E03A0D-8A42-4CF5-82BF-586E462557BB}" dt="2024-03-01T10:49:07.246" v="113" actId="207"/>
          <ac:spMkLst>
            <pc:docMk/>
            <pc:sldMk cId="3557217094" sldId="596"/>
            <ac:spMk id="44" creationId="{A042DF8B-49BB-3883-BE48-CD3BC3F2247C}"/>
          </ac:spMkLst>
        </pc:spChg>
        <pc:spChg chg="mod modVis">
          <ac:chgData name="bullingerm.tmt22" userId="9ce3b8b2-035f-4175-b301-998b03a50e38" providerId="ADAL" clId="{D8E03A0D-8A42-4CF5-82BF-586E462557BB}" dt="2024-03-01T10:49:07.350" v="114" actId="962"/>
          <ac:spMkLst>
            <pc:docMk/>
            <pc:sldMk cId="3557217094" sldId="596"/>
            <ac:spMk id="46" creationId="{1B918F3E-2901-1478-82A3-D334E37F1129}"/>
          </ac:spMkLst>
        </pc:spChg>
        <pc:spChg chg="mod modVis">
          <ac:chgData name="bullingerm.tmt22" userId="9ce3b8b2-035f-4175-b301-998b03a50e38" providerId="ADAL" clId="{D8E03A0D-8A42-4CF5-82BF-586E462557BB}" dt="2024-03-01T10:49:07.350" v="115" actId="962"/>
          <ac:spMkLst>
            <pc:docMk/>
            <pc:sldMk cId="3557217094" sldId="596"/>
            <ac:spMk id="47" creationId="{48E15A0B-774E-0957-B78E-7DC01C0C8937}"/>
          </ac:spMkLst>
        </pc:spChg>
        <pc:spChg chg="mod modVis">
          <ac:chgData name="bullingerm.tmt22" userId="9ce3b8b2-035f-4175-b301-998b03a50e38" providerId="ADAL" clId="{D8E03A0D-8A42-4CF5-82BF-586E462557BB}" dt="2024-03-01T10:49:07.369" v="116" actId="962"/>
          <ac:spMkLst>
            <pc:docMk/>
            <pc:sldMk cId="3557217094" sldId="596"/>
            <ac:spMk id="48" creationId="{144CD6FC-D6A2-F4A4-D5DC-97931FBDF4EF}"/>
          </ac:spMkLst>
        </pc:spChg>
        <pc:spChg chg="mod modVis">
          <ac:chgData name="bullingerm.tmt22" userId="9ce3b8b2-035f-4175-b301-998b03a50e38" providerId="ADAL" clId="{D8E03A0D-8A42-4CF5-82BF-586E462557BB}" dt="2024-03-01T10:49:07.369" v="117" actId="962"/>
          <ac:spMkLst>
            <pc:docMk/>
            <pc:sldMk cId="3557217094" sldId="596"/>
            <ac:spMk id="49" creationId="{3CF8F071-3F5B-96AE-85C6-AEFA30853B9C}"/>
          </ac:spMkLst>
        </pc:spChg>
        <pc:spChg chg="mod modVis">
          <ac:chgData name="bullingerm.tmt22" userId="9ce3b8b2-035f-4175-b301-998b03a50e38" providerId="ADAL" clId="{D8E03A0D-8A42-4CF5-82BF-586E462557BB}" dt="2024-03-01T10:49:07.386" v="118" actId="962"/>
          <ac:spMkLst>
            <pc:docMk/>
            <pc:sldMk cId="3557217094" sldId="596"/>
            <ac:spMk id="50" creationId="{F4EBFC8C-87B6-AF61-10F9-DDCD3E9D3528}"/>
          </ac:spMkLst>
        </pc:spChg>
        <pc:spChg chg="mod modVis">
          <ac:chgData name="bullingerm.tmt22" userId="9ce3b8b2-035f-4175-b301-998b03a50e38" providerId="ADAL" clId="{D8E03A0D-8A42-4CF5-82BF-586E462557BB}" dt="2024-03-01T10:49:07.388" v="119" actId="962"/>
          <ac:spMkLst>
            <pc:docMk/>
            <pc:sldMk cId="3557217094" sldId="596"/>
            <ac:spMk id="51" creationId="{04382744-34B8-2FFC-147E-526D036CB40F}"/>
          </ac:spMkLst>
        </pc:spChg>
        <pc:spChg chg="mod modVis">
          <ac:chgData name="bullingerm.tmt22" userId="9ce3b8b2-035f-4175-b301-998b03a50e38" providerId="ADAL" clId="{D8E03A0D-8A42-4CF5-82BF-586E462557BB}" dt="2024-03-01T10:49:07.388" v="120" actId="962"/>
          <ac:spMkLst>
            <pc:docMk/>
            <pc:sldMk cId="3557217094" sldId="596"/>
            <ac:spMk id="52" creationId="{170440C1-1207-DE00-DC9F-1F869D036A0E}"/>
          </ac:spMkLst>
        </pc:spChg>
        <pc:spChg chg="mod modVis">
          <ac:chgData name="bullingerm.tmt22" userId="9ce3b8b2-035f-4175-b301-998b03a50e38" providerId="ADAL" clId="{D8E03A0D-8A42-4CF5-82BF-586E462557BB}" dt="2024-03-01T10:49:07.404" v="121" actId="962"/>
          <ac:spMkLst>
            <pc:docMk/>
            <pc:sldMk cId="3557217094" sldId="596"/>
            <ac:spMk id="53" creationId="{82680F22-8D61-75DD-D83B-9B02FD30B0F3}"/>
          </ac:spMkLst>
        </pc:spChg>
        <pc:spChg chg="mod modVis">
          <ac:chgData name="bullingerm.tmt22" userId="9ce3b8b2-035f-4175-b301-998b03a50e38" providerId="ADAL" clId="{D8E03A0D-8A42-4CF5-82BF-586E462557BB}" dt="2024-03-01T10:49:07.404" v="122" actId="962"/>
          <ac:spMkLst>
            <pc:docMk/>
            <pc:sldMk cId="3557217094" sldId="596"/>
            <ac:spMk id="54" creationId="{63C8681B-198C-2040-5808-A1C1E422A3BB}"/>
          </ac:spMkLst>
        </pc:spChg>
        <pc:spChg chg="mod modVis">
          <ac:chgData name="bullingerm.tmt22" userId="9ce3b8b2-035f-4175-b301-998b03a50e38" providerId="ADAL" clId="{D8E03A0D-8A42-4CF5-82BF-586E462557BB}" dt="2024-03-01T10:49:07.404" v="123" actId="962"/>
          <ac:spMkLst>
            <pc:docMk/>
            <pc:sldMk cId="3557217094" sldId="596"/>
            <ac:spMk id="55" creationId="{DA448726-99CB-8741-74B5-792167A98B35}"/>
          </ac:spMkLst>
        </pc:spChg>
        <pc:spChg chg="mod modVis">
          <ac:chgData name="bullingerm.tmt22" userId="9ce3b8b2-035f-4175-b301-998b03a50e38" providerId="ADAL" clId="{D8E03A0D-8A42-4CF5-82BF-586E462557BB}" dt="2024-03-01T10:49:07.422" v="124" actId="962"/>
          <ac:spMkLst>
            <pc:docMk/>
            <pc:sldMk cId="3557217094" sldId="596"/>
            <ac:spMk id="56" creationId="{48857EBE-2B45-2BB6-B0C6-943B44B30CBC}"/>
          </ac:spMkLst>
        </pc:spChg>
        <pc:spChg chg="mod modVis">
          <ac:chgData name="bullingerm.tmt22" userId="9ce3b8b2-035f-4175-b301-998b03a50e38" providerId="ADAL" clId="{D8E03A0D-8A42-4CF5-82BF-586E462557BB}" dt="2024-03-01T10:49:07.422" v="125" actId="962"/>
          <ac:spMkLst>
            <pc:docMk/>
            <pc:sldMk cId="3557217094" sldId="596"/>
            <ac:spMk id="57" creationId="{E43AE788-6F51-ABF6-A0EB-D9934FF0A952}"/>
          </ac:spMkLst>
        </pc:spChg>
        <pc:spChg chg="mod modVis">
          <ac:chgData name="bullingerm.tmt22" userId="9ce3b8b2-035f-4175-b301-998b03a50e38" providerId="ADAL" clId="{D8E03A0D-8A42-4CF5-82BF-586E462557BB}" dt="2024-03-01T10:49:07.438" v="126" actId="962"/>
          <ac:spMkLst>
            <pc:docMk/>
            <pc:sldMk cId="3557217094" sldId="596"/>
            <ac:spMk id="58" creationId="{DB0A13BC-78FD-6598-0020-9AAC7F5CA785}"/>
          </ac:spMkLst>
        </pc:spChg>
        <pc:spChg chg="mod modVis">
          <ac:chgData name="bullingerm.tmt22" userId="9ce3b8b2-035f-4175-b301-998b03a50e38" providerId="ADAL" clId="{D8E03A0D-8A42-4CF5-82BF-586E462557BB}" dt="2024-03-01T10:49:07.438" v="127" actId="962"/>
          <ac:spMkLst>
            <pc:docMk/>
            <pc:sldMk cId="3557217094" sldId="596"/>
            <ac:spMk id="59" creationId="{654B863F-A626-E8D7-7F15-B1A6D0A53A96}"/>
          </ac:spMkLst>
        </pc:spChg>
        <pc:spChg chg="mod modVis">
          <ac:chgData name="bullingerm.tmt22" userId="9ce3b8b2-035f-4175-b301-998b03a50e38" providerId="ADAL" clId="{D8E03A0D-8A42-4CF5-82BF-586E462557BB}" dt="2024-03-01T10:49:07.450" v="128" actId="962"/>
          <ac:spMkLst>
            <pc:docMk/>
            <pc:sldMk cId="3557217094" sldId="596"/>
            <ac:spMk id="60" creationId="{A17BBBCA-B21D-0924-F465-1448CFEE3028}"/>
          </ac:spMkLst>
        </pc:spChg>
        <pc:spChg chg="mod modVis">
          <ac:chgData name="bullingerm.tmt22" userId="9ce3b8b2-035f-4175-b301-998b03a50e38" providerId="ADAL" clId="{D8E03A0D-8A42-4CF5-82BF-586E462557BB}" dt="2024-03-01T10:49:07.450" v="129" actId="962"/>
          <ac:spMkLst>
            <pc:docMk/>
            <pc:sldMk cId="3557217094" sldId="596"/>
            <ac:spMk id="61" creationId="{B11E47F6-D353-E581-545C-B26B52EA1A05}"/>
          </ac:spMkLst>
        </pc:spChg>
        <pc:spChg chg="mod modVis">
          <ac:chgData name="bullingerm.tmt22" userId="9ce3b8b2-035f-4175-b301-998b03a50e38" providerId="ADAL" clId="{D8E03A0D-8A42-4CF5-82BF-586E462557BB}" dt="2024-03-01T10:49:07.450" v="130" actId="962"/>
          <ac:spMkLst>
            <pc:docMk/>
            <pc:sldMk cId="3557217094" sldId="596"/>
            <ac:spMk id="62" creationId="{0C9997F0-162E-45F8-5D6B-ED5A85C6EB63}"/>
          </ac:spMkLst>
        </pc:spChg>
        <pc:spChg chg="mod modVis">
          <ac:chgData name="bullingerm.tmt22" userId="9ce3b8b2-035f-4175-b301-998b03a50e38" providerId="ADAL" clId="{D8E03A0D-8A42-4CF5-82BF-586E462557BB}" dt="2024-03-01T10:49:07.466" v="131" actId="962"/>
          <ac:spMkLst>
            <pc:docMk/>
            <pc:sldMk cId="3557217094" sldId="596"/>
            <ac:spMk id="63" creationId="{645FE40F-8D76-2FC2-5D42-3E5A79DABFBD}"/>
          </ac:spMkLst>
        </pc:spChg>
        <pc:spChg chg="mod modVis">
          <ac:chgData name="bullingerm.tmt22" userId="9ce3b8b2-035f-4175-b301-998b03a50e38" providerId="ADAL" clId="{D8E03A0D-8A42-4CF5-82BF-586E462557BB}" dt="2024-03-01T10:49:07.466" v="132" actId="962"/>
          <ac:spMkLst>
            <pc:docMk/>
            <pc:sldMk cId="3557217094" sldId="596"/>
            <ac:spMk id="64" creationId="{38D624DC-310F-6B69-C5AD-1F46FF339628}"/>
          </ac:spMkLst>
        </pc:spChg>
        <pc:spChg chg="mod modVis">
          <ac:chgData name="bullingerm.tmt22" userId="9ce3b8b2-035f-4175-b301-998b03a50e38" providerId="ADAL" clId="{D8E03A0D-8A42-4CF5-82BF-586E462557BB}" dt="2024-03-01T10:49:07.485" v="133" actId="962"/>
          <ac:spMkLst>
            <pc:docMk/>
            <pc:sldMk cId="3557217094" sldId="596"/>
            <ac:spMk id="65" creationId="{12DD2943-A6C3-59D1-C818-57A5D30E9583}"/>
          </ac:spMkLst>
        </pc:spChg>
        <pc:spChg chg="mod modVis">
          <ac:chgData name="bullingerm.tmt22" userId="9ce3b8b2-035f-4175-b301-998b03a50e38" providerId="ADAL" clId="{D8E03A0D-8A42-4CF5-82BF-586E462557BB}" dt="2024-03-01T10:49:07.485" v="134" actId="962"/>
          <ac:spMkLst>
            <pc:docMk/>
            <pc:sldMk cId="3557217094" sldId="596"/>
            <ac:spMk id="66" creationId="{CD816180-18FD-7645-2A74-28372C443EF4}"/>
          </ac:spMkLst>
        </pc:spChg>
        <pc:spChg chg="mod modVis">
          <ac:chgData name="bullingerm.tmt22" userId="9ce3b8b2-035f-4175-b301-998b03a50e38" providerId="ADAL" clId="{D8E03A0D-8A42-4CF5-82BF-586E462557BB}" dt="2024-03-01T10:49:07.485" v="135" actId="962"/>
          <ac:spMkLst>
            <pc:docMk/>
            <pc:sldMk cId="3557217094" sldId="596"/>
            <ac:spMk id="67" creationId="{71339962-4765-CCC7-CDEE-2F9332B4007E}"/>
          </ac:spMkLst>
        </pc:spChg>
        <pc:spChg chg="mod modVis">
          <ac:chgData name="bullingerm.tmt22" userId="9ce3b8b2-035f-4175-b301-998b03a50e38" providerId="ADAL" clId="{D8E03A0D-8A42-4CF5-82BF-586E462557BB}" dt="2024-03-01T10:49:07.502" v="136" actId="962"/>
          <ac:spMkLst>
            <pc:docMk/>
            <pc:sldMk cId="3557217094" sldId="596"/>
            <ac:spMk id="68" creationId="{B5841198-9C92-E39B-AEB3-5967DC83E850}"/>
          </ac:spMkLst>
        </pc:spChg>
        <pc:spChg chg="mod modVis">
          <ac:chgData name="bullingerm.tmt22" userId="9ce3b8b2-035f-4175-b301-998b03a50e38" providerId="ADAL" clId="{D8E03A0D-8A42-4CF5-82BF-586E462557BB}" dt="2024-03-01T10:49:07.502" v="137" actId="962"/>
          <ac:spMkLst>
            <pc:docMk/>
            <pc:sldMk cId="3557217094" sldId="596"/>
            <ac:spMk id="69" creationId="{6B0AE022-C9E4-B23D-BA53-A1C136E1AED5}"/>
          </ac:spMkLst>
        </pc:spChg>
        <pc:spChg chg="mod modVis">
          <ac:chgData name="bullingerm.tmt22" userId="9ce3b8b2-035f-4175-b301-998b03a50e38" providerId="ADAL" clId="{D8E03A0D-8A42-4CF5-82BF-586E462557BB}" dt="2024-03-01T10:49:07.502" v="138" actId="962"/>
          <ac:spMkLst>
            <pc:docMk/>
            <pc:sldMk cId="3557217094" sldId="596"/>
            <ac:spMk id="70" creationId="{28B5E29C-F59D-B1C4-571F-E08932FA083C}"/>
          </ac:spMkLst>
        </pc:spChg>
        <pc:spChg chg="mod modVis">
          <ac:chgData name="bullingerm.tmt22" userId="9ce3b8b2-035f-4175-b301-998b03a50e38" providerId="ADAL" clId="{D8E03A0D-8A42-4CF5-82BF-586E462557BB}" dt="2024-03-01T10:49:07.518" v="139" actId="962"/>
          <ac:spMkLst>
            <pc:docMk/>
            <pc:sldMk cId="3557217094" sldId="596"/>
            <ac:spMk id="71" creationId="{6C9174CA-7946-AA02-8934-D0068D6A00A9}"/>
          </ac:spMkLst>
        </pc:spChg>
        <pc:spChg chg="mod modVis">
          <ac:chgData name="bullingerm.tmt22" userId="9ce3b8b2-035f-4175-b301-998b03a50e38" providerId="ADAL" clId="{D8E03A0D-8A42-4CF5-82BF-586E462557BB}" dt="2024-03-01T10:49:07.518" v="140" actId="962"/>
          <ac:spMkLst>
            <pc:docMk/>
            <pc:sldMk cId="3557217094" sldId="596"/>
            <ac:spMk id="72" creationId="{324A7206-4121-5FD2-92A0-CD4F20922E01}"/>
          </ac:spMkLst>
        </pc:spChg>
        <pc:spChg chg="mod modVis">
          <ac:chgData name="bullingerm.tmt22" userId="9ce3b8b2-035f-4175-b301-998b03a50e38" providerId="ADAL" clId="{D8E03A0D-8A42-4CF5-82BF-586E462557BB}" dt="2024-03-01T10:49:07.539" v="141" actId="962"/>
          <ac:spMkLst>
            <pc:docMk/>
            <pc:sldMk cId="3557217094" sldId="596"/>
            <ac:spMk id="73" creationId="{DC138B8C-426E-EB37-8CA8-17DF20FBA795}"/>
          </ac:spMkLst>
        </pc:spChg>
        <pc:spChg chg="mod modVis">
          <ac:chgData name="bullingerm.tmt22" userId="9ce3b8b2-035f-4175-b301-998b03a50e38" providerId="ADAL" clId="{D8E03A0D-8A42-4CF5-82BF-586E462557BB}" dt="2024-03-01T10:49:07.539" v="142" actId="962"/>
          <ac:spMkLst>
            <pc:docMk/>
            <pc:sldMk cId="3557217094" sldId="596"/>
            <ac:spMk id="74" creationId="{9760751C-6AA9-DBE1-D8D2-E8000412E231}"/>
          </ac:spMkLst>
        </pc:spChg>
        <pc:spChg chg="mod modVis">
          <ac:chgData name="bullingerm.tmt22" userId="9ce3b8b2-035f-4175-b301-998b03a50e38" providerId="ADAL" clId="{D8E03A0D-8A42-4CF5-82BF-586E462557BB}" dt="2024-03-01T10:49:07.550" v="143" actId="962"/>
          <ac:spMkLst>
            <pc:docMk/>
            <pc:sldMk cId="3557217094" sldId="596"/>
            <ac:spMk id="75" creationId="{EEF5A781-D331-9EA9-2F43-9153A8ABEB24}"/>
          </ac:spMkLst>
        </pc:spChg>
        <pc:spChg chg="mod modVis">
          <ac:chgData name="bullingerm.tmt22" userId="9ce3b8b2-035f-4175-b301-998b03a50e38" providerId="ADAL" clId="{D8E03A0D-8A42-4CF5-82BF-586E462557BB}" dt="2024-03-01T10:49:07.550" v="144" actId="962"/>
          <ac:spMkLst>
            <pc:docMk/>
            <pc:sldMk cId="3557217094" sldId="596"/>
            <ac:spMk id="76" creationId="{6477CB5C-07AA-6915-8031-56EB1AA72AEB}"/>
          </ac:spMkLst>
        </pc:spChg>
        <pc:spChg chg="mod modVis">
          <ac:chgData name="bullingerm.tmt22" userId="9ce3b8b2-035f-4175-b301-998b03a50e38" providerId="ADAL" clId="{D8E03A0D-8A42-4CF5-82BF-586E462557BB}" dt="2024-03-01T10:49:07.565" v="145" actId="962"/>
          <ac:spMkLst>
            <pc:docMk/>
            <pc:sldMk cId="3557217094" sldId="596"/>
            <ac:spMk id="77" creationId="{CB2ECECC-8F25-ADDC-A662-50AEBA58D3DC}"/>
          </ac:spMkLst>
        </pc:spChg>
        <pc:spChg chg="mod modVis">
          <ac:chgData name="bullingerm.tmt22" userId="9ce3b8b2-035f-4175-b301-998b03a50e38" providerId="ADAL" clId="{D8E03A0D-8A42-4CF5-82BF-586E462557BB}" dt="2024-03-01T10:49:07.565" v="146" actId="962"/>
          <ac:spMkLst>
            <pc:docMk/>
            <pc:sldMk cId="3557217094" sldId="596"/>
            <ac:spMk id="78" creationId="{B83BD88B-D0C3-A45F-CBBC-2A3815B18841}"/>
          </ac:spMkLst>
        </pc:spChg>
        <pc:spChg chg="mod modVis">
          <ac:chgData name="bullingerm.tmt22" userId="9ce3b8b2-035f-4175-b301-998b03a50e38" providerId="ADAL" clId="{D8E03A0D-8A42-4CF5-82BF-586E462557BB}" dt="2024-03-01T10:49:07.565" v="147" actId="962"/>
          <ac:spMkLst>
            <pc:docMk/>
            <pc:sldMk cId="3557217094" sldId="596"/>
            <ac:spMk id="79" creationId="{2BD4BE97-256A-EA8C-5CB5-E390E1E3144B}"/>
          </ac:spMkLst>
        </pc:spChg>
        <pc:spChg chg="mod modVis">
          <ac:chgData name="bullingerm.tmt22" userId="9ce3b8b2-035f-4175-b301-998b03a50e38" providerId="ADAL" clId="{D8E03A0D-8A42-4CF5-82BF-586E462557BB}" dt="2024-03-01T10:49:07.581" v="148" actId="962"/>
          <ac:spMkLst>
            <pc:docMk/>
            <pc:sldMk cId="3557217094" sldId="596"/>
            <ac:spMk id="80" creationId="{39ADF88B-31E4-B96A-96B5-5D4484379D17}"/>
          </ac:spMkLst>
        </pc:spChg>
        <pc:spChg chg="mod modVis">
          <ac:chgData name="bullingerm.tmt22" userId="9ce3b8b2-035f-4175-b301-998b03a50e38" providerId="ADAL" clId="{D8E03A0D-8A42-4CF5-82BF-586E462557BB}" dt="2024-03-01T10:49:07.581" v="149" actId="962"/>
          <ac:spMkLst>
            <pc:docMk/>
            <pc:sldMk cId="3557217094" sldId="596"/>
            <ac:spMk id="81" creationId="{7D6B9190-F92E-6D6C-F0DD-8DF802646D16}"/>
          </ac:spMkLst>
        </pc:spChg>
        <pc:spChg chg="mod modVis">
          <ac:chgData name="bullingerm.tmt22" userId="9ce3b8b2-035f-4175-b301-998b03a50e38" providerId="ADAL" clId="{D8E03A0D-8A42-4CF5-82BF-586E462557BB}" dt="2024-03-01T10:49:07.597" v="150" actId="962"/>
          <ac:spMkLst>
            <pc:docMk/>
            <pc:sldMk cId="3557217094" sldId="596"/>
            <ac:spMk id="82" creationId="{5C3014A7-A421-AE97-55E2-0BD2FD139B23}"/>
          </ac:spMkLst>
        </pc:spChg>
        <pc:spChg chg="mod modVis">
          <ac:chgData name="bullingerm.tmt22" userId="9ce3b8b2-035f-4175-b301-998b03a50e38" providerId="ADAL" clId="{D8E03A0D-8A42-4CF5-82BF-586E462557BB}" dt="2024-03-01T10:49:07.613" v="151" actId="962"/>
          <ac:spMkLst>
            <pc:docMk/>
            <pc:sldMk cId="3557217094" sldId="596"/>
            <ac:spMk id="83" creationId="{11BD6EE5-A2E8-6A1B-5593-548819A3FF33}"/>
          </ac:spMkLst>
        </pc:spChg>
        <pc:spChg chg="mod modVis">
          <ac:chgData name="bullingerm.tmt22" userId="9ce3b8b2-035f-4175-b301-998b03a50e38" providerId="ADAL" clId="{D8E03A0D-8A42-4CF5-82BF-586E462557BB}" dt="2024-03-01T10:49:07.613" v="152" actId="962"/>
          <ac:spMkLst>
            <pc:docMk/>
            <pc:sldMk cId="3557217094" sldId="596"/>
            <ac:spMk id="84" creationId="{3EDE2035-4A83-EDB6-0DFD-67A2D6631CF3}"/>
          </ac:spMkLst>
        </pc:spChg>
        <pc:spChg chg="mod modVis">
          <ac:chgData name="bullingerm.tmt22" userId="9ce3b8b2-035f-4175-b301-998b03a50e38" providerId="ADAL" clId="{D8E03A0D-8A42-4CF5-82BF-586E462557BB}" dt="2024-03-01T10:49:07.631" v="153" actId="962"/>
          <ac:spMkLst>
            <pc:docMk/>
            <pc:sldMk cId="3557217094" sldId="596"/>
            <ac:spMk id="85" creationId="{0CC95E98-6D4B-9A40-8075-5221399C7A8C}"/>
          </ac:spMkLst>
        </pc:spChg>
        <pc:spChg chg="mod modVis">
          <ac:chgData name="bullingerm.tmt22" userId="9ce3b8b2-035f-4175-b301-998b03a50e38" providerId="ADAL" clId="{D8E03A0D-8A42-4CF5-82BF-586E462557BB}" dt="2024-03-01T10:49:07.631" v="154" actId="962"/>
          <ac:spMkLst>
            <pc:docMk/>
            <pc:sldMk cId="3557217094" sldId="596"/>
            <ac:spMk id="86" creationId="{E3C17CC4-9DE0-C1BB-B6F5-69FAF5E75CBD}"/>
          </ac:spMkLst>
        </pc:spChg>
        <pc:spChg chg="mod modVis">
          <ac:chgData name="bullingerm.tmt22" userId="9ce3b8b2-035f-4175-b301-998b03a50e38" providerId="ADAL" clId="{D8E03A0D-8A42-4CF5-82BF-586E462557BB}" dt="2024-03-01T10:49:07.631" v="155" actId="962"/>
          <ac:spMkLst>
            <pc:docMk/>
            <pc:sldMk cId="3557217094" sldId="596"/>
            <ac:spMk id="87" creationId="{BF0E7276-493D-1B21-D298-96299E24D487}"/>
          </ac:spMkLst>
        </pc:spChg>
        <pc:spChg chg="mod modVis">
          <ac:chgData name="bullingerm.tmt22" userId="9ce3b8b2-035f-4175-b301-998b03a50e38" providerId="ADAL" clId="{D8E03A0D-8A42-4CF5-82BF-586E462557BB}" dt="2024-03-01T10:49:07.651" v="156" actId="962"/>
          <ac:spMkLst>
            <pc:docMk/>
            <pc:sldMk cId="3557217094" sldId="596"/>
            <ac:spMk id="88" creationId="{6F431DEA-2FCA-974C-2300-802F9E822319}"/>
          </ac:spMkLst>
        </pc:spChg>
        <pc:spChg chg="mod modVis">
          <ac:chgData name="bullingerm.tmt22" userId="9ce3b8b2-035f-4175-b301-998b03a50e38" providerId="ADAL" clId="{D8E03A0D-8A42-4CF5-82BF-586E462557BB}" dt="2024-03-01T10:49:07.651" v="157" actId="962"/>
          <ac:spMkLst>
            <pc:docMk/>
            <pc:sldMk cId="3557217094" sldId="596"/>
            <ac:spMk id="89" creationId="{C926387D-B1A7-8140-01F2-DE1F3FFBC0D2}"/>
          </ac:spMkLst>
        </pc:spChg>
        <pc:spChg chg="mod modVis">
          <ac:chgData name="bullingerm.tmt22" userId="9ce3b8b2-035f-4175-b301-998b03a50e38" providerId="ADAL" clId="{D8E03A0D-8A42-4CF5-82BF-586E462557BB}" dt="2024-03-01T10:49:07.667" v="158" actId="962"/>
          <ac:spMkLst>
            <pc:docMk/>
            <pc:sldMk cId="3557217094" sldId="596"/>
            <ac:spMk id="90" creationId="{27BD2C79-740E-1F35-38B2-5FEFD6680CEC}"/>
          </ac:spMkLst>
        </pc:spChg>
        <pc:spChg chg="mod modVis">
          <ac:chgData name="bullingerm.tmt22" userId="9ce3b8b2-035f-4175-b301-998b03a50e38" providerId="ADAL" clId="{D8E03A0D-8A42-4CF5-82BF-586E462557BB}" dt="2024-03-01T10:49:07.667" v="159" actId="962"/>
          <ac:spMkLst>
            <pc:docMk/>
            <pc:sldMk cId="3557217094" sldId="596"/>
            <ac:spMk id="91" creationId="{2B96BF16-2AB2-5A1A-4B6C-A144A3D6D3C3}"/>
          </ac:spMkLst>
        </pc:spChg>
        <pc:spChg chg="mod modVis">
          <ac:chgData name="bullingerm.tmt22" userId="9ce3b8b2-035f-4175-b301-998b03a50e38" providerId="ADAL" clId="{D8E03A0D-8A42-4CF5-82BF-586E462557BB}" dt="2024-03-01T10:49:07.667" v="160" actId="962"/>
          <ac:spMkLst>
            <pc:docMk/>
            <pc:sldMk cId="3557217094" sldId="596"/>
            <ac:spMk id="92" creationId="{EF521AAA-2FE5-9CB7-9235-C6E8D63D99CB}"/>
          </ac:spMkLst>
        </pc:spChg>
        <pc:spChg chg="mod modVis">
          <ac:chgData name="bullingerm.tmt22" userId="9ce3b8b2-035f-4175-b301-998b03a50e38" providerId="ADAL" clId="{D8E03A0D-8A42-4CF5-82BF-586E462557BB}" dt="2024-03-01T10:49:07.682" v="161" actId="962"/>
          <ac:spMkLst>
            <pc:docMk/>
            <pc:sldMk cId="3557217094" sldId="596"/>
            <ac:spMk id="93" creationId="{FA5E2074-970B-E65C-EDE8-992FA56C451A}"/>
          </ac:spMkLst>
        </pc:spChg>
        <pc:spChg chg="mod modVis">
          <ac:chgData name="bullingerm.tmt22" userId="9ce3b8b2-035f-4175-b301-998b03a50e38" providerId="ADAL" clId="{D8E03A0D-8A42-4CF5-82BF-586E462557BB}" dt="2024-03-01T10:49:07.682" v="162" actId="962"/>
          <ac:spMkLst>
            <pc:docMk/>
            <pc:sldMk cId="3557217094" sldId="596"/>
            <ac:spMk id="94" creationId="{A175A125-EB64-981D-BB34-2CD6663D23B9}"/>
          </ac:spMkLst>
        </pc:spChg>
        <pc:spChg chg="mod modVis">
          <ac:chgData name="bullingerm.tmt22" userId="9ce3b8b2-035f-4175-b301-998b03a50e38" providerId="ADAL" clId="{D8E03A0D-8A42-4CF5-82BF-586E462557BB}" dt="2024-03-01T10:49:07.698" v="163" actId="962"/>
          <ac:spMkLst>
            <pc:docMk/>
            <pc:sldMk cId="3557217094" sldId="596"/>
            <ac:spMk id="95" creationId="{B61B5643-3045-0A2C-1228-2DA9BE69CAA7}"/>
          </ac:spMkLst>
        </pc:spChg>
        <pc:spChg chg="mod modVis">
          <ac:chgData name="bullingerm.tmt22" userId="9ce3b8b2-035f-4175-b301-998b03a50e38" providerId="ADAL" clId="{D8E03A0D-8A42-4CF5-82BF-586E462557BB}" dt="2024-03-01T10:49:07.698" v="164" actId="962"/>
          <ac:spMkLst>
            <pc:docMk/>
            <pc:sldMk cId="3557217094" sldId="596"/>
            <ac:spMk id="96" creationId="{F3B06D94-A0EB-B9DC-7EEF-FBE9E42F37E9}"/>
          </ac:spMkLst>
        </pc:spChg>
        <pc:spChg chg="mod modVis">
          <ac:chgData name="bullingerm.tmt22" userId="9ce3b8b2-035f-4175-b301-998b03a50e38" providerId="ADAL" clId="{D8E03A0D-8A42-4CF5-82BF-586E462557BB}" dt="2024-03-01T10:49:07.714" v="165" actId="962"/>
          <ac:spMkLst>
            <pc:docMk/>
            <pc:sldMk cId="3557217094" sldId="596"/>
            <ac:spMk id="97" creationId="{8539F695-E53B-582C-20ED-AEBA0CA36A5E}"/>
          </ac:spMkLst>
        </pc:spChg>
        <pc:spChg chg="mod modVis">
          <ac:chgData name="bullingerm.tmt22" userId="9ce3b8b2-035f-4175-b301-998b03a50e38" providerId="ADAL" clId="{D8E03A0D-8A42-4CF5-82BF-586E462557BB}" dt="2024-03-01T10:49:07.732" v="166" actId="962"/>
          <ac:spMkLst>
            <pc:docMk/>
            <pc:sldMk cId="3557217094" sldId="596"/>
            <ac:spMk id="98" creationId="{19CDFA21-4D79-0A8A-728E-CFD32B093429}"/>
          </ac:spMkLst>
        </pc:spChg>
        <pc:spChg chg="mod modVis">
          <ac:chgData name="bullingerm.tmt22" userId="9ce3b8b2-035f-4175-b301-998b03a50e38" providerId="ADAL" clId="{D8E03A0D-8A42-4CF5-82BF-586E462557BB}" dt="2024-03-01T10:49:07.733" v="167" actId="962"/>
          <ac:spMkLst>
            <pc:docMk/>
            <pc:sldMk cId="3557217094" sldId="596"/>
            <ac:spMk id="99" creationId="{A23A98B7-EBBA-F0AF-A951-212D3069FD68}"/>
          </ac:spMkLst>
        </pc:spChg>
        <pc:spChg chg="mod modVis">
          <ac:chgData name="bullingerm.tmt22" userId="9ce3b8b2-035f-4175-b301-998b03a50e38" providerId="ADAL" clId="{D8E03A0D-8A42-4CF5-82BF-586E462557BB}" dt="2024-03-01T10:49:07.750" v="168" actId="962"/>
          <ac:spMkLst>
            <pc:docMk/>
            <pc:sldMk cId="3557217094" sldId="596"/>
            <ac:spMk id="100" creationId="{B899BF0F-CEAD-D3CC-88EF-C8F0142F0894}"/>
          </ac:spMkLst>
        </pc:spChg>
        <pc:spChg chg="mod modVis">
          <ac:chgData name="bullingerm.tmt22" userId="9ce3b8b2-035f-4175-b301-998b03a50e38" providerId="ADAL" clId="{D8E03A0D-8A42-4CF5-82BF-586E462557BB}" dt="2024-03-01T10:49:07.750" v="169" actId="962"/>
          <ac:spMkLst>
            <pc:docMk/>
            <pc:sldMk cId="3557217094" sldId="596"/>
            <ac:spMk id="101" creationId="{7DEDF819-B5CF-CCA6-15BC-C684D164F984}"/>
          </ac:spMkLst>
        </pc:spChg>
        <pc:cxnChg chg="del">
          <ac:chgData name="bullingerm.tmt22" userId="9ce3b8b2-035f-4175-b301-998b03a50e38" providerId="ADAL" clId="{D8E03A0D-8A42-4CF5-82BF-586E462557BB}" dt="2024-03-01T10:49:09.608" v="1066" actId="478"/>
          <ac:cxnSpMkLst>
            <pc:docMk/>
            <pc:sldMk cId="3557217094" sldId="596"/>
            <ac:cxnSpMk id="43" creationId="{ADF9B4ED-54E7-B682-DF7E-541AF1F0FED1}"/>
          </ac:cxnSpMkLst>
        </pc:cxnChg>
      </pc:sldChg>
      <pc:sldChg chg="del">
        <pc:chgData name="bullingerm.tmt22" userId="9ce3b8b2-035f-4175-b301-998b03a50e38" providerId="ADAL" clId="{D8E03A0D-8A42-4CF5-82BF-586E462557BB}" dt="2024-03-01T10:49:09.608" v="1064" actId="2696"/>
        <pc:sldMkLst>
          <pc:docMk/>
          <pc:sldMk cId="3031491517" sldId="597"/>
        </pc:sldMkLst>
      </pc:sldChg>
      <pc:sldChg chg="new del">
        <pc:chgData name="bullingerm.tmt22" userId="9ce3b8b2-035f-4175-b301-998b03a50e38" providerId="ADAL" clId="{D8E03A0D-8A42-4CF5-82BF-586E462557BB}" dt="2024-03-04T17:27:56.430" v="1691" actId="47"/>
        <pc:sldMkLst>
          <pc:docMk/>
          <pc:sldMk cId="4047968033" sldId="597"/>
        </pc:sldMkLst>
      </pc:sldChg>
      <pc:sldChg chg="modSp add mod ord">
        <pc:chgData name="bullingerm.tmt22" userId="9ce3b8b2-035f-4175-b301-998b03a50e38" providerId="ADAL" clId="{D8E03A0D-8A42-4CF5-82BF-586E462557BB}" dt="2024-03-04T18:01:29.060" v="3106"/>
        <pc:sldMkLst>
          <pc:docMk/>
          <pc:sldMk cId="473444533" sldId="598"/>
        </pc:sldMkLst>
        <pc:spChg chg="mod">
          <ac:chgData name="bullingerm.tmt22" userId="9ce3b8b2-035f-4175-b301-998b03a50e38" providerId="ADAL" clId="{D8E03A0D-8A42-4CF5-82BF-586E462557BB}" dt="2024-03-04T17:58:44.841" v="2955" actId="20577"/>
          <ac:spMkLst>
            <pc:docMk/>
            <pc:sldMk cId="473444533" sldId="598"/>
            <ac:spMk id="4" creationId="{B8ECF902-B082-4799-A6ED-316F410CB465}"/>
          </ac:spMkLst>
        </pc:spChg>
      </pc:sldChg>
      <pc:sldChg chg="del">
        <pc:chgData name="bullingerm.tmt22" userId="9ce3b8b2-035f-4175-b301-998b03a50e38" providerId="ADAL" clId="{D8E03A0D-8A42-4CF5-82BF-586E462557BB}" dt="2024-03-01T10:49:09.592" v="1063" actId="2696"/>
        <pc:sldMkLst>
          <pc:docMk/>
          <pc:sldMk cId="589592324" sldId="598"/>
        </pc:sldMkLst>
      </pc:sldChg>
      <pc:sldChg chg="delSp modSp del mod">
        <pc:chgData name="bullingerm.tmt22" userId="9ce3b8b2-035f-4175-b301-998b03a50e38" providerId="ADAL" clId="{D8E03A0D-8A42-4CF5-82BF-586E462557BB}" dt="2024-03-04T17:44:56.718" v="2554" actId="2696"/>
        <pc:sldMkLst>
          <pc:docMk/>
          <pc:sldMk cId="1718200707" sldId="599"/>
        </pc:sldMkLst>
        <pc:spChg chg="del">
          <ac:chgData name="bullingerm.tmt22" userId="9ce3b8b2-035f-4175-b301-998b03a50e38" providerId="ADAL" clId="{D8E03A0D-8A42-4CF5-82BF-586E462557BB}" dt="2024-03-04T17:44:56.718" v="2552" actId="478"/>
          <ac:spMkLst>
            <pc:docMk/>
            <pc:sldMk cId="1718200707" sldId="599"/>
            <ac:spMk id="42" creationId="{F424C8D2-44D1-9744-5109-F856BF4971F2}"/>
          </ac:spMkLst>
        </pc:spChg>
        <pc:spChg chg="mod">
          <ac:chgData name="bullingerm.tmt22" userId="9ce3b8b2-035f-4175-b301-998b03a50e38" providerId="ADAL" clId="{D8E03A0D-8A42-4CF5-82BF-586E462557BB}" dt="2024-03-04T17:44:54.648" v="1771" actId="207"/>
          <ac:spMkLst>
            <pc:docMk/>
            <pc:sldMk cId="1718200707" sldId="599"/>
            <ac:spMk id="44" creationId="{F19354B3-A13A-0EAE-0027-6CD18D0666A4}"/>
          </ac:spMkLst>
        </pc:spChg>
        <pc:spChg chg="mod modVis">
          <ac:chgData name="bullingerm.tmt22" userId="9ce3b8b2-035f-4175-b301-998b03a50e38" providerId="ADAL" clId="{D8E03A0D-8A42-4CF5-82BF-586E462557BB}" dt="2024-03-04T17:44:54.701" v="1772" actId="962"/>
          <ac:spMkLst>
            <pc:docMk/>
            <pc:sldMk cId="1718200707" sldId="599"/>
            <ac:spMk id="46" creationId="{6A26E25A-83EC-EC98-A132-7F4E920C2597}"/>
          </ac:spMkLst>
        </pc:spChg>
        <pc:spChg chg="mod modVis">
          <ac:chgData name="bullingerm.tmt22" userId="9ce3b8b2-035f-4175-b301-998b03a50e38" providerId="ADAL" clId="{D8E03A0D-8A42-4CF5-82BF-586E462557BB}" dt="2024-03-04T17:44:54.708" v="1773" actId="962"/>
          <ac:spMkLst>
            <pc:docMk/>
            <pc:sldMk cId="1718200707" sldId="599"/>
            <ac:spMk id="47" creationId="{B2896DEB-2BDB-11C8-91B2-A6714B1C0675}"/>
          </ac:spMkLst>
        </pc:spChg>
        <pc:spChg chg="mod modVis">
          <ac:chgData name="bullingerm.tmt22" userId="9ce3b8b2-035f-4175-b301-998b03a50e38" providerId="ADAL" clId="{D8E03A0D-8A42-4CF5-82BF-586E462557BB}" dt="2024-03-04T17:44:54.722" v="1774" actId="962"/>
          <ac:spMkLst>
            <pc:docMk/>
            <pc:sldMk cId="1718200707" sldId="599"/>
            <ac:spMk id="48" creationId="{AD81DD97-4195-0DCB-E2E6-EAF7164641FE}"/>
          </ac:spMkLst>
        </pc:spChg>
        <pc:spChg chg="mod modVis">
          <ac:chgData name="bullingerm.tmt22" userId="9ce3b8b2-035f-4175-b301-998b03a50e38" providerId="ADAL" clId="{D8E03A0D-8A42-4CF5-82BF-586E462557BB}" dt="2024-03-04T17:44:54.728" v="1775" actId="962"/>
          <ac:spMkLst>
            <pc:docMk/>
            <pc:sldMk cId="1718200707" sldId="599"/>
            <ac:spMk id="49" creationId="{A23A1901-9A32-4089-36DA-2B370BFA13BC}"/>
          </ac:spMkLst>
        </pc:spChg>
        <pc:spChg chg="mod modVis">
          <ac:chgData name="bullingerm.tmt22" userId="9ce3b8b2-035f-4175-b301-998b03a50e38" providerId="ADAL" clId="{D8E03A0D-8A42-4CF5-82BF-586E462557BB}" dt="2024-03-04T17:44:54.739" v="1776" actId="962"/>
          <ac:spMkLst>
            <pc:docMk/>
            <pc:sldMk cId="1718200707" sldId="599"/>
            <ac:spMk id="50" creationId="{C940BD4A-B701-5FF5-6BA3-2543438077B7}"/>
          </ac:spMkLst>
        </pc:spChg>
        <pc:spChg chg="mod modVis">
          <ac:chgData name="bullingerm.tmt22" userId="9ce3b8b2-035f-4175-b301-998b03a50e38" providerId="ADAL" clId="{D8E03A0D-8A42-4CF5-82BF-586E462557BB}" dt="2024-03-04T17:44:54.739" v="1777" actId="962"/>
          <ac:spMkLst>
            <pc:docMk/>
            <pc:sldMk cId="1718200707" sldId="599"/>
            <ac:spMk id="51" creationId="{9058D2B6-FB9E-65AA-3C68-B734CEA67E0D}"/>
          </ac:spMkLst>
        </pc:spChg>
        <pc:spChg chg="mod modVis">
          <ac:chgData name="bullingerm.tmt22" userId="9ce3b8b2-035f-4175-b301-998b03a50e38" providerId="ADAL" clId="{D8E03A0D-8A42-4CF5-82BF-586E462557BB}" dt="2024-03-04T17:44:54.749" v="1778" actId="962"/>
          <ac:spMkLst>
            <pc:docMk/>
            <pc:sldMk cId="1718200707" sldId="599"/>
            <ac:spMk id="52" creationId="{FFF30110-2D29-41EC-285D-5A51CC7139B5}"/>
          </ac:spMkLst>
        </pc:spChg>
        <pc:spChg chg="mod modVis">
          <ac:chgData name="bullingerm.tmt22" userId="9ce3b8b2-035f-4175-b301-998b03a50e38" providerId="ADAL" clId="{D8E03A0D-8A42-4CF5-82BF-586E462557BB}" dt="2024-03-04T17:44:54.758" v="1779" actId="962"/>
          <ac:spMkLst>
            <pc:docMk/>
            <pc:sldMk cId="1718200707" sldId="599"/>
            <ac:spMk id="53" creationId="{AD772AC6-AB4B-8AA8-74BC-B3966977732F}"/>
          </ac:spMkLst>
        </pc:spChg>
        <pc:spChg chg="mod modVis">
          <ac:chgData name="bullingerm.tmt22" userId="9ce3b8b2-035f-4175-b301-998b03a50e38" providerId="ADAL" clId="{D8E03A0D-8A42-4CF5-82BF-586E462557BB}" dt="2024-03-04T17:44:54.758" v="1780" actId="962"/>
          <ac:spMkLst>
            <pc:docMk/>
            <pc:sldMk cId="1718200707" sldId="599"/>
            <ac:spMk id="54" creationId="{73B5AAAC-1186-C6D2-0DE1-A1637C5C02F5}"/>
          </ac:spMkLst>
        </pc:spChg>
        <pc:spChg chg="mod modVis">
          <ac:chgData name="bullingerm.tmt22" userId="9ce3b8b2-035f-4175-b301-998b03a50e38" providerId="ADAL" clId="{D8E03A0D-8A42-4CF5-82BF-586E462557BB}" dt="2024-03-04T17:44:54.768" v="1781" actId="962"/>
          <ac:spMkLst>
            <pc:docMk/>
            <pc:sldMk cId="1718200707" sldId="599"/>
            <ac:spMk id="55" creationId="{577370C8-BD5B-C57C-47F7-7B3A3231D54B}"/>
          </ac:spMkLst>
        </pc:spChg>
        <pc:spChg chg="mod modVis">
          <ac:chgData name="bullingerm.tmt22" userId="9ce3b8b2-035f-4175-b301-998b03a50e38" providerId="ADAL" clId="{D8E03A0D-8A42-4CF5-82BF-586E462557BB}" dt="2024-03-04T17:44:54.768" v="1782" actId="962"/>
          <ac:spMkLst>
            <pc:docMk/>
            <pc:sldMk cId="1718200707" sldId="599"/>
            <ac:spMk id="56" creationId="{71E5C81D-73C9-1414-EBA6-5ED59B368431}"/>
          </ac:spMkLst>
        </pc:spChg>
        <pc:spChg chg="mod modVis">
          <ac:chgData name="bullingerm.tmt22" userId="9ce3b8b2-035f-4175-b301-998b03a50e38" providerId="ADAL" clId="{D8E03A0D-8A42-4CF5-82BF-586E462557BB}" dt="2024-03-04T17:44:54.788" v="1783" actId="962"/>
          <ac:spMkLst>
            <pc:docMk/>
            <pc:sldMk cId="1718200707" sldId="599"/>
            <ac:spMk id="57" creationId="{914A0566-7408-7551-EB52-2211D7C24272}"/>
          </ac:spMkLst>
        </pc:spChg>
        <pc:spChg chg="mod modVis">
          <ac:chgData name="bullingerm.tmt22" userId="9ce3b8b2-035f-4175-b301-998b03a50e38" providerId="ADAL" clId="{D8E03A0D-8A42-4CF5-82BF-586E462557BB}" dt="2024-03-04T17:44:54.788" v="1784" actId="962"/>
          <ac:spMkLst>
            <pc:docMk/>
            <pc:sldMk cId="1718200707" sldId="599"/>
            <ac:spMk id="58" creationId="{0BCC2162-8D9E-E5EB-9104-9DB1222C4A16}"/>
          </ac:spMkLst>
        </pc:spChg>
        <pc:spChg chg="mod modVis">
          <ac:chgData name="bullingerm.tmt22" userId="9ce3b8b2-035f-4175-b301-998b03a50e38" providerId="ADAL" clId="{D8E03A0D-8A42-4CF5-82BF-586E462557BB}" dt="2024-03-04T17:44:54.801" v="1785" actId="962"/>
          <ac:spMkLst>
            <pc:docMk/>
            <pc:sldMk cId="1718200707" sldId="599"/>
            <ac:spMk id="59" creationId="{1A9C25A2-A3CE-0434-1978-2E8583B5B48B}"/>
          </ac:spMkLst>
        </pc:spChg>
        <pc:spChg chg="mod modVis">
          <ac:chgData name="bullingerm.tmt22" userId="9ce3b8b2-035f-4175-b301-998b03a50e38" providerId="ADAL" clId="{D8E03A0D-8A42-4CF5-82BF-586E462557BB}" dt="2024-03-04T17:44:54.809" v="1786" actId="962"/>
          <ac:spMkLst>
            <pc:docMk/>
            <pc:sldMk cId="1718200707" sldId="599"/>
            <ac:spMk id="60" creationId="{9F67299B-94D5-AADE-997B-1393D536CB20}"/>
          </ac:spMkLst>
        </pc:spChg>
        <pc:spChg chg="mod modVis">
          <ac:chgData name="bullingerm.tmt22" userId="9ce3b8b2-035f-4175-b301-998b03a50e38" providerId="ADAL" clId="{D8E03A0D-8A42-4CF5-82BF-586E462557BB}" dt="2024-03-04T17:44:54.809" v="1787" actId="962"/>
          <ac:spMkLst>
            <pc:docMk/>
            <pc:sldMk cId="1718200707" sldId="599"/>
            <ac:spMk id="61" creationId="{AC5D3F0E-002E-59E6-01A9-B61C6424B1D2}"/>
          </ac:spMkLst>
        </pc:spChg>
        <pc:spChg chg="mod modVis">
          <ac:chgData name="bullingerm.tmt22" userId="9ce3b8b2-035f-4175-b301-998b03a50e38" providerId="ADAL" clId="{D8E03A0D-8A42-4CF5-82BF-586E462557BB}" dt="2024-03-04T17:44:54.818" v="1788" actId="962"/>
          <ac:spMkLst>
            <pc:docMk/>
            <pc:sldMk cId="1718200707" sldId="599"/>
            <ac:spMk id="62" creationId="{B2919371-8758-7290-7785-FB9C759A46B7}"/>
          </ac:spMkLst>
        </pc:spChg>
        <pc:spChg chg="mod modVis">
          <ac:chgData name="bullingerm.tmt22" userId="9ce3b8b2-035f-4175-b301-998b03a50e38" providerId="ADAL" clId="{D8E03A0D-8A42-4CF5-82BF-586E462557BB}" dt="2024-03-04T17:44:54.828" v="1789" actId="962"/>
          <ac:spMkLst>
            <pc:docMk/>
            <pc:sldMk cId="1718200707" sldId="599"/>
            <ac:spMk id="63" creationId="{C65B73CB-6B61-3D27-E026-5F60FEDB91F5}"/>
          </ac:spMkLst>
        </pc:spChg>
        <pc:spChg chg="mod modVis">
          <ac:chgData name="bullingerm.tmt22" userId="9ce3b8b2-035f-4175-b301-998b03a50e38" providerId="ADAL" clId="{D8E03A0D-8A42-4CF5-82BF-586E462557BB}" dt="2024-03-04T17:44:54.828" v="1790" actId="962"/>
          <ac:spMkLst>
            <pc:docMk/>
            <pc:sldMk cId="1718200707" sldId="599"/>
            <ac:spMk id="64" creationId="{BC01149A-B8E3-6A29-7512-84D5D77071A0}"/>
          </ac:spMkLst>
        </pc:spChg>
        <pc:spChg chg="mod modVis">
          <ac:chgData name="bullingerm.tmt22" userId="9ce3b8b2-035f-4175-b301-998b03a50e38" providerId="ADAL" clId="{D8E03A0D-8A42-4CF5-82BF-586E462557BB}" dt="2024-03-04T17:44:54.838" v="1791" actId="962"/>
          <ac:spMkLst>
            <pc:docMk/>
            <pc:sldMk cId="1718200707" sldId="599"/>
            <ac:spMk id="65" creationId="{7698DC8B-8DC9-9433-9598-32D7DCCD3573}"/>
          </ac:spMkLst>
        </pc:spChg>
        <pc:spChg chg="mod modVis">
          <ac:chgData name="bullingerm.tmt22" userId="9ce3b8b2-035f-4175-b301-998b03a50e38" providerId="ADAL" clId="{D8E03A0D-8A42-4CF5-82BF-586E462557BB}" dt="2024-03-04T17:44:54.853" v="1792" actId="962"/>
          <ac:spMkLst>
            <pc:docMk/>
            <pc:sldMk cId="1718200707" sldId="599"/>
            <ac:spMk id="66" creationId="{44C6E16E-AE0A-B684-5FAE-AAB7C6A1E4D8}"/>
          </ac:spMkLst>
        </pc:spChg>
        <pc:spChg chg="mod modVis">
          <ac:chgData name="bullingerm.tmt22" userId="9ce3b8b2-035f-4175-b301-998b03a50e38" providerId="ADAL" clId="{D8E03A0D-8A42-4CF5-82BF-586E462557BB}" dt="2024-03-04T17:44:54.863" v="1793" actId="962"/>
          <ac:spMkLst>
            <pc:docMk/>
            <pc:sldMk cId="1718200707" sldId="599"/>
            <ac:spMk id="67" creationId="{4F023A15-66BD-660E-DC3E-3B62A56BB7FA}"/>
          </ac:spMkLst>
        </pc:spChg>
        <pc:spChg chg="mod modVis">
          <ac:chgData name="bullingerm.tmt22" userId="9ce3b8b2-035f-4175-b301-998b03a50e38" providerId="ADAL" clId="{D8E03A0D-8A42-4CF5-82BF-586E462557BB}" dt="2024-03-04T17:44:54.868" v="1794" actId="962"/>
          <ac:spMkLst>
            <pc:docMk/>
            <pc:sldMk cId="1718200707" sldId="599"/>
            <ac:spMk id="68" creationId="{3CBC1445-D479-6468-6DF0-23BD9C40C2C9}"/>
          </ac:spMkLst>
        </pc:spChg>
        <pc:spChg chg="mod modVis">
          <ac:chgData name="bullingerm.tmt22" userId="9ce3b8b2-035f-4175-b301-998b03a50e38" providerId="ADAL" clId="{D8E03A0D-8A42-4CF5-82BF-586E462557BB}" dt="2024-03-04T17:44:54.868" v="1795" actId="962"/>
          <ac:spMkLst>
            <pc:docMk/>
            <pc:sldMk cId="1718200707" sldId="599"/>
            <ac:spMk id="69" creationId="{4DDEF09D-4F01-2D06-9B81-981F7224D409}"/>
          </ac:spMkLst>
        </pc:spChg>
        <pc:spChg chg="mod modVis">
          <ac:chgData name="bullingerm.tmt22" userId="9ce3b8b2-035f-4175-b301-998b03a50e38" providerId="ADAL" clId="{D8E03A0D-8A42-4CF5-82BF-586E462557BB}" dt="2024-03-04T17:44:54.898" v="1796" actId="962"/>
          <ac:spMkLst>
            <pc:docMk/>
            <pc:sldMk cId="1718200707" sldId="599"/>
            <ac:spMk id="70" creationId="{176104FD-2414-FC51-7409-215ABCD8A7E3}"/>
          </ac:spMkLst>
        </pc:spChg>
        <pc:spChg chg="mod modVis">
          <ac:chgData name="bullingerm.tmt22" userId="9ce3b8b2-035f-4175-b301-998b03a50e38" providerId="ADAL" clId="{D8E03A0D-8A42-4CF5-82BF-586E462557BB}" dt="2024-03-04T17:44:54.901" v="1797" actId="962"/>
          <ac:spMkLst>
            <pc:docMk/>
            <pc:sldMk cId="1718200707" sldId="599"/>
            <ac:spMk id="71" creationId="{F6DBE8B1-24AE-1EBD-4211-203C033CB322}"/>
          </ac:spMkLst>
        </pc:spChg>
        <pc:spChg chg="mod modVis">
          <ac:chgData name="bullingerm.tmt22" userId="9ce3b8b2-035f-4175-b301-998b03a50e38" providerId="ADAL" clId="{D8E03A0D-8A42-4CF5-82BF-586E462557BB}" dt="2024-03-04T17:44:54.908" v="1798" actId="962"/>
          <ac:spMkLst>
            <pc:docMk/>
            <pc:sldMk cId="1718200707" sldId="599"/>
            <ac:spMk id="72" creationId="{7346989F-22FB-EB4F-CEF1-A4A14A51BB2D}"/>
          </ac:spMkLst>
        </pc:spChg>
        <pc:spChg chg="mod modVis">
          <ac:chgData name="bullingerm.tmt22" userId="9ce3b8b2-035f-4175-b301-998b03a50e38" providerId="ADAL" clId="{D8E03A0D-8A42-4CF5-82BF-586E462557BB}" dt="2024-03-04T17:44:54.918" v="1799" actId="962"/>
          <ac:spMkLst>
            <pc:docMk/>
            <pc:sldMk cId="1718200707" sldId="599"/>
            <ac:spMk id="73" creationId="{F408B9C9-59F0-008A-23F8-546B14ADEDCF}"/>
          </ac:spMkLst>
        </pc:spChg>
        <pc:spChg chg="mod modVis">
          <ac:chgData name="bullingerm.tmt22" userId="9ce3b8b2-035f-4175-b301-998b03a50e38" providerId="ADAL" clId="{D8E03A0D-8A42-4CF5-82BF-586E462557BB}" dt="2024-03-04T17:44:54.928" v="1800" actId="962"/>
          <ac:spMkLst>
            <pc:docMk/>
            <pc:sldMk cId="1718200707" sldId="599"/>
            <ac:spMk id="74" creationId="{C10BEFAF-11BF-80FA-B0C6-8BCE882AEE03}"/>
          </ac:spMkLst>
        </pc:spChg>
        <pc:spChg chg="mod modVis">
          <ac:chgData name="bullingerm.tmt22" userId="9ce3b8b2-035f-4175-b301-998b03a50e38" providerId="ADAL" clId="{D8E03A0D-8A42-4CF5-82BF-586E462557BB}" dt="2024-03-04T17:44:54.938" v="1801" actId="962"/>
          <ac:spMkLst>
            <pc:docMk/>
            <pc:sldMk cId="1718200707" sldId="599"/>
            <ac:spMk id="75" creationId="{D8BF8A22-2C61-5FA4-F6E2-B2C556087CD6}"/>
          </ac:spMkLst>
        </pc:spChg>
        <pc:spChg chg="mod modVis">
          <ac:chgData name="bullingerm.tmt22" userId="9ce3b8b2-035f-4175-b301-998b03a50e38" providerId="ADAL" clId="{D8E03A0D-8A42-4CF5-82BF-586E462557BB}" dt="2024-03-04T17:44:54.938" v="1802" actId="962"/>
          <ac:spMkLst>
            <pc:docMk/>
            <pc:sldMk cId="1718200707" sldId="599"/>
            <ac:spMk id="76" creationId="{47F16511-71DB-FCB4-2BB3-0B0F4927E5A3}"/>
          </ac:spMkLst>
        </pc:spChg>
        <pc:spChg chg="mod modVis">
          <ac:chgData name="bullingerm.tmt22" userId="9ce3b8b2-035f-4175-b301-998b03a50e38" providerId="ADAL" clId="{D8E03A0D-8A42-4CF5-82BF-586E462557BB}" dt="2024-03-04T17:44:54.948" v="1803" actId="962"/>
          <ac:spMkLst>
            <pc:docMk/>
            <pc:sldMk cId="1718200707" sldId="599"/>
            <ac:spMk id="77" creationId="{0822A70F-EF89-EAE5-85C2-0A1E1331D4DE}"/>
          </ac:spMkLst>
        </pc:spChg>
        <pc:spChg chg="mod modVis">
          <ac:chgData name="bullingerm.tmt22" userId="9ce3b8b2-035f-4175-b301-998b03a50e38" providerId="ADAL" clId="{D8E03A0D-8A42-4CF5-82BF-586E462557BB}" dt="2024-03-04T17:44:54.948" v="1804" actId="962"/>
          <ac:spMkLst>
            <pc:docMk/>
            <pc:sldMk cId="1718200707" sldId="599"/>
            <ac:spMk id="78" creationId="{E78A587F-0633-691B-4373-332198DB097F}"/>
          </ac:spMkLst>
        </pc:spChg>
        <pc:spChg chg="mod modVis">
          <ac:chgData name="bullingerm.tmt22" userId="9ce3b8b2-035f-4175-b301-998b03a50e38" providerId="ADAL" clId="{D8E03A0D-8A42-4CF5-82BF-586E462557BB}" dt="2024-03-04T17:44:54.958" v="1805" actId="962"/>
          <ac:spMkLst>
            <pc:docMk/>
            <pc:sldMk cId="1718200707" sldId="599"/>
            <ac:spMk id="79" creationId="{FE3F52FF-7B51-BE7F-2CE7-9B39235D8DED}"/>
          </ac:spMkLst>
        </pc:spChg>
        <pc:spChg chg="mod modVis">
          <ac:chgData name="bullingerm.tmt22" userId="9ce3b8b2-035f-4175-b301-998b03a50e38" providerId="ADAL" clId="{D8E03A0D-8A42-4CF5-82BF-586E462557BB}" dt="2024-03-04T17:44:54.968" v="1806" actId="962"/>
          <ac:spMkLst>
            <pc:docMk/>
            <pc:sldMk cId="1718200707" sldId="599"/>
            <ac:spMk id="80" creationId="{1244D721-F408-62FB-EB61-B6DA2242AF05}"/>
          </ac:spMkLst>
        </pc:spChg>
        <pc:spChg chg="mod modVis">
          <ac:chgData name="bullingerm.tmt22" userId="9ce3b8b2-035f-4175-b301-998b03a50e38" providerId="ADAL" clId="{D8E03A0D-8A42-4CF5-82BF-586E462557BB}" dt="2024-03-04T17:44:54.985" v="1807" actId="962"/>
          <ac:spMkLst>
            <pc:docMk/>
            <pc:sldMk cId="1718200707" sldId="599"/>
            <ac:spMk id="81" creationId="{9DED17E0-4A1B-70E0-2742-FD83312F1706}"/>
          </ac:spMkLst>
        </pc:spChg>
        <pc:spChg chg="mod modVis">
          <ac:chgData name="bullingerm.tmt22" userId="9ce3b8b2-035f-4175-b301-998b03a50e38" providerId="ADAL" clId="{D8E03A0D-8A42-4CF5-82BF-586E462557BB}" dt="2024-03-04T17:44:54.999" v="1808" actId="962"/>
          <ac:spMkLst>
            <pc:docMk/>
            <pc:sldMk cId="1718200707" sldId="599"/>
            <ac:spMk id="82" creationId="{D9CF9D65-AB32-DC82-23F0-084BA210912A}"/>
          </ac:spMkLst>
        </pc:spChg>
        <pc:spChg chg="mod modVis">
          <ac:chgData name="bullingerm.tmt22" userId="9ce3b8b2-035f-4175-b301-998b03a50e38" providerId="ADAL" clId="{D8E03A0D-8A42-4CF5-82BF-586E462557BB}" dt="2024-03-04T17:44:55.008" v="1809" actId="962"/>
          <ac:spMkLst>
            <pc:docMk/>
            <pc:sldMk cId="1718200707" sldId="599"/>
            <ac:spMk id="83" creationId="{A7417D0E-B347-9157-2BF6-84FBA2DCA673}"/>
          </ac:spMkLst>
        </pc:spChg>
        <pc:spChg chg="mod modVis">
          <ac:chgData name="bullingerm.tmt22" userId="9ce3b8b2-035f-4175-b301-998b03a50e38" providerId="ADAL" clId="{D8E03A0D-8A42-4CF5-82BF-586E462557BB}" dt="2024-03-04T17:44:55.019" v="1810" actId="962"/>
          <ac:spMkLst>
            <pc:docMk/>
            <pc:sldMk cId="1718200707" sldId="599"/>
            <ac:spMk id="84" creationId="{B105753C-8418-5ADB-07FE-4553B8D4B30E}"/>
          </ac:spMkLst>
        </pc:spChg>
        <pc:spChg chg="mod modVis">
          <ac:chgData name="bullingerm.tmt22" userId="9ce3b8b2-035f-4175-b301-998b03a50e38" providerId="ADAL" clId="{D8E03A0D-8A42-4CF5-82BF-586E462557BB}" dt="2024-03-04T17:44:55.028" v="1811" actId="962"/>
          <ac:spMkLst>
            <pc:docMk/>
            <pc:sldMk cId="1718200707" sldId="599"/>
            <ac:spMk id="85" creationId="{5E0B080C-6CAB-E6AA-D77C-63E20F408F90}"/>
          </ac:spMkLst>
        </pc:spChg>
        <pc:spChg chg="mod modVis">
          <ac:chgData name="bullingerm.tmt22" userId="9ce3b8b2-035f-4175-b301-998b03a50e38" providerId="ADAL" clId="{D8E03A0D-8A42-4CF5-82BF-586E462557BB}" dt="2024-03-04T17:44:55.048" v="1812" actId="962"/>
          <ac:spMkLst>
            <pc:docMk/>
            <pc:sldMk cId="1718200707" sldId="599"/>
            <ac:spMk id="86" creationId="{7F655AFE-ACC4-496A-D473-E35362B0A20A}"/>
          </ac:spMkLst>
        </pc:spChg>
        <pc:spChg chg="mod modVis">
          <ac:chgData name="bullingerm.tmt22" userId="9ce3b8b2-035f-4175-b301-998b03a50e38" providerId="ADAL" clId="{D8E03A0D-8A42-4CF5-82BF-586E462557BB}" dt="2024-03-04T17:44:55.059" v="1813" actId="962"/>
          <ac:spMkLst>
            <pc:docMk/>
            <pc:sldMk cId="1718200707" sldId="599"/>
            <ac:spMk id="87" creationId="{D9D28D54-0A8D-3ABA-72F9-AB50226FF3C4}"/>
          </ac:spMkLst>
        </pc:spChg>
        <pc:spChg chg="mod modVis">
          <ac:chgData name="bullingerm.tmt22" userId="9ce3b8b2-035f-4175-b301-998b03a50e38" providerId="ADAL" clId="{D8E03A0D-8A42-4CF5-82BF-586E462557BB}" dt="2024-03-04T17:44:55.068" v="1814" actId="962"/>
          <ac:spMkLst>
            <pc:docMk/>
            <pc:sldMk cId="1718200707" sldId="599"/>
            <ac:spMk id="88" creationId="{6AD26B85-FA6F-C4A3-49EB-8022901B2852}"/>
          </ac:spMkLst>
        </pc:spChg>
        <pc:spChg chg="mod modVis">
          <ac:chgData name="bullingerm.tmt22" userId="9ce3b8b2-035f-4175-b301-998b03a50e38" providerId="ADAL" clId="{D8E03A0D-8A42-4CF5-82BF-586E462557BB}" dt="2024-03-04T17:44:55.078" v="1815" actId="962"/>
          <ac:spMkLst>
            <pc:docMk/>
            <pc:sldMk cId="1718200707" sldId="599"/>
            <ac:spMk id="89" creationId="{D84F9F12-3158-4902-4CC0-07E1C9FAE951}"/>
          </ac:spMkLst>
        </pc:spChg>
        <pc:spChg chg="mod modVis">
          <ac:chgData name="bullingerm.tmt22" userId="9ce3b8b2-035f-4175-b301-998b03a50e38" providerId="ADAL" clId="{D8E03A0D-8A42-4CF5-82BF-586E462557BB}" dt="2024-03-04T17:44:55.089" v="1816" actId="962"/>
          <ac:spMkLst>
            <pc:docMk/>
            <pc:sldMk cId="1718200707" sldId="599"/>
            <ac:spMk id="90" creationId="{77A55FA3-BD58-A9FA-60B6-DD84C09C30CF}"/>
          </ac:spMkLst>
        </pc:spChg>
        <pc:spChg chg="mod modVis">
          <ac:chgData name="bullingerm.tmt22" userId="9ce3b8b2-035f-4175-b301-998b03a50e38" providerId="ADAL" clId="{D8E03A0D-8A42-4CF5-82BF-586E462557BB}" dt="2024-03-04T17:44:55.090" v="1817" actId="962"/>
          <ac:spMkLst>
            <pc:docMk/>
            <pc:sldMk cId="1718200707" sldId="599"/>
            <ac:spMk id="91" creationId="{9FE085B4-92AA-5CB9-E256-5156DD698889}"/>
          </ac:spMkLst>
        </pc:spChg>
        <pc:spChg chg="mod modVis">
          <ac:chgData name="bullingerm.tmt22" userId="9ce3b8b2-035f-4175-b301-998b03a50e38" providerId="ADAL" clId="{D8E03A0D-8A42-4CF5-82BF-586E462557BB}" dt="2024-03-04T17:44:55.102" v="1818" actId="962"/>
          <ac:spMkLst>
            <pc:docMk/>
            <pc:sldMk cId="1718200707" sldId="599"/>
            <ac:spMk id="92" creationId="{1050FA85-DD10-3EE0-3880-93C10D833CEE}"/>
          </ac:spMkLst>
        </pc:spChg>
        <pc:spChg chg="mod modVis">
          <ac:chgData name="bullingerm.tmt22" userId="9ce3b8b2-035f-4175-b301-998b03a50e38" providerId="ADAL" clId="{D8E03A0D-8A42-4CF5-82BF-586E462557BB}" dt="2024-03-04T17:44:55.108" v="1819" actId="962"/>
          <ac:spMkLst>
            <pc:docMk/>
            <pc:sldMk cId="1718200707" sldId="599"/>
            <ac:spMk id="93" creationId="{4631AF83-B8F0-1DE0-9C62-134D286700B5}"/>
          </ac:spMkLst>
        </pc:spChg>
        <pc:cxnChg chg="del">
          <ac:chgData name="bullingerm.tmt22" userId="9ce3b8b2-035f-4175-b301-998b03a50e38" providerId="ADAL" clId="{D8E03A0D-8A42-4CF5-82BF-586E462557BB}" dt="2024-03-04T17:44:56.718" v="2553" actId="478"/>
          <ac:cxnSpMkLst>
            <pc:docMk/>
            <pc:sldMk cId="1718200707" sldId="599"/>
            <ac:cxnSpMk id="43" creationId="{BAA59FC5-048A-C34D-F5DF-611B52DA1C01}"/>
          </ac:cxnSpMkLst>
        </pc:cxnChg>
      </pc:sldChg>
      <pc:sldChg chg="modSp add mod">
        <pc:chgData name="bullingerm.tmt22" userId="9ce3b8b2-035f-4175-b301-998b03a50e38" providerId="ADAL" clId="{D8E03A0D-8A42-4CF5-82BF-586E462557BB}" dt="2024-03-04T18:33:50.447" v="4081" actId="20577"/>
        <pc:sldMkLst>
          <pc:docMk/>
          <pc:sldMk cId="3696754893" sldId="599"/>
        </pc:sldMkLst>
        <pc:spChg chg="mod">
          <ac:chgData name="bullingerm.tmt22" userId="9ce3b8b2-035f-4175-b301-998b03a50e38" providerId="ADAL" clId="{D8E03A0D-8A42-4CF5-82BF-586E462557BB}" dt="2024-03-04T17:49:53.927" v="2655" actId="20577"/>
          <ac:spMkLst>
            <pc:docMk/>
            <pc:sldMk cId="3696754893" sldId="599"/>
            <ac:spMk id="274" creationId="{83BEA039-D8F9-B9EF-850B-688BFECE6787}"/>
          </ac:spMkLst>
        </pc:spChg>
        <pc:spChg chg="mod">
          <ac:chgData name="bullingerm.tmt22" userId="9ce3b8b2-035f-4175-b301-998b03a50e38" providerId="ADAL" clId="{D8E03A0D-8A42-4CF5-82BF-586E462557BB}" dt="2024-03-04T18:33:50.447" v="4081" actId="20577"/>
          <ac:spMkLst>
            <pc:docMk/>
            <pc:sldMk cId="3696754893" sldId="599"/>
            <ac:spMk id="275" creationId="{6D9901DD-E46A-CC8E-AD78-8ABFC334A0D5}"/>
          </ac:spMkLst>
        </pc:spChg>
      </pc:sldChg>
      <pc:sldChg chg="del">
        <pc:chgData name="bullingerm.tmt22" userId="9ce3b8b2-035f-4175-b301-998b03a50e38" providerId="ADAL" clId="{D8E03A0D-8A42-4CF5-82BF-586E462557BB}" dt="2024-03-04T17:44:56.708" v="2551" actId="2696"/>
        <pc:sldMkLst>
          <pc:docMk/>
          <pc:sldMk cId="915495461" sldId="600"/>
        </pc:sldMkLst>
      </pc:sldChg>
      <pc:sldChg chg="delSp add">
        <pc:chgData name="bullingerm.tmt22" userId="9ce3b8b2-035f-4175-b301-998b03a50e38" providerId="ADAL" clId="{D8E03A0D-8A42-4CF5-82BF-586E462557BB}" dt="2024-03-04T18:40:41.893" v="4083" actId="478"/>
        <pc:sldMkLst>
          <pc:docMk/>
          <pc:sldMk cId="1733906716" sldId="600"/>
        </pc:sldMkLst>
        <pc:picChg chg="del">
          <ac:chgData name="bullingerm.tmt22" userId="9ce3b8b2-035f-4175-b301-998b03a50e38" providerId="ADAL" clId="{D8E03A0D-8A42-4CF5-82BF-586E462557BB}" dt="2024-03-04T18:40:40.130" v="4082" actId="478"/>
          <ac:picMkLst>
            <pc:docMk/>
            <pc:sldMk cId="1733906716" sldId="600"/>
            <ac:picMk id="1028" creationId="{20C12916-C97D-B00F-DA26-81C6A2277EB0}"/>
          </ac:picMkLst>
        </pc:picChg>
        <pc:picChg chg="del">
          <ac:chgData name="bullingerm.tmt22" userId="9ce3b8b2-035f-4175-b301-998b03a50e38" providerId="ADAL" clId="{D8E03A0D-8A42-4CF5-82BF-586E462557BB}" dt="2024-03-04T18:40:41.893" v="4083" actId="478"/>
          <ac:picMkLst>
            <pc:docMk/>
            <pc:sldMk cId="1733906716" sldId="600"/>
            <ac:picMk id="1030" creationId="{75F07F70-B0DC-4E20-679F-A2617A87C135}"/>
          </ac:picMkLst>
        </pc:picChg>
      </pc:sldChg>
      <pc:sldChg chg="del">
        <pc:chgData name="bullingerm.tmt22" userId="9ce3b8b2-035f-4175-b301-998b03a50e38" providerId="ADAL" clId="{D8E03A0D-8A42-4CF5-82BF-586E462557BB}" dt="2024-03-04T17:44:56.708" v="2550" actId="2696"/>
        <pc:sldMkLst>
          <pc:docMk/>
          <pc:sldMk cId="632526077" sldId="601"/>
        </pc:sldMkLst>
      </pc:sldChg>
    </pc:docChg>
  </pc:docChgLst>
  <pc:docChgLst>
    <pc:chgData name="Leo Xing" userId="S::l7xing@uwaterloo.ca::092ea61f-c2f3-4c9c-8a83-cb04ba707769" providerId="AD" clId="Web-{E44BD2D7-420D-AE51-BE6D-6038DF3003E0}"/>
    <pc:docChg chg="addSld modSld modSection">
      <pc:chgData name="Leo Xing" userId="S::l7xing@uwaterloo.ca::092ea61f-c2f3-4c9c-8a83-cb04ba707769" providerId="AD" clId="Web-{E44BD2D7-420D-AE51-BE6D-6038DF3003E0}" dt="2024-10-05T04:33:46.642" v="11" actId="20577"/>
      <pc:docMkLst>
        <pc:docMk/>
      </pc:docMkLst>
      <pc:sldChg chg="modSp">
        <pc:chgData name="Leo Xing" userId="S::l7xing@uwaterloo.ca::092ea61f-c2f3-4c9c-8a83-cb04ba707769" providerId="AD" clId="Web-{E44BD2D7-420D-AE51-BE6D-6038DF3003E0}" dt="2024-10-05T04:33:46.642" v="11" actId="20577"/>
        <pc:sldMkLst>
          <pc:docMk/>
          <pc:sldMk cId="1787319496" sldId="652"/>
        </pc:sldMkLst>
        <pc:spChg chg="mod">
          <ac:chgData name="Leo Xing" userId="S::l7xing@uwaterloo.ca::092ea61f-c2f3-4c9c-8a83-cb04ba707769" providerId="AD" clId="Web-{E44BD2D7-420D-AE51-BE6D-6038DF3003E0}" dt="2024-10-05T04:33:46.642" v="11" actId="20577"/>
          <ac:spMkLst>
            <pc:docMk/>
            <pc:sldMk cId="1787319496" sldId="652"/>
            <ac:spMk id="42" creationId="{C7E757C5-03D1-1F7C-8394-C9FB4BCDFB61}"/>
          </ac:spMkLst>
        </pc:spChg>
      </pc:sldChg>
      <pc:sldChg chg="modSp new">
        <pc:chgData name="Leo Xing" userId="S::l7xing@uwaterloo.ca::092ea61f-c2f3-4c9c-8a83-cb04ba707769" providerId="AD" clId="Web-{E44BD2D7-420D-AE51-BE6D-6038DF3003E0}" dt="2024-10-05T04:33:39.485" v="5" actId="20577"/>
        <pc:sldMkLst>
          <pc:docMk/>
          <pc:sldMk cId="3402755058" sldId="662"/>
        </pc:sldMkLst>
        <pc:spChg chg="mod">
          <ac:chgData name="Leo Xing" userId="S::l7xing@uwaterloo.ca::092ea61f-c2f3-4c9c-8a83-cb04ba707769" providerId="AD" clId="Web-{E44BD2D7-420D-AE51-BE6D-6038DF3003E0}" dt="2024-10-05T04:33:39.485" v="5" actId="20577"/>
          <ac:spMkLst>
            <pc:docMk/>
            <pc:sldMk cId="3402755058" sldId="662"/>
            <ac:spMk id="2" creationId="{734C21C5-BBA6-E1E4-DFA4-175BC9E0A0A9}"/>
          </ac:spMkLst>
        </pc:spChg>
      </pc:sldChg>
    </pc:docChg>
  </pc:docChgLst>
  <pc:docChgLst>
    <pc:chgData name="Leo Xing" userId="S::l7xing@uwaterloo.ca::092ea61f-c2f3-4c9c-8a83-cb04ba707769" providerId="AD" clId="Web-{EE1CB241-8CD8-B50B-29D6-99FA4C7C9CD8}"/>
    <pc:docChg chg="modSld">
      <pc:chgData name="Leo Xing" userId="S::l7xing@uwaterloo.ca::092ea61f-c2f3-4c9c-8a83-cb04ba707769" providerId="AD" clId="Web-{EE1CB241-8CD8-B50B-29D6-99FA4C7C9CD8}" dt="2024-10-07T19:04:39.144" v="16" actId="1076"/>
      <pc:docMkLst>
        <pc:docMk/>
      </pc:docMkLst>
      <pc:sldChg chg="addSp delSp modSp">
        <pc:chgData name="Leo Xing" userId="S::l7xing@uwaterloo.ca::092ea61f-c2f3-4c9c-8a83-cb04ba707769" providerId="AD" clId="Web-{EE1CB241-8CD8-B50B-29D6-99FA4C7C9CD8}" dt="2024-10-07T17:36:48.802" v="6" actId="1076"/>
        <pc:sldMkLst>
          <pc:docMk/>
          <pc:sldMk cId="1787319496" sldId="652"/>
        </pc:sldMkLst>
        <pc:spChg chg="add mod">
          <ac:chgData name="Leo Xing" userId="S::l7xing@uwaterloo.ca::092ea61f-c2f3-4c9c-8a83-cb04ba707769" providerId="AD" clId="Web-{EE1CB241-8CD8-B50B-29D6-99FA4C7C9CD8}" dt="2024-10-07T17:36:48.802" v="6" actId="1076"/>
          <ac:spMkLst>
            <pc:docMk/>
            <pc:sldMk cId="1787319496" sldId="652"/>
            <ac:spMk id="2" creationId="{7C11D29D-3DBA-6816-BB54-2F59CA3BB9C7}"/>
          </ac:spMkLst>
        </pc:spChg>
        <pc:spChg chg="del mod">
          <ac:chgData name="Leo Xing" userId="S::l7xing@uwaterloo.ca::092ea61f-c2f3-4c9c-8a83-cb04ba707769" providerId="AD" clId="Web-{EE1CB241-8CD8-B50B-29D6-99FA4C7C9CD8}" dt="2024-10-07T17:36:24.692" v="1"/>
          <ac:spMkLst>
            <pc:docMk/>
            <pc:sldMk cId="1787319496" sldId="652"/>
            <ac:spMk id="3" creationId="{CF60932E-0063-6991-2BA3-1A347F1E72F8}"/>
          </ac:spMkLst>
        </pc:spChg>
      </pc:sldChg>
      <pc:sldChg chg="addSp delSp modSp">
        <pc:chgData name="Leo Xing" userId="S::l7xing@uwaterloo.ca::092ea61f-c2f3-4c9c-8a83-cb04ba707769" providerId="AD" clId="Web-{EE1CB241-8CD8-B50B-29D6-99FA4C7C9CD8}" dt="2024-10-07T19:04:39.144" v="16" actId="1076"/>
        <pc:sldMkLst>
          <pc:docMk/>
          <pc:sldMk cId="3071594886" sldId="663"/>
        </pc:sldMkLst>
        <pc:spChg chg="add mod">
          <ac:chgData name="Leo Xing" userId="S::l7xing@uwaterloo.ca::092ea61f-c2f3-4c9c-8a83-cb04ba707769" providerId="AD" clId="Web-{EE1CB241-8CD8-B50B-29D6-99FA4C7C9CD8}" dt="2024-10-07T19:04:39.144" v="16" actId="1076"/>
          <ac:spMkLst>
            <pc:docMk/>
            <pc:sldMk cId="3071594886" sldId="663"/>
            <ac:spMk id="2" creationId="{1B64DBAE-5581-2BD7-4672-94AA66D29FC2}"/>
          </ac:spMkLst>
        </pc:spChg>
        <pc:spChg chg="del mod">
          <ac:chgData name="Leo Xing" userId="S::l7xing@uwaterloo.ca::092ea61f-c2f3-4c9c-8a83-cb04ba707769" providerId="AD" clId="Web-{EE1CB241-8CD8-B50B-29D6-99FA4C7C9CD8}" dt="2024-10-07T19:04:15.472" v="8"/>
          <ac:spMkLst>
            <pc:docMk/>
            <pc:sldMk cId="3071594886" sldId="663"/>
            <ac:spMk id="8" creationId="{377598D0-35F6-94D3-DCE1-3B3AB184D68F}"/>
          </ac:spMkLst>
        </pc:spChg>
      </pc:sldChg>
    </pc:docChg>
  </pc:docChgLst>
  <pc:docChgLst>
    <pc:chgData name="Gavin Grimm" userId="6c4cb79d-2b23-417c-a733-7dcc36d0b4a1" providerId="ADAL" clId="{7E428355-CFFC-448A-A231-5C3608936EB1}"/>
    <pc:docChg chg="custSel modSld">
      <pc:chgData name="Gavin Grimm" userId="6c4cb79d-2b23-417c-a733-7dcc36d0b4a1" providerId="ADAL" clId="{7E428355-CFFC-448A-A231-5C3608936EB1}" dt="2024-10-09T12:14:20.094" v="1107" actId="20577"/>
      <pc:docMkLst>
        <pc:docMk/>
      </pc:docMkLst>
      <pc:sldChg chg="modSp mod modAnim modNotesTx">
        <pc:chgData name="Gavin Grimm" userId="6c4cb79d-2b23-417c-a733-7dcc36d0b4a1" providerId="ADAL" clId="{7E428355-CFFC-448A-A231-5C3608936EB1}" dt="2024-10-09T12:14:20.094" v="1107" actId="20577"/>
        <pc:sldMkLst>
          <pc:docMk/>
          <pc:sldMk cId="994611207" sldId="654"/>
        </pc:sldMkLst>
        <pc:spChg chg="mod">
          <ac:chgData name="Gavin Grimm" userId="6c4cb79d-2b23-417c-a733-7dcc36d0b4a1" providerId="ADAL" clId="{7E428355-CFFC-448A-A231-5C3608936EB1}" dt="2024-10-08T17:37:46.802" v="0" actId="2711"/>
          <ac:spMkLst>
            <pc:docMk/>
            <pc:sldMk cId="994611207" sldId="654"/>
            <ac:spMk id="42" creationId="{C7E757C5-03D1-1F7C-8394-C9FB4BCDFB61}"/>
          </ac:spMkLst>
        </pc:spChg>
        <pc:graphicFrameChg chg="modGraphic">
          <ac:chgData name="Gavin Grimm" userId="6c4cb79d-2b23-417c-a733-7dcc36d0b4a1" providerId="ADAL" clId="{7E428355-CFFC-448A-A231-5C3608936EB1}" dt="2024-10-09T12:14:20.094" v="1107" actId="20577"/>
          <ac:graphicFrameMkLst>
            <pc:docMk/>
            <pc:sldMk cId="994611207" sldId="654"/>
            <ac:graphicFrameMk id="2" creationId="{0308DDC1-B91E-B7CF-088D-233A424D386B}"/>
          </ac:graphicFrameMkLst>
        </pc:graphicFrameChg>
      </pc:sldChg>
      <pc:sldChg chg="modNotesTx">
        <pc:chgData name="Gavin Grimm" userId="6c4cb79d-2b23-417c-a733-7dcc36d0b4a1" providerId="ADAL" clId="{7E428355-CFFC-448A-A231-5C3608936EB1}" dt="2024-10-08T18:13:30.961" v="1095" actId="20577"/>
        <pc:sldMkLst>
          <pc:docMk/>
          <pc:sldMk cId="1274719457" sldId="657"/>
        </pc:sldMkLst>
      </pc:sldChg>
    </pc:docChg>
  </pc:docChgLst>
  <pc:docChgLst>
    <pc:chgData name="Marvin Mario Bullinger" userId="S::mmbullin@uwaterloo.ca::3bbe2cfe-6e8b-4ac1-8799-4ce6c696cdc9" providerId="AD" clId="Web-{60147FD2-4866-76B6-3028-7EF3BDFFEC5C}"/>
    <pc:docChg chg="addSld delSld modSld sldOrd modSection">
      <pc:chgData name="Marvin Mario Bullinger" userId="S::mmbullin@uwaterloo.ca::3bbe2cfe-6e8b-4ac1-8799-4ce6c696cdc9" providerId="AD" clId="Web-{60147FD2-4866-76B6-3028-7EF3BDFFEC5C}" dt="2024-10-03T20:15:42.745" v="241" actId="20577"/>
      <pc:docMkLst>
        <pc:docMk/>
      </pc:docMkLst>
      <pc:sldChg chg="modSp">
        <pc:chgData name="Marvin Mario Bullinger" userId="S::mmbullin@uwaterloo.ca::3bbe2cfe-6e8b-4ac1-8799-4ce6c696cdc9" providerId="AD" clId="Web-{60147FD2-4866-76B6-3028-7EF3BDFFEC5C}" dt="2024-10-03T20:12:52.856" v="198" actId="20577"/>
        <pc:sldMkLst>
          <pc:docMk/>
          <pc:sldMk cId="326362598" sldId="579"/>
        </pc:sldMkLst>
        <pc:spChg chg="mod">
          <ac:chgData name="Marvin Mario Bullinger" userId="S::mmbullin@uwaterloo.ca::3bbe2cfe-6e8b-4ac1-8799-4ce6c696cdc9" providerId="AD" clId="Web-{60147FD2-4866-76B6-3028-7EF3BDFFEC5C}" dt="2024-10-03T20:04:28.706" v="15" actId="20577"/>
          <ac:spMkLst>
            <pc:docMk/>
            <pc:sldMk cId="326362598" sldId="579"/>
            <ac:spMk id="798" creationId="{1A2D9CAD-706A-5E36-FFFD-2822F5DA7876}"/>
          </ac:spMkLst>
        </pc:spChg>
        <pc:spChg chg="mod">
          <ac:chgData name="Marvin Mario Bullinger" userId="S::mmbullin@uwaterloo.ca::3bbe2cfe-6e8b-4ac1-8799-4ce6c696cdc9" providerId="AD" clId="Web-{60147FD2-4866-76B6-3028-7EF3BDFFEC5C}" dt="2024-10-03T20:04:51.862" v="33" actId="20577"/>
          <ac:spMkLst>
            <pc:docMk/>
            <pc:sldMk cId="326362598" sldId="579"/>
            <ac:spMk id="801" creationId="{F82AA610-2B09-5601-C3A3-5B8B2E5F35C5}"/>
          </ac:spMkLst>
        </pc:spChg>
        <pc:spChg chg="mod">
          <ac:chgData name="Marvin Mario Bullinger" userId="S::mmbullin@uwaterloo.ca::3bbe2cfe-6e8b-4ac1-8799-4ce6c696cdc9" providerId="AD" clId="Web-{60147FD2-4866-76B6-3028-7EF3BDFFEC5C}" dt="2024-10-03T20:12:52.856" v="198" actId="20577"/>
          <ac:spMkLst>
            <pc:docMk/>
            <pc:sldMk cId="326362598" sldId="579"/>
            <ac:spMk id="804" creationId="{C1A38F07-47D0-7F74-2B4C-CA6A7F73BD5E}"/>
          </ac:spMkLst>
        </pc:spChg>
        <pc:spChg chg="mod">
          <ac:chgData name="Marvin Mario Bullinger" userId="S::mmbullin@uwaterloo.ca::3bbe2cfe-6e8b-4ac1-8799-4ce6c696cdc9" providerId="AD" clId="Web-{60147FD2-4866-76B6-3028-7EF3BDFFEC5C}" dt="2024-10-03T20:11:54.951" v="170" actId="20577"/>
          <ac:spMkLst>
            <pc:docMk/>
            <pc:sldMk cId="326362598" sldId="579"/>
            <ac:spMk id="807" creationId="{6B17833B-654D-8F9D-D27D-998975499230}"/>
          </ac:spMkLst>
        </pc:spChg>
        <pc:spChg chg="mod">
          <ac:chgData name="Marvin Mario Bullinger" userId="S::mmbullin@uwaterloo.ca::3bbe2cfe-6e8b-4ac1-8799-4ce6c696cdc9" providerId="AD" clId="Web-{60147FD2-4866-76B6-3028-7EF3BDFFEC5C}" dt="2024-10-03T20:05:44.502" v="84" actId="20577"/>
          <ac:spMkLst>
            <pc:docMk/>
            <pc:sldMk cId="326362598" sldId="579"/>
            <ac:spMk id="810" creationId="{2CBA4727-7EFA-E68D-392F-D8E68EE9DE2E}"/>
          </ac:spMkLst>
        </pc:spChg>
      </pc:sldChg>
      <pc:sldChg chg="modSp">
        <pc:chgData name="Marvin Mario Bullinger" userId="S::mmbullin@uwaterloo.ca::3bbe2cfe-6e8b-4ac1-8799-4ce6c696cdc9" providerId="AD" clId="Web-{60147FD2-4866-76B6-3028-7EF3BDFFEC5C}" dt="2024-10-03T20:06:44.876" v="102" actId="20577"/>
        <pc:sldMkLst>
          <pc:docMk/>
          <pc:sldMk cId="211836646" sldId="650"/>
        </pc:sldMkLst>
        <pc:spChg chg="mod">
          <ac:chgData name="Marvin Mario Bullinger" userId="S::mmbullin@uwaterloo.ca::3bbe2cfe-6e8b-4ac1-8799-4ce6c696cdc9" providerId="AD" clId="Web-{60147FD2-4866-76B6-3028-7EF3BDFFEC5C}" dt="2024-10-03T20:06:44.876" v="102" actId="20577"/>
          <ac:spMkLst>
            <pc:docMk/>
            <pc:sldMk cId="211836646" sldId="650"/>
            <ac:spMk id="3" creationId="{5FCBC0D3-34F1-52A4-377C-1713CC7AB288}"/>
          </ac:spMkLst>
        </pc:spChg>
      </pc:sldChg>
      <pc:sldChg chg="modSp">
        <pc:chgData name="Marvin Mario Bullinger" userId="S::mmbullin@uwaterloo.ca::3bbe2cfe-6e8b-4ac1-8799-4ce6c696cdc9" providerId="AD" clId="Web-{60147FD2-4866-76B6-3028-7EF3BDFFEC5C}" dt="2024-10-03T20:07:50.923" v="125" actId="20577"/>
        <pc:sldMkLst>
          <pc:docMk/>
          <pc:sldMk cId="1533146030" sldId="651"/>
        </pc:sldMkLst>
        <pc:spChg chg="mod">
          <ac:chgData name="Marvin Mario Bullinger" userId="S::mmbullin@uwaterloo.ca::3bbe2cfe-6e8b-4ac1-8799-4ce6c696cdc9" providerId="AD" clId="Web-{60147FD2-4866-76B6-3028-7EF3BDFFEC5C}" dt="2024-10-03T20:06:00.768" v="98" actId="20577"/>
          <ac:spMkLst>
            <pc:docMk/>
            <pc:sldMk cId="1533146030" sldId="651"/>
            <ac:spMk id="42" creationId="{C7E757C5-03D1-1F7C-8394-C9FB4BCDFB61}"/>
          </ac:spMkLst>
        </pc:spChg>
        <pc:spChg chg="mod">
          <ac:chgData name="Marvin Mario Bullinger" userId="S::mmbullin@uwaterloo.ca::3bbe2cfe-6e8b-4ac1-8799-4ce6c696cdc9" providerId="AD" clId="Web-{60147FD2-4866-76B6-3028-7EF3BDFFEC5C}" dt="2024-10-03T20:07:50.923" v="125" actId="20577"/>
          <ac:spMkLst>
            <pc:docMk/>
            <pc:sldMk cId="1533146030" sldId="651"/>
            <ac:spMk id="44" creationId="{9A0D7DE8-29FE-08C8-D01C-97334E84F4D3}"/>
          </ac:spMkLst>
        </pc:spChg>
      </pc:sldChg>
      <pc:sldChg chg="modSp">
        <pc:chgData name="Marvin Mario Bullinger" userId="S::mmbullin@uwaterloo.ca::3bbe2cfe-6e8b-4ac1-8799-4ce6c696cdc9" providerId="AD" clId="Web-{60147FD2-4866-76B6-3028-7EF3BDFFEC5C}" dt="2024-10-03T20:07:14.032" v="123" actId="20577"/>
        <pc:sldMkLst>
          <pc:docMk/>
          <pc:sldMk cId="1787319496" sldId="652"/>
        </pc:sldMkLst>
        <pc:spChg chg="mod">
          <ac:chgData name="Marvin Mario Bullinger" userId="S::mmbullin@uwaterloo.ca::3bbe2cfe-6e8b-4ac1-8799-4ce6c696cdc9" providerId="AD" clId="Web-{60147FD2-4866-76B6-3028-7EF3BDFFEC5C}" dt="2024-10-03T20:07:14.032" v="123" actId="20577"/>
          <ac:spMkLst>
            <pc:docMk/>
            <pc:sldMk cId="1787319496" sldId="652"/>
            <ac:spMk id="42" creationId="{C7E757C5-03D1-1F7C-8394-C9FB4BCDFB61}"/>
          </ac:spMkLst>
        </pc:spChg>
      </pc:sldChg>
      <pc:sldChg chg="modSp ord">
        <pc:chgData name="Marvin Mario Bullinger" userId="S::mmbullin@uwaterloo.ca::3bbe2cfe-6e8b-4ac1-8799-4ce6c696cdc9" providerId="AD" clId="Web-{60147FD2-4866-76B6-3028-7EF3BDFFEC5C}" dt="2024-10-03T20:14:08.855" v="222" actId="20577"/>
        <pc:sldMkLst>
          <pc:docMk/>
          <pc:sldMk cId="3874982595" sldId="653"/>
        </pc:sldMkLst>
        <pc:spChg chg="mod">
          <ac:chgData name="Marvin Mario Bullinger" userId="S::mmbullin@uwaterloo.ca::3bbe2cfe-6e8b-4ac1-8799-4ce6c696cdc9" providerId="AD" clId="Web-{60147FD2-4866-76B6-3028-7EF3BDFFEC5C}" dt="2024-10-03T20:08:30.922" v="142" actId="20577"/>
          <ac:spMkLst>
            <pc:docMk/>
            <pc:sldMk cId="3874982595" sldId="653"/>
            <ac:spMk id="42" creationId="{C7E757C5-03D1-1F7C-8394-C9FB4BCDFB61}"/>
          </ac:spMkLst>
        </pc:spChg>
        <pc:spChg chg="mod">
          <ac:chgData name="Marvin Mario Bullinger" userId="S::mmbullin@uwaterloo.ca::3bbe2cfe-6e8b-4ac1-8799-4ce6c696cdc9" providerId="AD" clId="Web-{60147FD2-4866-76B6-3028-7EF3BDFFEC5C}" dt="2024-10-03T20:14:08.855" v="222" actId="20577"/>
          <ac:spMkLst>
            <pc:docMk/>
            <pc:sldMk cId="3874982595" sldId="653"/>
            <ac:spMk id="43" creationId="{3896FE4D-A7AE-099B-363F-0C85F0A9502A}"/>
          </ac:spMkLst>
        </pc:spChg>
      </pc:sldChg>
      <pc:sldChg chg="modSp">
        <pc:chgData name="Marvin Mario Bullinger" userId="S::mmbullin@uwaterloo.ca::3bbe2cfe-6e8b-4ac1-8799-4ce6c696cdc9" providerId="AD" clId="Web-{60147FD2-4866-76B6-3028-7EF3BDFFEC5C}" dt="2024-10-03T20:12:44.622" v="190" actId="20577"/>
        <pc:sldMkLst>
          <pc:docMk/>
          <pc:sldMk cId="994611207" sldId="654"/>
        </pc:sldMkLst>
        <pc:spChg chg="mod">
          <ac:chgData name="Marvin Mario Bullinger" userId="S::mmbullin@uwaterloo.ca::3bbe2cfe-6e8b-4ac1-8799-4ce6c696cdc9" providerId="AD" clId="Web-{60147FD2-4866-76B6-3028-7EF3BDFFEC5C}" dt="2024-10-03T20:12:44.622" v="190" actId="20577"/>
          <ac:spMkLst>
            <pc:docMk/>
            <pc:sldMk cId="994611207" sldId="654"/>
            <ac:spMk id="42" creationId="{C7E757C5-03D1-1F7C-8394-C9FB4BCDFB61}"/>
          </ac:spMkLst>
        </pc:spChg>
        <pc:spChg chg="mod">
          <ac:chgData name="Marvin Mario Bullinger" userId="S::mmbullin@uwaterloo.ca::3bbe2cfe-6e8b-4ac1-8799-4ce6c696cdc9" providerId="AD" clId="Web-{60147FD2-4866-76B6-3028-7EF3BDFFEC5C}" dt="2024-10-03T20:09:47.734" v="154" actId="20577"/>
          <ac:spMkLst>
            <pc:docMk/>
            <pc:sldMk cId="994611207" sldId="654"/>
            <ac:spMk id="43" creationId="{3896FE4D-A7AE-099B-363F-0C85F0A9502A}"/>
          </ac:spMkLst>
        </pc:spChg>
      </pc:sldChg>
      <pc:sldChg chg="modSp del">
        <pc:chgData name="Marvin Mario Bullinger" userId="S::mmbullin@uwaterloo.ca::3bbe2cfe-6e8b-4ac1-8799-4ce6c696cdc9" providerId="AD" clId="Web-{60147FD2-4866-76B6-3028-7EF3BDFFEC5C}" dt="2024-10-03T20:13:56.043" v="209"/>
        <pc:sldMkLst>
          <pc:docMk/>
          <pc:sldMk cId="914361629" sldId="655"/>
        </pc:sldMkLst>
        <pc:spChg chg="mod">
          <ac:chgData name="Marvin Mario Bullinger" userId="S::mmbullin@uwaterloo.ca::3bbe2cfe-6e8b-4ac1-8799-4ce6c696cdc9" providerId="AD" clId="Web-{60147FD2-4866-76B6-3028-7EF3BDFFEC5C}" dt="2024-10-03T20:08:44.297" v="148" actId="20577"/>
          <ac:spMkLst>
            <pc:docMk/>
            <pc:sldMk cId="914361629" sldId="655"/>
            <ac:spMk id="42" creationId="{C7E757C5-03D1-1F7C-8394-C9FB4BCDFB61}"/>
          </ac:spMkLst>
        </pc:spChg>
      </pc:sldChg>
      <pc:sldChg chg="add del replId">
        <pc:chgData name="Marvin Mario Bullinger" userId="S::mmbullin@uwaterloo.ca::3bbe2cfe-6e8b-4ac1-8799-4ce6c696cdc9" providerId="AD" clId="Web-{60147FD2-4866-76B6-3028-7EF3BDFFEC5C}" dt="2024-10-03T20:11:27.795" v="167"/>
        <pc:sldMkLst>
          <pc:docMk/>
          <pc:sldMk cId="1110934274" sldId="656"/>
        </pc:sldMkLst>
      </pc:sldChg>
      <pc:sldChg chg="del">
        <pc:chgData name="Marvin Mario Bullinger" userId="S::mmbullin@uwaterloo.ca::3bbe2cfe-6e8b-4ac1-8799-4ce6c696cdc9" providerId="AD" clId="Web-{60147FD2-4866-76B6-3028-7EF3BDFFEC5C}" dt="2024-10-03T20:08:47.953" v="149"/>
        <pc:sldMkLst>
          <pc:docMk/>
          <pc:sldMk cId="4107695891" sldId="656"/>
        </pc:sldMkLst>
      </pc:sldChg>
      <pc:sldChg chg="modSp add replId">
        <pc:chgData name="Marvin Mario Bullinger" userId="S::mmbullin@uwaterloo.ca::3bbe2cfe-6e8b-4ac1-8799-4ce6c696cdc9" providerId="AD" clId="Web-{60147FD2-4866-76B6-3028-7EF3BDFFEC5C}" dt="2024-10-03T20:13:10.216" v="202" actId="20577"/>
        <pc:sldMkLst>
          <pc:docMk/>
          <pc:sldMk cId="1274719457" sldId="657"/>
        </pc:sldMkLst>
        <pc:spChg chg="mod">
          <ac:chgData name="Marvin Mario Bullinger" userId="S::mmbullin@uwaterloo.ca::3bbe2cfe-6e8b-4ac1-8799-4ce6c696cdc9" providerId="AD" clId="Web-{60147FD2-4866-76B6-3028-7EF3BDFFEC5C}" dt="2024-10-03T20:13:10.216" v="202" actId="20577"/>
          <ac:spMkLst>
            <pc:docMk/>
            <pc:sldMk cId="1274719457" sldId="657"/>
            <ac:spMk id="42" creationId="{C7E757C5-03D1-1F7C-8394-C9FB4BCDFB61}"/>
          </ac:spMkLst>
        </pc:spChg>
        <pc:spChg chg="mod">
          <ac:chgData name="Marvin Mario Bullinger" userId="S::mmbullin@uwaterloo.ca::3bbe2cfe-6e8b-4ac1-8799-4ce6c696cdc9" providerId="AD" clId="Web-{60147FD2-4866-76B6-3028-7EF3BDFFEC5C}" dt="2024-10-03T20:11:14.717" v="166" actId="20577"/>
          <ac:spMkLst>
            <pc:docMk/>
            <pc:sldMk cId="1274719457" sldId="657"/>
            <ac:spMk id="43" creationId="{3896FE4D-A7AE-099B-363F-0C85F0A9502A}"/>
          </ac:spMkLst>
        </pc:spChg>
      </pc:sldChg>
      <pc:sldChg chg="add del replId">
        <pc:chgData name="Marvin Mario Bullinger" userId="S::mmbullin@uwaterloo.ca::3bbe2cfe-6e8b-4ac1-8799-4ce6c696cdc9" providerId="AD" clId="Web-{60147FD2-4866-76B6-3028-7EF3BDFFEC5C}" dt="2024-10-03T20:13:54.621" v="208"/>
        <pc:sldMkLst>
          <pc:docMk/>
          <pc:sldMk cId="3720128894" sldId="658"/>
        </pc:sldMkLst>
      </pc:sldChg>
      <pc:sldChg chg="add replId">
        <pc:chgData name="Marvin Mario Bullinger" userId="S::mmbullin@uwaterloo.ca::3bbe2cfe-6e8b-4ac1-8799-4ce6c696cdc9" providerId="AD" clId="Web-{60147FD2-4866-76B6-3028-7EF3BDFFEC5C}" dt="2024-10-03T20:13:31.684" v="204"/>
        <pc:sldMkLst>
          <pc:docMk/>
          <pc:sldMk cId="1819382037" sldId="659"/>
        </pc:sldMkLst>
      </pc:sldChg>
      <pc:sldChg chg="modSp add replId">
        <pc:chgData name="Marvin Mario Bullinger" userId="S::mmbullin@uwaterloo.ca::3bbe2cfe-6e8b-4ac1-8799-4ce6c696cdc9" providerId="AD" clId="Web-{60147FD2-4866-76B6-3028-7EF3BDFFEC5C}" dt="2024-10-03T20:15:18.323" v="229" actId="20577"/>
        <pc:sldMkLst>
          <pc:docMk/>
          <pc:sldMk cId="2135841358" sldId="660"/>
        </pc:sldMkLst>
        <pc:spChg chg="mod">
          <ac:chgData name="Marvin Mario Bullinger" userId="S::mmbullin@uwaterloo.ca::3bbe2cfe-6e8b-4ac1-8799-4ce6c696cdc9" providerId="AD" clId="Web-{60147FD2-4866-76B6-3028-7EF3BDFFEC5C}" dt="2024-10-03T20:15:18.323" v="229" actId="20577"/>
          <ac:spMkLst>
            <pc:docMk/>
            <pc:sldMk cId="2135841358" sldId="660"/>
            <ac:spMk id="43" creationId="{3896FE4D-A7AE-099B-363F-0C85F0A9502A}"/>
          </ac:spMkLst>
        </pc:spChg>
      </pc:sldChg>
      <pc:sldChg chg="add del replId">
        <pc:chgData name="Marvin Mario Bullinger" userId="S::mmbullin@uwaterloo.ca::3bbe2cfe-6e8b-4ac1-8799-4ce6c696cdc9" providerId="AD" clId="Web-{60147FD2-4866-76B6-3028-7EF3BDFFEC5C}" dt="2024-10-03T20:13:32.293" v="206"/>
        <pc:sldMkLst>
          <pc:docMk/>
          <pc:sldMk cId="3046388548" sldId="660"/>
        </pc:sldMkLst>
      </pc:sldChg>
      <pc:sldChg chg="addSp delSp modSp add replId">
        <pc:chgData name="Marvin Mario Bullinger" userId="S::mmbullin@uwaterloo.ca::3bbe2cfe-6e8b-4ac1-8799-4ce6c696cdc9" providerId="AD" clId="Web-{60147FD2-4866-76B6-3028-7EF3BDFFEC5C}" dt="2024-10-03T20:15:42.745" v="241" actId="20577"/>
        <pc:sldMkLst>
          <pc:docMk/>
          <pc:sldMk cId="223390664" sldId="661"/>
        </pc:sldMkLst>
        <pc:spChg chg="add mod">
          <ac:chgData name="Marvin Mario Bullinger" userId="S::mmbullin@uwaterloo.ca::3bbe2cfe-6e8b-4ac1-8799-4ce6c696cdc9" providerId="AD" clId="Web-{60147FD2-4866-76B6-3028-7EF3BDFFEC5C}" dt="2024-10-03T20:15:42.745" v="241" actId="20577"/>
          <ac:spMkLst>
            <pc:docMk/>
            <pc:sldMk cId="223390664" sldId="661"/>
            <ac:spMk id="3" creationId="{60003483-1355-F414-C249-CC5C3C705A89}"/>
          </ac:spMkLst>
        </pc:spChg>
        <pc:spChg chg="del mod">
          <ac:chgData name="Marvin Mario Bullinger" userId="S::mmbullin@uwaterloo.ca::3bbe2cfe-6e8b-4ac1-8799-4ce6c696cdc9" providerId="AD" clId="Web-{60147FD2-4866-76B6-3028-7EF3BDFFEC5C}" dt="2024-10-03T20:15:37.651" v="235"/>
          <ac:spMkLst>
            <pc:docMk/>
            <pc:sldMk cId="223390664" sldId="661"/>
            <ac:spMk id="43" creationId="{3896FE4D-A7AE-099B-363F-0C85F0A9502A}"/>
          </ac:spMkLst>
        </pc:spChg>
      </pc:sldChg>
    </pc:docChg>
  </pc:docChgLst>
  <pc:docChgLst>
    <pc:chgData name="Bullinger, Marvin" userId="5b54ce5a-dc89-476f-af33-5abd75d5b1e8" providerId="ADAL" clId="{43B71669-8A80-4333-9349-B258A9296B49}"/>
    <pc:docChg chg="undo custSel addSld delSld modSld sldOrd modMainMaster modSection replTag">
      <pc:chgData name="Bullinger, Marvin" userId="5b54ce5a-dc89-476f-af33-5abd75d5b1e8" providerId="ADAL" clId="{43B71669-8A80-4333-9349-B258A9296B49}" dt="2024-02-27T17:31:57.444" v="7820"/>
      <pc:docMkLst>
        <pc:docMk/>
      </pc:docMkLst>
      <pc:sldChg chg="ord">
        <pc:chgData name="Bullinger, Marvin" userId="5b54ce5a-dc89-476f-af33-5abd75d5b1e8" providerId="ADAL" clId="{43B71669-8A80-4333-9349-B258A9296B49}" dt="2024-02-27T16:53:49.050" v="3382"/>
        <pc:sldMkLst>
          <pc:docMk/>
          <pc:sldMk cId="3596866202" sldId="258"/>
        </pc:sldMkLst>
      </pc:sldChg>
      <pc:sldChg chg="add del ord">
        <pc:chgData name="Bullinger, Marvin" userId="5b54ce5a-dc89-476f-af33-5abd75d5b1e8" providerId="ADAL" clId="{43B71669-8A80-4333-9349-B258A9296B49}" dt="2024-02-27T16:53:49.050" v="3382"/>
        <pc:sldMkLst>
          <pc:docMk/>
          <pc:sldMk cId="1234127743" sldId="261"/>
        </pc:sldMkLst>
      </pc:sldChg>
      <pc:sldChg chg="addSp delSp modSp mod">
        <pc:chgData name="Bullinger, Marvin" userId="5b54ce5a-dc89-476f-af33-5abd75d5b1e8" providerId="ADAL" clId="{43B71669-8A80-4333-9349-B258A9296B49}" dt="2024-02-27T17:29:00.306" v="7794" actId="1076"/>
        <pc:sldMkLst>
          <pc:docMk/>
          <pc:sldMk cId="3664439336" sldId="262"/>
        </pc:sldMkLst>
        <pc:spChg chg="mod">
          <ac:chgData name="Bullinger, Marvin" userId="5b54ce5a-dc89-476f-af33-5abd75d5b1e8" providerId="ADAL" clId="{43B71669-8A80-4333-9349-B258A9296B49}" dt="2024-02-27T16:38:46.135" v="165" actId="313"/>
          <ac:spMkLst>
            <pc:docMk/>
            <pc:sldMk cId="3664439336" sldId="262"/>
            <ac:spMk id="3" creationId="{3D5704D4-182D-2081-A931-337F4856B6A2}"/>
          </ac:spMkLst>
        </pc:spChg>
        <pc:spChg chg="mod">
          <ac:chgData name="Bullinger, Marvin" userId="5b54ce5a-dc89-476f-af33-5abd75d5b1e8" providerId="ADAL" clId="{43B71669-8A80-4333-9349-B258A9296B49}" dt="2024-02-27T17:29:00.306" v="7794" actId="1076"/>
          <ac:spMkLst>
            <pc:docMk/>
            <pc:sldMk cId="3664439336" sldId="262"/>
            <ac:spMk id="4" creationId="{089CB83A-93F9-438E-BB6E-BC4ECC830B14}"/>
          </ac:spMkLst>
        </pc:spChg>
        <pc:spChg chg="add del mod">
          <ac:chgData name="Bullinger, Marvin" userId="5b54ce5a-dc89-476f-af33-5abd75d5b1e8" providerId="ADAL" clId="{43B71669-8A80-4333-9349-B258A9296B49}" dt="2024-02-27T16:43:47.129" v="239"/>
          <ac:spMkLst>
            <pc:docMk/>
            <pc:sldMk cId="3664439336" sldId="262"/>
            <ac:spMk id="5" creationId="{77CE7CEC-4DA0-3222-4A57-677A829D4285}"/>
          </ac:spMkLst>
        </pc:spChg>
        <pc:spChg chg="mod">
          <ac:chgData name="Bullinger, Marvin" userId="5b54ce5a-dc89-476f-af33-5abd75d5b1e8" providerId="ADAL" clId="{43B71669-8A80-4333-9349-B258A9296B49}" dt="2024-02-27T16:44:14.744" v="242" actId="255"/>
          <ac:spMkLst>
            <pc:docMk/>
            <pc:sldMk cId="3664439336" sldId="262"/>
            <ac:spMk id="8" creationId="{ED4AE48A-C92C-402F-A80C-7319190C2F22}"/>
          </ac:spMkLst>
        </pc:spChg>
        <pc:spChg chg="mod">
          <ac:chgData name="Bullinger, Marvin" userId="5b54ce5a-dc89-476f-af33-5abd75d5b1e8" providerId="ADAL" clId="{43B71669-8A80-4333-9349-B258A9296B49}" dt="2024-02-27T17:28:45.709" v="7792" actId="1076"/>
          <ac:spMkLst>
            <pc:docMk/>
            <pc:sldMk cId="3664439336" sldId="262"/>
            <ac:spMk id="10" creationId="{626D9D8C-9093-4578-9B98-9CD567C49D36}"/>
          </ac:spMkLst>
        </pc:spChg>
        <pc:picChg chg="add mod">
          <ac:chgData name="Bullinger, Marvin" userId="5b54ce5a-dc89-476f-af33-5abd75d5b1e8" providerId="ADAL" clId="{43B71669-8A80-4333-9349-B258A9296B49}" dt="2024-02-27T16:43:47.129" v="239"/>
          <ac:picMkLst>
            <pc:docMk/>
            <pc:sldMk cId="3664439336" sldId="262"/>
            <ac:picMk id="7" creationId="{FE094468-F753-8E8A-24D6-031F72A35AF6}"/>
          </ac:picMkLst>
        </pc:picChg>
        <pc:picChg chg="del">
          <ac:chgData name="Bullinger, Marvin" userId="5b54ce5a-dc89-476f-af33-5abd75d5b1e8" providerId="ADAL" clId="{43B71669-8A80-4333-9349-B258A9296B49}" dt="2024-02-27T16:39:43.940" v="232" actId="478"/>
          <ac:picMkLst>
            <pc:docMk/>
            <pc:sldMk cId="3664439336" sldId="262"/>
            <ac:picMk id="17" creationId="{1D74FCE0-E151-6B0A-6F73-2457DBB85533}"/>
          </ac:picMkLst>
        </pc:picChg>
        <pc:picChg chg="add del mod">
          <ac:chgData name="Bullinger, Marvin" userId="5b54ce5a-dc89-476f-af33-5abd75d5b1e8" providerId="ADAL" clId="{43B71669-8A80-4333-9349-B258A9296B49}" dt="2024-02-27T16:40:41.221" v="236" actId="478"/>
          <ac:picMkLst>
            <pc:docMk/>
            <pc:sldMk cId="3664439336" sldId="262"/>
            <ac:picMk id="2050" creationId="{65520982-953E-EA0E-BFC1-D67A5739FD71}"/>
          </ac:picMkLst>
        </pc:picChg>
      </pc:sldChg>
      <pc:sldChg chg="delSp mod ord">
        <pc:chgData name="Bullinger, Marvin" userId="5b54ce5a-dc89-476f-af33-5abd75d5b1e8" providerId="ADAL" clId="{43B71669-8A80-4333-9349-B258A9296B49}" dt="2024-02-27T17:30:41.360" v="7807" actId="478"/>
        <pc:sldMkLst>
          <pc:docMk/>
          <pc:sldMk cId="2953579200" sldId="264"/>
        </pc:sldMkLst>
        <pc:spChg chg="del">
          <ac:chgData name="Bullinger, Marvin" userId="5b54ce5a-dc89-476f-af33-5abd75d5b1e8" providerId="ADAL" clId="{43B71669-8A80-4333-9349-B258A9296B49}" dt="2024-02-27T17:30:41.360" v="7807" actId="478"/>
          <ac:spMkLst>
            <pc:docMk/>
            <pc:sldMk cId="2953579200" sldId="264"/>
            <ac:spMk id="5" creationId="{DE698519-A4E6-4930-940B-8528958E9CEE}"/>
          </ac:spMkLst>
        </pc:spChg>
      </pc:sldChg>
      <pc:sldChg chg="delSp mod ord">
        <pc:chgData name="Bullinger, Marvin" userId="5b54ce5a-dc89-476f-af33-5abd75d5b1e8" providerId="ADAL" clId="{43B71669-8A80-4333-9349-B258A9296B49}" dt="2024-02-27T17:30:44.391" v="7808" actId="478"/>
        <pc:sldMkLst>
          <pc:docMk/>
          <pc:sldMk cId="3656611490" sldId="265"/>
        </pc:sldMkLst>
        <pc:spChg chg="del">
          <ac:chgData name="Bullinger, Marvin" userId="5b54ce5a-dc89-476f-af33-5abd75d5b1e8" providerId="ADAL" clId="{43B71669-8A80-4333-9349-B258A9296B49}" dt="2024-02-27T17:30:44.391" v="7808" actId="478"/>
          <ac:spMkLst>
            <pc:docMk/>
            <pc:sldMk cId="3656611490" sldId="265"/>
            <ac:spMk id="5" creationId="{9D4976C9-587A-41B5-AAA8-4B0B57531B23}"/>
          </ac:spMkLst>
        </pc:spChg>
      </pc:sldChg>
      <pc:sldChg chg="delSp modSp mod ord">
        <pc:chgData name="Bullinger, Marvin" userId="5b54ce5a-dc89-476f-af33-5abd75d5b1e8" providerId="ADAL" clId="{43B71669-8A80-4333-9349-B258A9296B49}" dt="2024-02-27T17:30:59.193" v="7812" actId="478"/>
        <pc:sldMkLst>
          <pc:docMk/>
          <pc:sldMk cId="3814452180" sldId="266"/>
        </pc:sldMkLst>
        <pc:spChg chg="del mod">
          <ac:chgData name="Bullinger, Marvin" userId="5b54ce5a-dc89-476f-af33-5abd75d5b1e8" providerId="ADAL" clId="{43B71669-8A80-4333-9349-B258A9296B49}" dt="2024-02-27T17:30:59.193" v="7812" actId="478"/>
          <ac:spMkLst>
            <pc:docMk/>
            <pc:sldMk cId="3814452180" sldId="266"/>
            <ac:spMk id="5" creationId="{760CB0AE-D4AC-4ED8-B741-8A8C36B5E85D}"/>
          </ac:spMkLst>
        </pc:spChg>
      </pc:sldChg>
      <pc:sldChg chg="ord">
        <pc:chgData name="Bullinger, Marvin" userId="5b54ce5a-dc89-476f-af33-5abd75d5b1e8" providerId="ADAL" clId="{43B71669-8A80-4333-9349-B258A9296B49}" dt="2024-02-27T16:53:49.050" v="3382"/>
        <pc:sldMkLst>
          <pc:docMk/>
          <pc:sldMk cId="304157022" sldId="540"/>
        </pc:sldMkLst>
      </pc:sldChg>
      <pc:sldChg chg="ord">
        <pc:chgData name="Bullinger, Marvin" userId="5b54ce5a-dc89-476f-af33-5abd75d5b1e8" providerId="ADAL" clId="{43B71669-8A80-4333-9349-B258A9296B49}" dt="2024-02-27T16:53:49.050" v="3382"/>
        <pc:sldMkLst>
          <pc:docMk/>
          <pc:sldMk cId="4137227083" sldId="541"/>
        </pc:sldMkLst>
      </pc:sldChg>
      <pc:sldChg chg="delSp mod ord">
        <pc:chgData name="Bullinger, Marvin" userId="5b54ce5a-dc89-476f-af33-5abd75d5b1e8" providerId="ADAL" clId="{43B71669-8A80-4333-9349-B258A9296B49}" dt="2024-02-27T17:30:48.034" v="7809" actId="478"/>
        <pc:sldMkLst>
          <pc:docMk/>
          <pc:sldMk cId="3450439991" sldId="547"/>
        </pc:sldMkLst>
        <pc:spChg chg="del">
          <ac:chgData name="Bullinger, Marvin" userId="5b54ce5a-dc89-476f-af33-5abd75d5b1e8" providerId="ADAL" clId="{43B71669-8A80-4333-9349-B258A9296B49}" dt="2024-02-27T17:30:48.034" v="7809" actId="478"/>
          <ac:spMkLst>
            <pc:docMk/>
            <pc:sldMk cId="3450439991" sldId="547"/>
            <ac:spMk id="5" creationId="{F6C103A1-465A-4964-8BE2-7D25F2F3C505}"/>
          </ac:spMkLst>
        </pc:spChg>
      </pc:sldChg>
      <pc:sldChg chg="delSp mod ord">
        <pc:chgData name="Bullinger, Marvin" userId="5b54ce5a-dc89-476f-af33-5abd75d5b1e8" providerId="ADAL" clId="{43B71669-8A80-4333-9349-B258A9296B49}" dt="2024-02-27T17:31:01.618" v="7813" actId="478"/>
        <pc:sldMkLst>
          <pc:docMk/>
          <pc:sldMk cId="4287890113" sldId="549"/>
        </pc:sldMkLst>
        <pc:spChg chg="del">
          <ac:chgData name="Bullinger, Marvin" userId="5b54ce5a-dc89-476f-af33-5abd75d5b1e8" providerId="ADAL" clId="{43B71669-8A80-4333-9349-B258A9296B49}" dt="2024-02-27T17:31:01.618" v="7813" actId="478"/>
          <ac:spMkLst>
            <pc:docMk/>
            <pc:sldMk cId="4287890113" sldId="549"/>
            <ac:spMk id="5" creationId="{417B62E6-9ADD-DFF1-6FC6-6C906A701AD3}"/>
          </ac:spMkLst>
        </pc:spChg>
      </pc:sldChg>
      <pc:sldChg chg="ord">
        <pc:chgData name="Bullinger, Marvin" userId="5b54ce5a-dc89-476f-af33-5abd75d5b1e8" providerId="ADAL" clId="{43B71669-8A80-4333-9349-B258A9296B49}" dt="2024-02-27T16:53:49.050" v="3382"/>
        <pc:sldMkLst>
          <pc:docMk/>
          <pc:sldMk cId="576951194" sldId="551"/>
        </pc:sldMkLst>
      </pc:sldChg>
      <pc:sldChg chg="ord">
        <pc:chgData name="Bullinger, Marvin" userId="5b54ce5a-dc89-476f-af33-5abd75d5b1e8" providerId="ADAL" clId="{43B71669-8A80-4333-9349-B258A9296B49}" dt="2024-02-27T16:53:49.050" v="3382"/>
        <pc:sldMkLst>
          <pc:docMk/>
          <pc:sldMk cId="2820078257" sldId="552"/>
        </pc:sldMkLst>
      </pc:sldChg>
      <pc:sldChg chg="ord">
        <pc:chgData name="Bullinger, Marvin" userId="5b54ce5a-dc89-476f-af33-5abd75d5b1e8" providerId="ADAL" clId="{43B71669-8A80-4333-9349-B258A9296B49}" dt="2024-02-27T16:53:49.050" v="3382"/>
        <pc:sldMkLst>
          <pc:docMk/>
          <pc:sldMk cId="1433165054" sldId="553"/>
        </pc:sldMkLst>
      </pc:sldChg>
      <pc:sldChg chg="ord">
        <pc:chgData name="Bullinger, Marvin" userId="5b54ce5a-dc89-476f-af33-5abd75d5b1e8" providerId="ADAL" clId="{43B71669-8A80-4333-9349-B258A9296B49}" dt="2024-02-27T16:53:49.050" v="3382"/>
        <pc:sldMkLst>
          <pc:docMk/>
          <pc:sldMk cId="3604157687" sldId="554"/>
        </pc:sldMkLst>
      </pc:sldChg>
      <pc:sldChg chg="ord">
        <pc:chgData name="Bullinger, Marvin" userId="5b54ce5a-dc89-476f-af33-5abd75d5b1e8" providerId="ADAL" clId="{43B71669-8A80-4333-9349-B258A9296B49}" dt="2024-02-27T16:53:49.050" v="3382"/>
        <pc:sldMkLst>
          <pc:docMk/>
          <pc:sldMk cId="1915366194" sldId="555"/>
        </pc:sldMkLst>
      </pc:sldChg>
      <pc:sldChg chg="ord">
        <pc:chgData name="Bullinger, Marvin" userId="5b54ce5a-dc89-476f-af33-5abd75d5b1e8" providerId="ADAL" clId="{43B71669-8A80-4333-9349-B258A9296B49}" dt="2024-02-27T16:53:49.050" v="3382"/>
        <pc:sldMkLst>
          <pc:docMk/>
          <pc:sldMk cId="3168591151" sldId="556"/>
        </pc:sldMkLst>
      </pc:sldChg>
      <pc:sldChg chg="ord">
        <pc:chgData name="Bullinger, Marvin" userId="5b54ce5a-dc89-476f-af33-5abd75d5b1e8" providerId="ADAL" clId="{43B71669-8A80-4333-9349-B258A9296B49}" dt="2024-02-27T16:53:49.050" v="3382"/>
        <pc:sldMkLst>
          <pc:docMk/>
          <pc:sldMk cId="4124692515" sldId="557"/>
        </pc:sldMkLst>
      </pc:sldChg>
      <pc:sldChg chg="ord">
        <pc:chgData name="Bullinger, Marvin" userId="5b54ce5a-dc89-476f-af33-5abd75d5b1e8" providerId="ADAL" clId="{43B71669-8A80-4333-9349-B258A9296B49}" dt="2024-02-27T16:53:49.050" v="3382"/>
        <pc:sldMkLst>
          <pc:docMk/>
          <pc:sldMk cId="719841652" sldId="558"/>
        </pc:sldMkLst>
      </pc:sldChg>
      <pc:sldChg chg="ord">
        <pc:chgData name="Bullinger, Marvin" userId="5b54ce5a-dc89-476f-af33-5abd75d5b1e8" providerId="ADAL" clId="{43B71669-8A80-4333-9349-B258A9296B49}" dt="2024-02-27T16:53:49.050" v="3382"/>
        <pc:sldMkLst>
          <pc:docMk/>
          <pc:sldMk cId="4188208450" sldId="559"/>
        </pc:sldMkLst>
      </pc:sldChg>
      <pc:sldChg chg="ord">
        <pc:chgData name="Bullinger, Marvin" userId="5b54ce5a-dc89-476f-af33-5abd75d5b1e8" providerId="ADAL" clId="{43B71669-8A80-4333-9349-B258A9296B49}" dt="2024-02-27T16:53:49.050" v="3382"/>
        <pc:sldMkLst>
          <pc:docMk/>
          <pc:sldMk cId="789104344" sldId="560"/>
        </pc:sldMkLst>
      </pc:sldChg>
      <pc:sldChg chg="ord">
        <pc:chgData name="Bullinger, Marvin" userId="5b54ce5a-dc89-476f-af33-5abd75d5b1e8" providerId="ADAL" clId="{43B71669-8A80-4333-9349-B258A9296B49}" dt="2024-02-27T16:53:49.050" v="3382"/>
        <pc:sldMkLst>
          <pc:docMk/>
          <pc:sldMk cId="599911799" sldId="561"/>
        </pc:sldMkLst>
      </pc:sldChg>
      <pc:sldChg chg="ord">
        <pc:chgData name="Bullinger, Marvin" userId="5b54ce5a-dc89-476f-af33-5abd75d5b1e8" providerId="ADAL" clId="{43B71669-8A80-4333-9349-B258A9296B49}" dt="2024-02-27T16:53:49.050" v="3382"/>
        <pc:sldMkLst>
          <pc:docMk/>
          <pc:sldMk cId="2083976492" sldId="562"/>
        </pc:sldMkLst>
      </pc:sldChg>
      <pc:sldChg chg="ord">
        <pc:chgData name="Bullinger, Marvin" userId="5b54ce5a-dc89-476f-af33-5abd75d5b1e8" providerId="ADAL" clId="{43B71669-8A80-4333-9349-B258A9296B49}" dt="2024-02-27T16:53:49.050" v="3382"/>
        <pc:sldMkLst>
          <pc:docMk/>
          <pc:sldMk cId="1390316162" sldId="563"/>
        </pc:sldMkLst>
      </pc:sldChg>
      <pc:sldChg chg="ord">
        <pc:chgData name="Bullinger, Marvin" userId="5b54ce5a-dc89-476f-af33-5abd75d5b1e8" providerId="ADAL" clId="{43B71669-8A80-4333-9349-B258A9296B49}" dt="2024-02-27T16:53:49.050" v="3382"/>
        <pc:sldMkLst>
          <pc:docMk/>
          <pc:sldMk cId="1340428863" sldId="564"/>
        </pc:sldMkLst>
      </pc:sldChg>
      <pc:sldChg chg="ord">
        <pc:chgData name="Bullinger, Marvin" userId="5b54ce5a-dc89-476f-af33-5abd75d5b1e8" providerId="ADAL" clId="{43B71669-8A80-4333-9349-B258A9296B49}" dt="2024-02-27T16:53:49.050" v="3382"/>
        <pc:sldMkLst>
          <pc:docMk/>
          <pc:sldMk cId="1496753174" sldId="566"/>
        </pc:sldMkLst>
      </pc:sldChg>
      <pc:sldChg chg="ord">
        <pc:chgData name="Bullinger, Marvin" userId="5b54ce5a-dc89-476f-af33-5abd75d5b1e8" providerId="ADAL" clId="{43B71669-8A80-4333-9349-B258A9296B49}" dt="2024-02-27T16:53:49.050" v="3382"/>
        <pc:sldMkLst>
          <pc:docMk/>
          <pc:sldMk cId="2695844911" sldId="567"/>
        </pc:sldMkLst>
      </pc:sldChg>
      <pc:sldChg chg="ord">
        <pc:chgData name="Bullinger, Marvin" userId="5b54ce5a-dc89-476f-af33-5abd75d5b1e8" providerId="ADAL" clId="{43B71669-8A80-4333-9349-B258A9296B49}" dt="2024-02-27T16:53:49.050" v="3382"/>
        <pc:sldMkLst>
          <pc:docMk/>
          <pc:sldMk cId="382819080" sldId="568"/>
        </pc:sldMkLst>
      </pc:sldChg>
      <pc:sldChg chg="ord">
        <pc:chgData name="Bullinger, Marvin" userId="5b54ce5a-dc89-476f-af33-5abd75d5b1e8" providerId="ADAL" clId="{43B71669-8A80-4333-9349-B258A9296B49}" dt="2024-02-27T16:53:49.050" v="3382"/>
        <pc:sldMkLst>
          <pc:docMk/>
          <pc:sldMk cId="1525964500" sldId="569"/>
        </pc:sldMkLst>
      </pc:sldChg>
      <pc:sldChg chg="ord">
        <pc:chgData name="Bullinger, Marvin" userId="5b54ce5a-dc89-476f-af33-5abd75d5b1e8" providerId="ADAL" clId="{43B71669-8A80-4333-9349-B258A9296B49}" dt="2024-02-27T16:53:49.050" v="3382"/>
        <pc:sldMkLst>
          <pc:docMk/>
          <pc:sldMk cId="344116882" sldId="570"/>
        </pc:sldMkLst>
      </pc:sldChg>
      <pc:sldChg chg="ord">
        <pc:chgData name="Bullinger, Marvin" userId="5b54ce5a-dc89-476f-af33-5abd75d5b1e8" providerId="ADAL" clId="{43B71669-8A80-4333-9349-B258A9296B49}" dt="2024-02-27T16:53:49.050" v="3382"/>
        <pc:sldMkLst>
          <pc:docMk/>
          <pc:sldMk cId="1413071935" sldId="572"/>
        </pc:sldMkLst>
      </pc:sldChg>
      <pc:sldChg chg="ord">
        <pc:chgData name="Bullinger, Marvin" userId="5b54ce5a-dc89-476f-af33-5abd75d5b1e8" providerId="ADAL" clId="{43B71669-8A80-4333-9349-B258A9296B49}" dt="2024-02-27T16:53:49.050" v="3382"/>
        <pc:sldMkLst>
          <pc:docMk/>
          <pc:sldMk cId="240855694" sldId="573"/>
        </pc:sldMkLst>
      </pc:sldChg>
      <pc:sldChg chg="addSp delSp modSp add del mod ord modTransition">
        <pc:chgData name="Bullinger, Marvin" userId="5b54ce5a-dc89-476f-af33-5abd75d5b1e8" providerId="ADAL" clId="{43B71669-8A80-4333-9349-B258A9296B49}" dt="2024-02-27T17:27:36.114" v="6826" actId="2696"/>
        <pc:sldMkLst>
          <pc:docMk/>
          <pc:sldMk cId="1341913498" sldId="578"/>
        </pc:sldMkLst>
        <pc:spChg chg="mod">
          <ac:chgData name="Bullinger, Marvin" userId="5b54ce5a-dc89-476f-af33-5abd75d5b1e8" providerId="ADAL" clId="{43B71669-8A80-4333-9349-B258A9296B49}" dt="2024-02-27T16:53:49.050" v="3382"/>
          <ac:spMkLst>
            <pc:docMk/>
            <pc:sldMk cId="1341913498" sldId="578"/>
            <ac:spMk id="26" creationId="{27536A44-3109-2DE4-BDE6-C83BC5ADE518}"/>
          </ac:spMkLst>
        </pc:spChg>
        <pc:spChg chg="mod">
          <ac:chgData name="Bullinger, Marvin" userId="5b54ce5a-dc89-476f-af33-5abd75d5b1e8" providerId="ADAL" clId="{43B71669-8A80-4333-9349-B258A9296B49}" dt="2024-02-27T16:53:49.050" v="3382"/>
          <ac:spMkLst>
            <pc:docMk/>
            <pc:sldMk cId="1341913498" sldId="578"/>
            <ac:spMk id="27" creationId="{854DB094-40F6-EE66-9104-4076EF43487F}"/>
          </ac:spMkLst>
        </pc:spChg>
        <pc:spChg chg="del">
          <ac:chgData name="Bullinger, Marvin" userId="5b54ce5a-dc89-476f-af33-5abd75d5b1e8" providerId="ADAL" clId="{43B71669-8A80-4333-9349-B258A9296B49}" dt="2024-02-27T16:45:49.981" v="373" actId="478"/>
          <ac:spMkLst>
            <pc:docMk/>
            <pc:sldMk cId="1341913498" sldId="578"/>
            <ac:spMk id="192" creationId="{BC968EE0-AD59-5B49-2D95-59AE125F3A0F}"/>
          </ac:spMkLst>
        </pc:spChg>
        <pc:spChg chg="del">
          <ac:chgData name="Bullinger, Marvin" userId="5b54ce5a-dc89-476f-af33-5abd75d5b1e8" providerId="ADAL" clId="{43B71669-8A80-4333-9349-B258A9296B49}" dt="2024-02-27T16:45:49.981" v="372" actId="478"/>
          <ac:spMkLst>
            <pc:docMk/>
            <pc:sldMk cId="1341913498" sldId="578"/>
            <ac:spMk id="193" creationId="{9C8ACE81-57C2-929B-B4D8-7292222E4487}"/>
          </ac:spMkLst>
        </pc:spChg>
        <pc:spChg chg="del">
          <ac:chgData name="Bullinger, Marvin" userId="5b54ce5a-dc89-476f-af33-5abd75d5b1e8" providerId="ADAL" clId="{43B71669-8A80-4333-9349-B258A9296B49}" dt="2024-02-27T16:45:49.979" v="371" actId="478"/>
          <ac:spMkLst>
            <pc:docMk/>
            <pc:sldMk cId="1341913498" sldId="578"/>
            <ac:spMk id="194" creationId="{8C16B391-3AF5-0EE2-F335-47BCB028F676}"/>
          </ac:spMkLst>
        </pc:spChg>
        <pc:spChg chg="del">
          <ac:chgData name="Bullinger, Marvin" userId="5b54ce5a-dc89-476f-af33-5abd75d5b1e8" providerId="ADAL" clId="{43B71669-8A80-4333-9349-B258A9296B49}" dt="2024-02-27T16:45:49.979" v="370" actId="478"/>
          <ac:spMkLst>
            <pc:docMk/>
            <pc:sldMk cId="1341913498" sldId="578"/>
            <ac:spMk id="195" creationId="{10711BED-EEA8-22BE-4C9E-6C64E1470256}"/>
          </ac:spMkLst>
        </pc:spChg>
        <pc:spChg chg="del">
          <ac:chgData name="Bullinger, Marvin" userId="5b54ce5a-dc89-476f-af33-5abd75d5b1e8" providerId="ADAL" clId="{43B71669-8A80-4333-9349-B258A9296B49}" dt="2024-02-27T16:45:49.979" v="369" actId="478"/>
          <ac:spMkLst>
            <pc:docMk/>
            <pc:sldMk cId="1341913498" sldId="578"/>
            <ac:spMk id="196" creationId="{BBFB6278-8BC3-A3A9-151D-F784C1B8007A}"/>
          </ac:spMkLst>
        </pc:spChg>
        <pc:spChg chg="del">
          <ac:chgData name="Bullinger, Marvin" userId="5b54ce5a-dc89-476f-af33-5abd75d5b1e8" providerId="ADAL" clId="{43B71669-8A80-4333-9349-B258A9296B49}" dt="2024-02-27T16:45:49.978" v="366" actId="478"/>
          <ac:spMkLst>
            <pc:docMk/>
            <pc:sldMk cId="1341913498" sldId="578"/>
            <ac:spMk id="197" creationId="{964F10CA-61F5-2CE8-FC91-7FBF58828921}"/>
          </ac:spMkLst>
        </pc:spChg>
        <pc:spChg chg="del">
          <ac:chgData name="Bullinger, Marvin" userId="5b54ce5a-dc89-476f-af33-5abd75d5b1e8" providerId="ADAL" clId="{43B71669-8A80-4333-9349-B258A9296B49}" dt="2024-02-27T16:45:49.977" v="365" actId="478"/>
          <ac:spMkLst>
            <pc:docMk/>
            <pc:sldMk cId="1341913498" sldId="578"/>
            <ac:spMk id="198" creationId="{B0BB5C55-D134-0AAD-6F7D-650DB3D7A69C}"/>
          </ac:spMkLst>
        </pc:spChg>
        <pc:spChg chg="del">
          <ac:chgData name="Bullinger, Marvin" userId="5b54ce5a-dc89-476f-af33-5abd75d5b1e8" providerId="ADAL" clId="{43B71669-8A80-4333-9349-B258A9296B49}" dt="2024-02-27T16:45:49.958" v="338" actId="478"/>
          <ac:spMkLst>
            <pc:docMk/>
            <pc:sldMk cId="1341913498" sldId="578"/>
            <ac:spMk id="199" creationId="{14C9AA2D-36B0-A3A2-2085-F636D042B9A7}"/>
          </ac:spMkLst>
        </pc:spChg>
        <pc:spChg chg="del">
          <ac:chgData name="Bullinger, Marvin" userId="5b54ce5a-dc89-476f-af33-5abd75d5b1e8" providerId="ADAL" clId="{43B71669-8A80-4333-9349-B258A9296B49}" dt="2024-02-27T16:45:49.977" v="364" actId="478"/>
          <ac:spMkLst>
            <pc:docMk/>
            <pc:sldMk cId="1341913498" sldId="578"/>
            <ac:spMk id="200" creationId="{1E30BAFB-7575-18C4-7086-73CDDA9E9ECE}"/>
          </ac:spMkLst>
        </pc:spChg>
        <pc:spChg chg="del">
          <ac:chgData name="Bullinger, Marvin" userId="5b54ce5a-dc89-476f-af33-5abd75d5b1e8" providerId="ADAL" clId="{43B71669-8A80-4333-9349-B258A9296B49}" dt="2024-02-27T16:45:49.976" v="363" actId="478"/>
          <ac:spMkLst>
            <pc:docMk/>
            <pc:sldMk cId="1341913498" sldId="578"/>
            <ac:spMk id="201" creationId="{91445586-0627-2CC0-D692-11CB9522C547}"/>
          </ac:spMkLst>
        </pc:spChg>
        <pc:spChg chg="del">
          <ac:chgData name="Bullinger, Marvin" userId="5b54ce5a-dc89-476f-af33-5abd75d5b1e8" providerId="ADAL" clId="{43B71669-8A80-4333-9349-B258A9296B49}" dt="2024-02-27T16:45:49.976" v="362" actId="478"/>
          <ac:spMkLst>
            <pc:docMk/>
            <pc:sldMk cId="1341913498" sldId="578"/>
            <ac:spMk id="202" creationId="{CC6A1979-FB43-860B-B243-EE02A2492E0B}"/>
          </ac:spMkLst>
        </pc:spChg>
        <pc:spChg chg="del">
          <ac:chgData name="Bullinger, Marvin" userId="5b54ce5a-dc89-476f-af33-5abd75d5b1e8" providerId="ADAL" clId="{43B71669-8A80-4333-9349-B258A9296B49}" dt="2024-02-27T16:45:49.976" v="361" actId="478"/>
          <ac:spMkLst>
            <pc:docMk/>
            <pc:sldMk cId="1341913498" sldId="578"/>
            <ac:spMk id="203" creationId="{3FF61AA5-95E0-727C-0255-926EF779858F}"/>
          </ac:spMkLst>
        </pc:spChg>
        <pc:spChg chg="del">
          <ac:chgData name="Bullinger, Marvin" userId="5b54ce5a-dc89-476f-af33-5abd75d5b1e8" providerId="ADAL" clId="{43B71669-8A80-4333-9349-B258A9296B49}" dt="2024-02-27T16:45:49.981" v="382" actId="478"/>
          <ac:spMkLst>
            <pc:docMk/>
            <pc:sldMk cId="1341913498" sldId="578"/>
            <ac:spMk id="204" creationId="{48711085-00BF-C7A8-DFB9-31E17F2B78A5}"/>
          </ac:spMkLst>
        </pc:spChg>
        <pc:spChg chg="del">
          <ac:chgData name="Bullinger, Marvin" userId="5b54ce5a-dc89-476f-af33-5abd75d5b1e8" providerId="ADAL" clId="{43B71669-8A80-4333-9349-B258A9296B49}" dt="2024-02-27T16:45:49.981" v="381" actId="478"/>
          <ac:spMkLst>
            <pc:docMk/>
            <pc:sldMk cId="1341913498" sldId="578"/>
            <ac:spMk id="205" creationId="{506B9F53-257D-14A3-9C93-413FCDD14560}"/>
          </ac:spMkLst>
        </pc:spChg>
        <pc:spChg chg="del">
          <ac:chgData name="Bullinger, Marvin" userId="5b54ce5a-dc89-476f-af33-5abd75d5b1e8" providerId="ADAL" clId="{43B71669-8A80-4333-9349-B258A9296B49}" dt="2024-02-27T16:45:49.981" v="380" actId="478"/>
          <ac:spMkLst>
            <pc:docMk/>
            <pc:sldMk cId="1341913498" sldId="578"/>
            <ac:spMk id="206" creationId="{D19BB6EF-BBB6-43FC-8612-BDFB20491F09}"/>
          </ac:spMkLst>
        </pc:spChg>
        <pc:spChg chg="del">
          <ac:chgData name="Bullinger, Marvin" userId="5b54ce5a-dc89-476f-af33-5abd75d5b1e8" providerId="ADAL" clId="{43B71669-8A80-4333-9349-B258A9296B49}" dt="2024-02-27T16:45:49.981" v="379" actId="478"/>
          <ac:spMkLst>
            <pc:docMk/>
            <pc:sldMk cId="1341913498" sldId="578"/>
            <ac:spMk id="207" creationId="{71876BA4-6831-B474-9CED-E7937F9A4929}"/>
          </ac:spMkLst>
        </pc:spChg>
        <pc:spChg chg="del">
          <ac:chgData name="Bullinger, Marvin" userId="5b54ce5a-dc89-476f-af33-5abd75d5b1e8" providerId="ADAL" clId="{43B71669-8A80-4333-9349-B258A9296B49}" dt="2024-02-27T16:45:49.981" v="378" actId="478"/>
          <ac:spMkLst>
            <pc:docMk/>
            <pc:sldMk cId="1341913498" sldId="578"/>
            <ac:spMk id="208" creationId="{E720E6A6-00C8-E682-2575-D30499F98CC9}"/>
          </ac:spMkLst>
        </pc:spChg>
        <pc:spChg chg="del">
          <ac:chgData name="Bullinger, Marvin" userId="5b54ce5a-dc89-476f-af33-5abd75d5b1e8" providerId="ADAL" clId="{43B71669-8A80-4333-9349-B258A9296B49}" dt="2024-02-27T16:45:49.981" v="377" actId="478"/>
          <ac:spMkLst>
            <pc:docMk/>
            <pc:sldMk cId="1341913498" sldId="578"/>
            <ac:spMk id="209" creationId="{E0531BE0-93D5-E2F8-A59E-E351791CB66E}"/>
          </ac:spMkLst>
        </pc:spChg>
        <pc:spChg chg="del">
          <ac:chgData name="Bullinger, Marvin" userId="5b54ce5a-dc89-476f-af33-5abd75d5b1e8" providerId="ADAL" clId="{43B71669-8A80-4333-9349-B258A9296B49}" dt="2024-02-27T16:45:49.981" v="376" actId="478"/>
          <ac:spMkLst>
            <pc:docMk/>
            <pc:sldMk cId="1341913498" sldId="578"/>
            <ac:spMk id="210" creationId="{54F7A376-CD5A-10D6-16C4-6E596A8E9EE3}"/>
          </ac:spMkLst>
        </pc:spChg>
        <pc:spChg chg="del">
          <ac:chgData name="Bullinger, Marvin" userId="5b54ce5a-dc89-476f-af33-5abd75d5b1e8" providerId="ADAL" clId="{43B71669-8A80-4333-9349-B258A9296B49}" dt="2024-02-27T16:45:49.981" v="375" actId="478"/>
          <ac:spMkLst>
            <pc:docMk/>
            <pc:sldMk cId="1341913498" sldId="578"/>
            <ac:spMk id="211" creationId="{EEB5F002-8928-0280-D011-32C6917EDC67}"/>
          </ac:spMkLst>
        </pc:spChg>
        <pc:spChg chg="del">
          <ac:chgData name="Bullinger, Marvin" userId="5b54ce5a-dc89-476f-af33-5abd75d5b1e8" providerId="ADAL" clId="{43B71669-8A80-4333-9349-B258A9296B49}" dt="2024-02-27T16:45:49.978" v="367" actId="478"/>
          <ac:spMkLst>
            <pc:docMk/>
            <pc:sldMk cId="1341913498" sldId="578"/>
            <ac:spMk id="212" creationId="{65F6BB3C-602F-A4EC-64A2-4E18BC42EDBA}"/>
          </ac:spMkLst>
        </pc:spChg>
        <pc:spChg chg="del">
          <ac:chgData name="Bullinger, Marvin" userId="5b54ce5a-dc89-476f-af33-5abd75d5b1e8" providerId="ADAL" clId="{43B71669-8A80-4333-9349-B258A9296B49}" dt="2024-02-27T16:45:49.975" v="360" actId="478"/>
          <ac:spMkLst>
            <pc:docMk/>
            <pc:sldMk cId="1341913498" sldId="578"/>
            <ac:spMk id="213" creationId="{81CA6B12-AC15-D863-9CBA-52447F548B45}"/>
          </ac:spMkLst>
        </pc:spChg>
        <pc:spChg chg="del">
          <ac:chgData name="Bullinger, Marvin" userId="5b54ce5a-dc89-476f-af33-5abd75d5b1e8" providerId="ADAL" clId="{43B71669-8A80-4333-9349-B258A9296B49}" dt="2024-02-27T16:45:49.978" v="368" actId="478"/>
          <ac:spMkLst>
            <pc:docMk/>
            <pc:sldMk cId="1341913498" sldId="578"/>
            <ac:spMk id="214" creationId="{569B7174-1B5F-5F53-E500-C8DC465FB1AD}"/>
          </ac:spMkLst>
        </pc:spChg>
        <pc:spChg chg="del">
          <ac:chgData name="Bullinger, Marvin" userId="5b54ce5a-dc89-476f-af33-5abd75d5b1e8" providerId="ADAL" clId="{43B71669-8A80-4333-9349-B258A9296B49}" dt="2024-02-27T16:45:49.975" v="359" actId="478"/>
          <ac:spMkLst>
            <pc:docMk/>
            <pc:sldMk cId="1341913498" sldId="578"/>
            <ac:spMk id="215" creationId="{4C0CD87D-D116-FF0C-BB00-FD73AD5C28EF}"/>
          </ac:spMkLst>
        </pc:spChg>
        <pc:spChg chg="del">
          <ac:chgData name="Bullinger, Marvin" userId="5b54ce5a-dc89-476f-af33-5abd75d5b1e8" providerId="ADAL" clId="{43B71669-8A80-4333-9349-B258A9296B49}" dt="2024-02-27T16:45:49.975" v="358" actId="478"/>
          <ac:spMkLst>
            <pc:docMk/>
            <pc:sldMk cId="1341913498" sldId="578"/>
            <ac:spMk id="216" creationId="{58F2273C-8B99-0B2E-D030-30BEF765EA2C}"/>
          </ac:spMkLst>
        </pc:spChg>
        <pc:spChg chg="del">
          <ac:chgData name="Bullinger, Marvin" userId="5b54ce5a-dc89-476f-af33-5abd75d5b1e8" providerId="ADAL" clId="{43B71669-8A80-4333-9349-B258A9296B49}" dt="2024-02-27T16:45:49.974" v="357" actId="478"/>
          <ac:spMkLst>
            <pc:docMk/>
            <pc:sldMk cId="1341913498" sldId="578"/>
            <ac:spMk id="217" creationId="{00FA04E9-6301-7E18-80F1-3E583AA85109}"/>
          </ac:spMkLst>
        </pc:spChg>
        <pc:spChg chg="del">
          <ac:chgData name="Bullinger, Marvin" userId="5b54ce5a-dc89-476f-af33-5abd75d5b1e8" providerId="ADAL" clId="{43B71669-8A80-4333-9349-B258A9296B49}" dt="2024-02-27T16:45:49.974" v="356" actId="478"/>
          <ac:spMkLst>
            <pc:docMk/>
            <pc:sldMk cId="1341913498" sldId="578"/>
            <ac:spMk id="218" creationId="{4F1589E7-166E-632B-B2D4-741D8A1EE8F1}"/>
          </ac:spMkLst>
        </pc:spChg>
        <pc:spChg chg="del">
          <ac:chgData name="Bullinger, Marvin" userId="5b54ce5a-dc89-476f-af33-5abd75d5b1e8" providerId="ADAL" clId="{43B71669-8A80-4333-9349-B258A9296B49}" dt="2024-02-27T16:45:49.974" v="355" actId="478"/>
          <ac:spMkLst>
            <pc:docMk/>
            <pc:sldMk cId="1341913498" sldId="578"/>
            <ac:spMk id="219" creationId="{B56131E9-DCB2-2215-1500-19AE471B9671}"/>
          </ac:spMkLst>
        </pc:spChg>
        <pc:spChg chg="del">
          <ac:chgData name="Bullinger, Marvin" userId="5b54ce5a-dc89-476f-af33-5abd75d5b1e8" providerId="ADAL" clId="{43B71669-8A80-4333-9349-B258A9296B49}" dt="2024-02-27T16:45:49.974" v="354" actId="478"/>
          <ac:spMkLst>
            <pc:docMk/>
            <pc:sldMk cId="1341913498" sldId="578"/>
            <ac:spMk id="220" creationId="{9C712127-9723-5221-0F4B-7C3E7319E72C}"/>
          </ac:spMkLst>
        </pc:spChg>
        <pc:spChg chg="del">
          <ac:chgData name="Bullinger, Marvin" userId="5b54ce5a-dc89-476f-af33-5abd75d5b1e8" providerId="ADAL" clId="{43B71669-8A80-4333-9349-B258A9296B49}" dt="2024-02-27T16:45:49.974" v="353" actId="478"/>
          <ac:spMkLst>
            <pc:docMk/>
            <pc:sldMk cId="1341913498" sldId="578"/>
            <ac:spMk id="221" creationId="{20FC0EDE-7707-D25E-5BD0-7C461A430D46}"/>
          </ac:spMkLst>
        </pc:spChg>
        <pc:spChg chg="del">
          <ac:chgData name="Bullinger, Marvin" userId="5b54ce5a-dc89-476f-af33-5abd75d5b1e8" providerId="ADAL" clId="{43B71669-8A80-4333-9349-B258A9296B49}" dt="2024-02-27T16:45:49.973" v="352" actId="478"/>
          <ac:spMkLst>
            <pc:docMk/>
            <pc:sldMk cId="1341913498" sldId="578"/>
            <ac:spMk id="222" creationId="{0B11F62A-5CEA-9A10-DD80-49101B687B01}"/>
          </ac:spMkLst>
        </pc:spChg>
        <pc:spChg chg="del">
          <ac:chgData name="Bullinger, Marvin" userId="5b54ce5a-dc89-476f-af33-5abd75d5b1e8" providerId="ADAL" clId="{43B71669-8A80-4333-9349-B258A9296B49}" dt="2024-02-27T16:45:49.973" v="351" actId="478"/>
          <ac:spMkLst>
            <pc:docMk/>
            <pc:sldMk cId="1341913498" sldId="578"/>
            <ac:spMk id="223" creationId="{E263EE3C-F6DE-4879-08D0-A1A86E76D080}"/>
          </ac:spMkLst>
        </pc:spChg>
        <pc:spChg chg="add mod">
          <ac:chgData name="Bullinger, Marvin" userId="5b54ce5a-dc89-476f-af33-5abd75d5b1e8" providerId="ADAL" clId="{43B71669-8A80-4333-9349-B258A9296B49}" dt="2024-02-27T16:45:49.958" v="338" actId="478"/>
          <ac:spMkLst>
            <pc:docMk/>
            <pc:sldMk cId="1341913498" sldId="578"/>
            <ac:spMk id="234" creationId="{E2E549A7-FA61-D375-9780-860EE7247024}"/>
          </ac:spMkLst>
        </pc:spChg>
        <pc:spChg chg="del mod ord replST">
          <ac:chgData name="Bullinger, Marvin" userId="5b54ce5a-dc89-476f-af33-5abd75d5b1e8" providerId="ADAL" clId="{43B71669-8A80-4333-9349-B258A9296B49}" dt="2024-02-27T16:46:20.214" v="1116" actId="478"/>
          <ac:spMkLst>
            <pc:docMk/>
            <pc:sldMk cId="1341913498" sldId="578"/>
            <ac:spMk id="235" creationId="{8C87B15B-DF46-1A34-E9CC-490CCEC3EF1C}"/>
          </ac:spMkLst>
        </pc:spChg>
        <pc:spChg chg="del">
          <ac:chgData name="Bullinger, Marvin" userId="5b54ce5a-dc89-476f-af33-5abd75d5b1e8" providerId="ADAL" clId="{43B71669-8A80-4333-9349-B258A9296B49}" dt="2024-02-27T16:45:49.981" v="374" actId="478"/>
          <ac:spMkLst>
            <pc:docMk/>
            <pc:sldMk cId="1341913498" sldId="578"/>
            <ac:spMk id="236" creationId="{53201361-A21D-C2C7-7B60-D752BD822A0B}"/>
          </ac:spMkLst>
        </pc:spChg>
        <pc:spChg chg="del">
          <ac:chgData name="Bullinger, Marvin" userId="5b54ce5a-dc89-476f-af33-5abd75d5b1e8" providerId="ADAL" clId="{43B71669-8A80-4333-9349-B258A9296B49}" dt="2024-02-27T16:45:49.958" v="339" actId="478"/>
          <ac:spMkLst>
            <pc:docMk/>
            <pc:sldMk cId="1341913498" sldId="578"/>
            <ac:spMk id="239" creationId="{F61587A7-B389-FC68-00DB-86CAC674C7FC}"/>
          </ac:spMkLst>
        </pc:spChg>
        <pc:spChg chg="del">
          <ac:chgData name="Bullinger, Marvin" userId="5b54ce5a-dc89-476f-af33-5abd75d5b1e8" providerId="ADAL" clId="{43B71669-8A80-4333-9349-B258A9296B49}" dt="2024-02-27T16:45:49.973" v="350" actId="478"/>
          <ac:spMkLst>
            <pc:docMk/>
            <pc:sldMk cId="1341913498" sldId="578"/>
            <ac:spMk id="256" creationId="{334CEE25-2A10-656E-1225-387049919F51}"/>
          </ac:spMkLst>
        </pc:spChg>
        <pc:spChg chg="del">
          <ac:chgData name="Bullinger, Marvin" userId="5b54ce5a-dc89-476f-af33-5abd75d5b1e8" providerId="ADAL" clId="{43B71669-8A80-4333-9349-B258A9296B49}" dt="2024-02-27T16:45:49.972" v="349" actId="478"/>
          <ac:spMkLst>
            <pc:docMk/>
            <pc:sldMk cId="1341913498" sldId="578"/>
            <ac:spMk id="257" creationId="{CA0F81D4-7727-2C3E-2FF1-5463CCE8AD5F}"/>
          </ac:spMkLst>
        </pc:spChg>
        <pc:spChg chg="del">
          <ac:chgData name="Bullinger, Marvin" userId="5b54ce5a-dc89-476f-af33-5abd75d5b1e8" providerId="ADAL" clId="{43B71669-8A80-4333-9349-B258A9296B49}" dt="2024-02-27T16:45:49.972" v="348" actId="478"/>
          <ac:spMkLst>
            <pc:docMk/>
            <pc:sldMk cId="1341913498" sldId="578"/>
            <ac:spMk id="258" creationId="{C9AA9F17-78B2-4D99-ABB0-9D84542FCA2F}"/>
          </ac:spMkLst>
        </pc:spChg>
        <pc:spChg chg="del">
          <ac:chgData name="Bullinger, Marvin" userId="5b54ce5a-dc89-476f-af33-5abd75d5b1e8" providerId="ADAL" clId="{43B71669-8A80-4333-9349-B258A9296B49}" dt="2024-02-27T16:45:49.972" v="347" actId="478"/>
          <ac:spMkLst>
            <pc:docMk/>
            <pc:sldMk cId="1341913498" sldId="578"/>
            <ac:spMk id="259" creationId="{96C662D1-187D-84E0-7894-BF6881CD89B7}"/>
          </ac:spMkLst>
        </pc:spChg>
        <pc:spChg chg="del">
          <ac:chgData name="Bullinger, Marvin" userId="5b54ce5a-dc89-476f-af33-5abd75d5b1e8" providerId="ADAL" clId="{43B71669-8A80-4333-9349-B258A9296B49}" dt="2024-02-27T16:45:49.971" v="346" actId="478"/>
          <ac:spMkLst>
            <pc:docMk/>
            <pc:sldMk cId="1341913498" sldId="578"/>
            <ac:spMk id="260" creationId="{D903B131-AB74-B037-EF89-B13C3D6830E1}"/>
          </ac:spMkLst>
        </pc:spChg>
        <pc:spChg chg="replST">
          <ac:chgData name="Bullinger, Marvin" userId="5b54ce5a-dc89-476f-af33-5abd75d5b1e8" providerId="ADAL" clId="{43B71669-8A80-4333-9349-B258A9296B49}" dt="2024-02-27T16:45:50.244" v="664"/>
          <ac:spMkLst>
            <pc:docMk/>
            <pc:sldMk cId="1341913498" sldId="578"/>
            <ac:spMk id="261" creationId="{42CEBFD9-BB16-B126-118C-58EEF318B5D9}"/>
          </ac:spMkLst>
        </pc:spChg>
        <pc:spChg chg="replST">
          <ac:chgData name="Bullinger, Marvin" userId="5b54ce5a-dc89-476f-af33-5abd75d5b1e8" providerId="ADAL" clId="{43B71669-8A80-4333-9349-B258A9296B49}" dt="2024-02-27T16:45:50.244" v="667"/>
          <ac:spMkLst>
            <pc:docMk/>
            <pc:sldMk cId="1341913498" sldId="578"/>
            <ac:spMk id="262" creationId="{8A81BA08-8EEE-BA39-F8A9-EA4A75B5BBEA}"/>
          </ac:spMkLst>
        </pc:spChg>
        <pc:spChg chg="del ord replST">
          <ac:chgData name="Bullinger, Marvin" userId="5b54ce5a-dc89-476f-af33-5abd75d5b1e8" providerId="ADAL" clId="{43B71669-8A80-4333-9349-B258A9296B49}" dt="2024-02-27T16:46:20.214" v="1117" actId="478"/>
          <ac:spMkLst>
            <pc:docMk/>
            <pc:sldMk cId="1341913498" sldId="578"/>
            <ac:spMk id="263" creationId="{178D19B3-D8CD-11A5-BDA8-5E227D53F2EA}"/>
          </ac:spMkLst>
        </pc:spChg>
        <pc:spChg chg="replST">
          <ac:chgData name="Bullinger, Marvin" userId="5b54ce5a-dc89-476f-af33-5abd75d5b1e8" providerId="ADAL" clId="{43B71669-8A80-4333-9349-B258A9296B49}" dt="2024-02-27T16:45:50.260" v="671"/>
          <ac:spMkLst>
            <pc:docMk/>
            <pc:sldMk cId="1341913498" sldId="578"/>
            <ac:spMk id="264" creationId="{CC7B65CE-E3A4-1C78-DD8C-27FAB3B5245B}"/>
          </ac:spMkLst>
        </pc:spChg>
        <pc:spChg chg="replST">
          <ac:chgData name="Bullinger, Marvin" userId="5b54ce5a-dc89-476f-af33-5abd75d5b1e8" providerId="ADAL" clId="{43B71669-8A80-4333-9349-B258A9296B49}" dt="2024-02-27T16:45:50.260" v="674"/>
          <ac:spMkLst>
            <pc:docMk/>
            <pc:sldMk cId="1341913498" sldId="578"/>
            <ac:spMk id="265" creationId="{D5CB0946-06E8-4569-29C9-DEAE0B9CEB7F}"/>
          </ac:spMkLst>
        </pc:spChg>
        <pc:spChg chg="replST">
          <ac:chgData name="Bullinger, Marvin" userId="5b54ce5a-dc89-476f-af33-5abd75d5b1e8" providerId="ADAL" clId="{43B71669-8A80-4333-9349-B258A9296B49}" dt="2024-02-27T16:45:50.260" v="678"/>
          <ac:spMkLst>
            <pc:docMk/>
            <pc:sldMk cId="1341913498" sldId="578"/>
            <ac:spMk id="267" creationId="{C49D948C-26E4-4F04-2252-2C8FFF4A46C3}"/>
          </ac:spMkLst>
        </pc:spChg>
        <pc:spChg chg="replST">
          <ac:chgData name="Bullinger, Marvin" userId="5b54ce5a-dc89-476f-af33-5abd75d5b1e8" providerId="ADAL" clId="{43B71669-8A80-4333-9349-B258A9296B49}" dt="2024-02-27T16:45:50.260" v="681"/>
          <ac:spMkLst>
            <pc:docMk/>
            <pc:sldMk cId="1341913498" sldId="578"/>
            <ac:spMk id="268" creationId="{DFBCADA8-FBD6-D01D-C508-8832CE16ADC8}"/>
          </ac:spMkLst>
        </pc:spChg>
        <pc:spChg chg="replST">
          <ac:chgData name="Bullinger, Marvin" userId="5b54ce5a-dc89-476f-af33-5abd75d5b1e8" providerId="ADAL" clId="{43B71669-8A80-4333-9349-B258A9296B49}" dt="2024-02-27T16:45:50.291" v="685"/>
          <ac:spMkLst>
            <pc:docMk/>
            <pc:sldMk cId="1341913498" sldId="578"/>
            <ac:spMk id="270" creationId="{3F94F34C-7BB2-9951-AD22-09CF27C0C162}"/>
          </ac:spMkLst>
        </pc:spChg>
        <pc:spChg chg="replST">
          <ac:chgData name="Bullinger, Marvin" userId="5b54ce5a-dc89-476f-af33-5abd75d5b1e8" providerId="ADAL" clId="{43B71669-8A80-4333-9349-B258A9296B49}" dt="2024-02-27T16:45:50.291" v="688"/>
          <ac:spMkLst>
            <pc:docMk/>
            <pc:sldMk cId="1341913498" sldId="578"/>
            <ac:spMk id="271" creationId="{A0655FE2-40E6-C6DA-5988-9CFC33BC3766}"/>
          </ac:spMkLst>
        </pc:spChg>
        <pc:spChg chg="replST">
          <ac:chgData name="Bullinger, Marvin" userId="5b54ce5a-dc89-476f-af33-5abd75d5b1e8" providerId="ADAL" clId="{43B71669-8A80-4333-9349-B258A9296B49}" dt="2024-02-27T16:45:50.291" v="692"/>
          <ac:spMkLst>
            <pc:docMk/>
            <pc:sldMk cId="1341913498" sldId="578"/>
            <ac:spMk id="273" creationId="{CBCEA531-62C2-9755-3E90-93F9D78FB09E}"/>
          </ac:spMkLst>
        </pc:spChg>
        <pc:spChg chg="replST">
          <ac:chgData name="Bullinger, Marvin" userId="5b54ce5a-dc89-476f-af33-5abd75d5b1e8" providerId="ADAL" clId="{43B71669-8A80-4333-9349-B258A9296B49}" dt="2024-02-27T16:45:50.291" v="695"/>
          <ac:spMkLst>
            <pc:docMk/>
            <pc:sldMk cId="1341913498" sldId="578"/>
            <ac:spMk id="274" creationId="{6914A25C-7362-3DBF-1F2B-EB2C1DF43BB2}"/>
          </ac:spMkLst>
        </pc:spChg>
        <pc:spChg chg="replST">
          <ac:chgData name="Bullinger, Marvin" userId="5b54ce5a-dc89-476f-af33-5abd75d5b1e8" providerId="ADAL" clId="{43B71669-8A80-4333-9349-B258A9296B49}" dt="2024-02-27T16:45:50.306" v="699"/>
          <ac:spMkLst>
            <pc:docMk/>
            <pc:sldMk cId="1341913498" sldId="578"/>
            <ac:spMk id="276" creationId="{CC36373D-6736-B5A6-DE55-51865B94A141}"/>
          </ac:spMkLst>
        </pc:spChg>
        <pc:spChg chg="replST">
          <ac:chgData name="Bullinger, Marvin" userId="5b54ce5a-dc89-476f-af33-5abd75d5b1e8" providerId="ADAL" clId="{43B71669-8A80-4333-9349-B258A9296B49}" dt="2024-02-27T16:45:50.306" v="702"/>
          <ac:spMkLst>
            <pc:docMk/>
            <pc:sldMk cId="1341913498" sldId="578"/>
            <ac:spMk id="277" creationId="{94B72C10-12A0-A69F-5F29-27759F03D1A2}"/>
          </ac:spMkLst>
        </pc:spChg>
        <pc:spChg chg="add mod">
          <ac:chgData name="Bullinger, Marvin" userId="5b54ce5a-dc89-476f-af33-5abd75d5b1e8" providerId="ADAL" clId="{43B71669-8A80-4333-9349-B258A9296B49}" dt="2024-02-27T17:21:07.209" v="3493" actId="478"/>
          <ac:spMkLst>
            <pc:docMk/>
            <pc:sldMk cId="1341913498" sldId="578"/>
            <ac:spMk id="298" creationId="{7FA89DCA-FB32-19BC-425D-B168E59924EA}"/>
          </ac:spMkLst>
        </pc:spChg>
        <pc:spChg chg="del mod ord replST">
          <ac:chgData name="Bullinger, Marvin" userId="5b54ce5a-dc89-476f-af33-5abd75d5b1e8" providerId="ADAL" clId="{43B71669-8A80-4333-9349-B258A9296B49}" dt="2024-02-27T17:26:23.064" v="4452" actId="478"/>
          <ac:spMkLst>
            <pc:docMk/>
            <pc:sldMk cId="1341913498" sldId="578"/>
            <ac:spMk id="299" creationId="{47692266-C28C-FF7E-82BC-1EFC8EDDFB1E}"/>
          </ac:spMkLst>
        </pc:spChg>
        <pc:spChg chg="del">
          <ac:chgData name="Bullinger, Marvin" userId="5b54ce5a-dc89-476f-af33-5abd75d5b1e8" providerId="ADAL" clId="{43B71669-8A80-4333-9349-B258A9296B49}" dt="2024-02-27T17:21:07.256" v="3529" actId="478"/>
          <ac:spMkLst>
            <pc:docMk/>
            <pc:sldMk cId="1341913498" sldId="578"/>
            <ac:spMk id="300" creationId="{AC6C2191-618E-B73B-19E9-FD232199FF5C}"/>
          </ac:spMkLst>
        </pc:spChg>
        <pc:spChg chg="del">
          <ac:chgData name="Bullinger, Marvin" userId="5b54ce5a-dc89-476f-af33-5abd75d5b1e8" providerId="ADAL" clId="{43B71669-8A80-4333-9349-B258A9296B49}" dt="2024-02-27T17:21:07.256" v="3528" actId="478"/>
          <ac:spMkLst>
            <pc:docMk/>
            <pc:sldMk cId="1341913498" sldId="578"/>
            <ac:spMk id="301" creationId="{04FCC52B-511E-0237-1B32-1F8690E6EDAC}"/>
          </ac:spMkLst>
        </pc:spChg>
        <pc:spChg chg="del">
          <ac:chgData name="Bullinger, Marvin" userId="5b54ce5a-dc89-476f-af33-5abd75d5b1e8" providerId="ADAL" clId="{43B71669-8A80-4333-9349-B258A9296B49}" dt="2024-02-27T17:21:07.256" v="3527" actId="478"/>
          <ac:spMkLst>
            <pc:docMk/>
            <pc:sldMk cId="1341913498" sldId="578"/>
            <ac:spMk id="302" creationId="{AA78A5D8-F08B-0D5C-5209-E3AD24408C87}"/>
          </ac:spMkLst>
        </pc:spChg>
        <pc:spChg chg="del">
          <ac:chgData name="Bullinger, Marvin" userId="5b54ce5a-dc89-476f-af33-5abd75d5b1e8" providerId="ADAL" clId="{43B71669-8A80-4333-9349-B258A9296B49}" dt="2024-02-27T17:21:07.256" v="3526" actId="478"/>
          <ac:spMkLst>
            <pc:docMk/>
            <pc:sldMk cId="1341913498" sldId="578"/>
            <ac:spMk id="303" creationId="{0CD627FE-1823-CD3D-E9FB-EA111CCD9B84}"/>
          </ac:spMkLst>
        </pc:spChg>
        <pc:spChg chg="del">
          <ac:chgData name="Bullinger, Marvin" userId="5b54ce5a-dc89-476f-af33-5abd75d5b1e8" providerId="ADAL" clId="{43B71669-8A80-4333-9349-B258A9296B49}" dt="2024-02-27T17:21:07.256" v="3525" actId="478"/>
          <ac:spMkLst>
            <pc:docMk/>
            <pc:sldMk cId="1341913498" sldId="578"/>
            <ac:spMk id="304" creationId="{F9857E6F-319F-C03F-C6A0-9D725812B5AA}"/>
          </ac:spMkLst>
        </pc:spChg>
        <pc:spChg chg="del">
          <ac:chgData name="Bullinger, Marvin" userId="5b54ce5a-dc89-476f-af33-5abd75d5b1e8" providerId="ADAL" clId="{43B71669-8A80-4333-9349-B258A9296B49}" dt="2024-02-27T17:21:07.256" v="3524" actId="478"/>
          <ac:spMkLst>
            <pc:docMk/>
            <pc:sldMk cId="1341913498" sldId="578"/>
            <ac:spMk id="305" creationId="{7870F9B5-1B18-9BC1-2493-80EC9A0A4226}"/>
          </ac:spMkLst>
        </pc:spChg>
        <pc:spChg chg="del">
          <ac:chgData name="Bullinger, Marvin" userId="5b54ce5a-dc89-476f-af33-5abd75d5b1e8" providerId="ADAL" clId="{43B71669-8A80-4333-9349-B258A9296B49}" dt="2024-02-27T17:21:07.256" v="3521" actId="478"/>
          <ac:spMkLst>
            <pc:docMk/>
            <pc:sldMk cId="1341913498" sldId="578"/>
            <ac:spMk id="306" creationId="{E72B85F9-B95F-935E-33A1-725C55C8A5F1}"/>
          </ac:spMkLst>
        </pc:spChg>
        <pc:spChg chg="del">
          <ac:chgData name="Bullinger, Marvin" userId="5b54ce5a-dc89-476f-af33-5abd75d5b1e8" providerId="ADAL" clId="{43B71669-8A80-4333-9349-B258A9296B49}" dt="2024-02-27T17:21:07.240" v="3520" actId="478"/>
          <ac:spMkLst>
            <pc:docMk/>
            <pc:sldMk cId="1341913498" sldId="578"/>
            <ac:spMk id="307" creationId="{420C6253-7FF2-D513-336B-0A0306DB688F}"/>
          </ac:spMkLst>
        </pc:spChg>
        <pc:spChg chg="del">
          <ac:chgData name="Bullinger, Marvin" userId="5b54ce5a-dc89-476f-af33-5abd75d5b1e8" providerId="ADAL" clId="{43B71669-8A80-4333-9349-B258A9296B49}" dt="2024-02-27T17:21:07.240" v="3519" actId="478"/>
          <ac:spMkLst>
            <pc:docMk/>
            <pc:sldMk cId="1341913498" sldId="578"/>
            <ac:spMk id="308" creationId="{F2993941-1910-4A20-151E-BC011F33C017}"/>
          </ac:spMkLst>
        </pc:spChg>
        <pc:spChg chg="del">
          <ac:chgData name="Bullinger, Marvin" userId="5b54ce5a-dc89-476f-af33-5abd75d5b1e8" providerId="ADAL" clId="{43B71669-8A80-4333-9349-B258A9296B49}" dt="2024-02-27T17:21:07.240" v="3518" actId="478"/>
          <ac:spMkLst>
            <pc:docMk/>
            <pc:sldMk cId="1341913498" sldId="578"/>
            <ac:spMk id="309" creationId="{38B28366-DB27-8189-F985-29C72F035F32}"/>
          </ac:spMkLst>
        </pc:spChg>
        <pc:spChg chg="del">
          <ac:chgData name="Bullinger, Marvin" userId="5b54ce5a-dc89-476f-af33-5abd75d5b1e8" providerId="ADAL" clId="{43B71669-8A80-4333-9349-B258A9296B49}" dt="2024-02-27T17:21:07.240" v="3517" actId="478"/>
          <ac:spMkLst>
            <pc:docMk/>
            <pc:sldMk cId="1341913498" sldId="578"/>
            <ac:spMk id="310" creationId="{3C9B6679-79B5-8DB5-14DF-C44EB0C8D2A0}"/>
          </ac:spMkLst>
        </pc:spChg>
        <pc:spChg chg="del">
          <ac:chgData name="Bullinger, Marvin" userId="5b54ce5a-dc89-476f-af33-5abd75d5b1e8" providerId="ADAL" clId="{43B71669-8A80-4333-9349-B258A9296B49}" dt="2024-02-27T17:21:07.240" v="3516" actId="478"/>
          <ac:spMkLst>
            <pc:docMk/>
            <pc:sldMk cId="1341913498" sldId="578"/>
            <ac:spMk id="311" creationId="{583FCFEA-3E0A-5E00-33BB-DC900D850A16}"/>
          </ac:spMkLst>
        </pc:spChg>
        <pc:spChg chg="del">
          <ac:chgData name="Bullinger, Marvin" userId="5b54ce5a-dc89-476f-af33-5abd75d5b1e8" providerId="ADAL" clId="{43B71669-8A80-4333-9349-B258A9296B49}" dt="2024-02-27T17:21:07.256" v="3537" actId="478"/>
          <ac:spMkLst>
            <pc:docMk/>
            <pc:sldMk cId="1341913498" sldId="578"/>
            <ac:spMk id="312" creationId="{2F808D7C-1586-05C0-06C3-C615D0645186}"/>
          </ac:spMkLst>
        </pc:spChg>
        <pc:spChg chg="del">
          <ac:chgData name="Bullinger, Marvin" userId="5b54ce5a-dc89-476f-af33-5abd75d5b1e8" providerId="ADAL" clId="{43B71669-8A80-4333-9349-B258A9296B49}" dt="2024-02-27T17:21:07.256" v="3536" actId="478"/>
          <ac:spMkLst>
            <pc:docMk/>
            <pc:sldMk cId="1341913498" sldId="578"/>
            <ac:spMk id="313" creationId="{F1C9D47D-1DF2-B335-A705-C36E4D1F4154}"/>
          </ac:spMkLst>
        </pc:spChg>
        <pc:spChg chg="del">
          <ac:chgData name="Bullinger, Marvin" userId="5b54ce5a-dc89-476f-af33-5abd75d5b1e8" providerId="ADAL" clId="{43B71669-8A80-4333-9349-B258A9296B49}" dt="2024-02-27T17:21:07.256" v="3535" actId="478"/>
          <ac:spMkLst>
            <pc:docMk/>
            <pc:sldMk cId="1341913498" sldId="578"/>
            <ac:spMk id="314" creationId="{5DE58AD8-1394-4396-7356-F828EA03E1F1}"/>
          </ac:spMkLst>
        </pc:spChg>
        <pc:spChg chg="del">
          <ac:chgData name="Bullinger, Marvin" userId="5b54ce5a-dc89-476f-af33-5abd75d5b1e8" providerId="ADAL" clId="{43B71669-8A80-4333-9349-B258A9296B49}" dt="2024-02-27T17:21:07.256" v="3534" actId="478"/>
          <ac:spMkLst>
            <pc:docMk/>
            <pc:sldMk cId="1341913498" sldId="578"/>
            <ac:spMk id="315" creationId="{F37F1AF2-0AFE-DDAF-4357-C0F519698D87}"/>
          </ac:spMkLst>
        </pc:spChg>
        <pc:spChg chg="del">
          <ac:chgData name="Bullinger, Marvin" userId="5b54ce5a-dc89-476f-af33-5abd75d5b1e8" providerId="ADAL" clId="{43B71669-8A80-4333-9349-B258A9296B49}" dt="2024-02-27T17:21:07.256" v="3533" actId="478"/>
          <ac:spMkLst>
            <pc:docMk/>
            <pc:sldMk cId="1341913498" sldId="578"/>
            <ac:spMk id="316" creationId="{255817EF-CFB2-E789-4F55-2595B7A3F4D6}"/>
          </ac:spMkLst>
        </pc:spChg>
        <pc:spChg chg="del">
          <ac:chgData name="Bullinger, Marvin" userId="5b54ce5a-dc89-476f-af33-5abd75d5b1e8" providerId="ADAL" clId="{43B71669-8A80-4333-9349-B258A9296B49}" dt="2024-02-27T17:21:07.256" v="3532" actId="478"/>
          <ac:spMkLst>
            <pc:docMk/>
            <pc:sldMk cId="1341913498" sldId="578"/>
            <ac:spMk id="317" creationId="{EA0B3476-27F0-B0EA-7C1F-C06BF815E7F6}"/>
          </ac:spMkLst>
        </pc:spChg>
        <pc:spChg chg="del">
          <ac:chgData name="Bullinger, Marvin" userId="5b54ce5a-dc89-476f-af33-5abd75d5b1e8" providerId="ADAL" clId="{43B71669-8A80-4333-9349-B258A9296B49}" dt="2024-02-27T17:21:07.256" v="3531" actId="478"/>
          <ac:spMkLst>
            <pc:docMk/>
            <pc:sldMk cId="1341913498" sldId="578"/>
            <ac:spMk id="318" creationId="{6B8A9652-4635-93B6-4868-62C507C9A0E2}"/>
          </ac:spMkLst>
        </pc:spChg>
        <pc:spChg chg="add mod">
          <ac:chgData name="Bullinger, Marvin" userId="5b54ce5a-dc89-476f-af33-5abd75d5b1e8" providerId="ADAL" clId="{43B71669-8A80-4333-9349-B258A9296B49}" dt="2024-02-27T16:46:20.214" v="1116" actId="478"/>
          <ac:spMkLst>
            <pc:docMk/>
            <pc:sldMk cId="1341913498" sldId="578"/>
            <ac:spMk id="318" creationId="{D985E1BA-8148-0799-495F-53A59CFC89B6}"/>
          </ac:spMkLst>
        </pc:spChg>
        <pc:spChg chg="add del mod ord replST">
          <ac:chgData name="Bullinger, Marvin" userId="5b54ce5a-dc89-476f-af33-5abd75d5b1e8" providerId="ADAL" clId="{43B71669-8A80-4333-9349-B258A9296B49}" dt="2024-02-27T17:21:07.209" v="3493" actId="478"/>
          <ac:spMkLst>
            <pc:docMk/>
            <pc:sldMk cId="1341913498" sldId="578"/>
            <ac:spMk id="319" creationId="{EEECE49D-D4E1-F665-1E8B-C4FAEC8C48E5}"/>
          </ac:spMkLst>
        </pc:spChg>
        <pc:spChg chg="del">
          <ac:chgData name="Bullinger, Marvin" userId="5b54ce5a-dc89-476f-af33-5abd75d5b1e8" providerId="ADAL" clId="{43B71669-8A80-4333-9349-B258A9296B49}" dt="2024-02-27T16:46:20.229" v="1152" actId="478"/>
          <ac:spMkLst>
            <pc:docMk/>
            <pc:sldMk cId="1341913498" sldId="578"/>
            <ac:spMk id="320" creationId="{3E9524A2-57FF-F0DB-D146-90D0F9513437}"/>
          </ac:spMkLst>
        </pc:spChg>
        <pc:spChg chg="del">
          <ac:chgData name="Bullinger, Marvin" userId="5b54ce5a-dc89-476f-af33-5abd75d5b1e8" providerId="ADAL" clId="{43B71669-8A80-4333-9349-B258A9296B49}" dt="2024-02-27T16:46:20.229" v="1151" actId="478"/>
          <ac:spMkLst>
            <pc:docMk/>
            <pc:sldMk cId="1341913498" sldId="578"/>
            <ac:spMk id="321" creationId="{58E578C5-C844-4CD7-9848-23B3B4EE18AE}"/>
          </ac:spMkLst>
        </pc:spChg>
        <pc:spChg chg="del">
          <ac:chgData name="Bullinger, Marvin" userId="5b54ce5a-dc89-476f-af33-5abd75d5b1e8" providerId="ADAL" clId="{43B71669-8A80-4333-9349-B258A9296B49}" dt="2024-02-27T16:46:20.229" v="1150" actId="478"/>
          <ac:spMkLst>
            <pc:docMk/>
            <pc:sldMk cId="1341913498" sldId="578"/>
            <ac:spMk id="322" creationId="{0886A816-A441-6B1A-0D1B-048E2394DC6F}"/>
          </ac:spMkLst>
        </pc:spChg>
        <pc:spChg chg="del">
          <ac:chgData name="Bullinger, Marvin" userId="5b54ce5a-dc89-476f-af33-5abd75d5b1e8" providerId="ADAL" clId="{43B71669-8A80-4333-9349-B258A9296B49}" dt="2024-02-27T16:46:20.229" v="1149" actId="478"/>
          <ac:spMkLst>
            <pc:docMk/>
            <pc:sldMk cId="1341913498" sldId="578"/>
            <ac:spMk id="323" creationId="{D6E00066-D6FE-3D9C-5854-077F2808963A}"/>
          </ac:spMkLst>
        </pc:spChg>
        <pc:spChg chg="del">
          <ac:chgData name="Bullinger, Marvin" userId="5b54ce5a-dc89-476f-af33-5abd75d5b1e8" providerId="ADAL" clId="{43B71669-8A80-4333-9349-B258A9296B49}" dt="2024-02-27T16:46:20.229" v="1148" actId="478"/>
          <ac:spMkLst>
            <pc:docMk/>
            <pc:sldMk cId="1341913498" sldId="578"/>
            <ac:spMk id="324" creationId="{364CC56A-CACA-72E4-5C30-A3855D3505F5}"/>
          </ac:spMkLst>
        </pc:spChg>
        <pc:spChg chg="del">
          <ac:chgData name="Bullinger, Marvin" userId="5b54ce5a-dc89-476f-af33-5abd75d5b1e8" providerId="ADAL" clId="{43B71669-8A80-4333-9349-B258A9296B49}" dt="2024-02-27T16:46:20.229" v="1147" actId="478"/>
          <ac:spMkLst>
            <pc:docMk/>
            <pc:sldMk cId="1341913498" sldId="578"/>
            <ac:spMk id="325" creationId="{CBBD9A37-2799-0A29-2643-09E163726765}"/>
          </ac:spMkLst>
        </pc:spChg>
        <pc:spChg chg="del">
          <ac:chgData name="Bullinger, Marvin" userId="5b54ce5a-dc89-476f-af33-5abd75d5b1e8" providerId="ADAL" clId="{43B71669-8A80-4333-9349-B258A9296B49}" dt="2024-02-27T16:46:20.229" v="1144" actId="478"/>
          <ac:spMkLst>
            <pc:docMk/>
            <pc:sldMk cId="1341913498" sldId="578"/>
            <ac:spMk id="326" creationId="{12DFA60F-251A-CD10-5FFA-8E57C33A20D3}"/>
          </ac:spMkLst>
        </pc:spChg>
        <pc:spChg chg="del">
          <ac:chgData name="Bullinger, Marvin" userId="5b54ce5a-dc89-476f-af33-5abd75d5b1e8" providerId="ADAL" clId="{43B71669-8A80-4333-9349-B258A9296B49}" dt="2024-02-27T16:46:20.229" v="1143" actId="478"/>
          <ac:spMkLst>
            <pc:docMk/>
            <pc:sldMk cId="1341913498" sldId="578"/>
            <ac:spMk id="327" creationId="{91572128-4217-56ED-4061-8426F13396A8}"/>
          </ac:spMkLst>
        </pc:spChg>
        <pc:spChg chg="del">
          <ac:chgData name="Bullinger, Marvin" userId="5b54ce5a-dc89-476f-af33-5abd75d5b1e8" providerId="ADAL" clId="{43B71669-8A80-4333-9349-B258A9296B49}" dt="2024-02-27T16:46:20.229" v="1142" actId="478"/>
          <ac:spMkLst>
            <pc:docMk/>
            <pc:sldMk cId="1341913498" sldId="578"/>
            <ac:spMk id="328" creationId="{E33EF428-735C-9F5B-6B5B-5857D941992E}"/>
          </ac:spMkLst>
        </pc:spChg>
        <pc:spChg chg="del">
          <ac:chgData name="Bullinger, Marvin" userId="5b54ce5a-dc89-476f-af33-5abd75d5b1e8" providerId="ADAL" clId="{43B71669-8A80-4333-9349-B258A9296B49}" dt="2024-02-27T16:46:20.229" v="1141" actId="478"/>
          <ac:spMkLst>
            <pc:docMk/>
            <pc:sldMk cId="1341913498" sldId="578"/>
            <ac:spMk id="329" creationId="{B3423A36-D945-A5E5-0155-C15F12E5B692}"/>
          </ac:spMkLst>
        </pc:spChg>
        <pc:spChg chg="del">
          <ac:chgData name="Bullinger, Marvin" userId="5b54ce5a-dc89-476f-af33-5abd75d5b1e8" providerId="ADAL" clId="{43B71669-8A80-4333-9349-B258A9296B49}" dt="2024-02-27T16:46:20.229" v="1140" actId="478"/>
          <ac:spMkLst>
            <pc:docMk/>
            <pc:sldMk cId="1341913498" sldId="578"/>
            <ac:spMk id="330" creationId="{26737BB3-5698-1E0D-D653-9F7DDDF24E6E}"/>
          </ac:spMkLst>
        </pc:spChg>
        <pc:spChg chg="del">
          <ac:chgData name="Bullinger, Marvin" userId="5b54ce5a-dc89-476f-af33-5abd75d5b1e8" providerId="ADAL" clId="{43B71669-8A80-4333-9349-B258A9296B49}" dt="2024-02-27T16:46:20.229" v="1139" actId="478"/>
          <ac:spMkLst>
            <pc:docMk/>
            <pc:sldMk cId="1341913498" sldId="578"/>
            <ac:spMk id="331" creationId="{0124A1DA-30DD-7A6B-8A8D-81D9344DE47F}"/>
          </ac:spMkLst>
        </pc:spChg>
        <pc:spChg chg="del">
          <ac:chgData name="Bullinger, Marvin" userId="5b54ce5a-dc89-476f-af33-5abd75d5b1e8" providerId="ADAL" clId="{43B71669-8A80-4333-9349-B258A9296B49}" dt="2024-02-27T16:46:20.238" v="1160" actId="478"/>
          <ac:spMkLst>
            <pc:docMk/>
            <pc:sldMk cId="1341913498" sldId="578"/>
            <ac:spMk id="332" creationId="{679F3DD7-C6DD-EE00-778C-31AC47C2608E}"/>
          </ac:spMkLst>
        </pc:spChg>
        <pc:spChg chg="del">
          <ac:chgData name="Bullinger, Marvin" userId="5b54ce5a-dc89-476f-af33-5abd75d5b1e8" providerId="ADAL" clId="{43B71669-8A80-4333-9349-B258A9296B49}" dt="2024-02-27T16:46:20.238" v="1159" actId="478"/>
          <ac:spMkLst>
            <pc:docMk/>
            <pc:sldMk cId="1341913498" sldId="578"/>
            <ac:spMk id="333" creationId="{5E57B8EB-0511-EB02-91D0-424B8835E4C3}"/>
          </ac:spMkLst>
        </pc:spChg>
        <pc:spChg chg="del">
          <ac:chgData name="Bullinger, Marvin" userId="5b54ce5a-dc89-476f-af33-5abd75d5b1e8" providerId="ADAL" clId="{43B71669-8A80-4333-9349-B258A9296B49}" dt="2024-02-27T16:46:20.238" v="1158" actId="478"/>
          <ac:spMkLst>
            <pc:docMk/>
            <pc:sldMk cId="1341913498" sldId="578"/>
            <ac:spMk id="334" creationId="{885CE34B-943A-503B-014D-0C3E9E0A1FCA}"/>
          </ac:spMkLst>
        </pc:spChg>
        <pc:spChg chg="del">
          <ac:chgData name="Bullinger, Marvin" userId="5b54ce5a-dc89-476f-af33-5abd75d5b1e8" providerId="ADAL" clId="{43B71669-8A80-4333-9349-B258A9296B49}" dt="2024-02-27T16:46:20.238" v="1157" actId="478"/>
          <ac:spMkLst>
            <pc:docMk/>
            <pc:sldMk cId="1341913498" sldId="578"/>
            <ac:spMk id="335" creationId="{75F49C57-A981-7A9A-66F1-A9A698C54829}"/>
          </ac:spMkLst>
        </pc:spChg>
        <pc:spChg chg="del">
          <ac:chgData name="Bullinger, Marvin" userId="5b54ce5a-dc89-476f-af33-5abd75d5b1e8" providerId="ADAL" clId="{43B71669-8A80-4333-9349-B258A9296B49}" dt="2024-02-27T16:46:20.238" v="1156" actId="478"/>
          <ac:spMkLst>
            <pc:docMk/>
            <pc:sldMk cId="1341913498" sldId="578"/>
            <ac:spMk id="336" creationId="{7F20667A-251E-9ECE-A6B7-3E5F00ADFABA}"/>
          </ac:spMkLst>
        </pc:spChg>
        <pc:spChg chg="del">
          <ac:chgData name="Bullinger, Marvin" userId="5b54ce5a-dc89-476f-af33-5abd75d5b1e8" providerId="ADAL" clId="{43B71669-8A80-4333-9349-B258A9296B49}" dt="2024-02-27T16:46:20.229" v="1155" actId="478"/>
          <ac:spMkLst>
            <pc:docMk/>
            <pc:sldMk cId="1341913498" sldId="578"/>
            <ac:spMk id="337" creationId="{8AC121F2-3C30-CE53-CFDA-FBC0A68C5802}"/>
          </ac:spMkLst>
        </pc:spChg>
        <pc:spChg chg="del">
          <ac:chgData name="Bullinger, Marvin" userId="5b54ce5a-dc89-476f-af33-5abd75d5b1e8" providerId="ADAL" clId="{43B71669-8A80-4333-9349-B258A9296B49}" dt="2024-02-27T16:46:20.229" v="1154" actId="478"/>
          <ac:spMkLst>
            <pc:docMk/>
            <pc:sldMk cId="1341913498" sldId="578"/>
            <ac:spMk id="338" creationId="{ABA03C49-2D0B-F9B2-F4DC-82CF2C95A7EA}"/>
          </ac:spMkLst>
        </pc:spChg>
        <pc:spChg chg="del">
          <ac:chgData name="Bullinger, Marvin" userId="5b54ce5a-dc89-476f-af33-5abd75d5b1e8" providerId="ADAL" clId="{43B71669-8A80-4333-9349-B258A9296B49}" dt="2024-02-27T16:46:20.229" v="1153" actId="478"/>
          <ac:spMkLst>
            <pc:docMk/>
            <pc:sldMk cId="1341913498" sldId="578"/>
            <ac:spMk id="339" creationId="{7982692B-68F4-BC44-9DBA-0B6614FF453D}"/>
          </ac:spMkLst>
        </pc:spChg>
        <pc:spChg chg="del">
          <ac:chgData name="Bullinger, Marvin" userId="5b54ce5a-dc89-476f-af33-5abd75d5b1e8" providerId="ADAL" clId="{43B71669-8A80-4333-9349-B258A9296B49}" dt="2024-02-27T16:46:20.229" v="1145" actId="478"/>
          <ac:spMkLst>
            <pc:docMk/>
            <pc:sldMk cId="1341913498" sldId="578"/>
            <ac:spMk id="340" creationId="{C9CD7159-4E06-10D6-2FC0-F00FA915BD2D}"/>
          </ac:spMkLst>
        </pc:spChg>
        <pc:spChg chg="del">
          <ac:chgData name="Bullinger, Marvin" userId="5b54ce5a-dc89-476f-af33-5abd75d5b1e8" providerId="ADAL" clId="{43B71669-8A80-4333-9349-B258A9296B49}" dt="2024-02-27T16:46:20.229" v="1138" actId="478"/>
          <ac:spMkLst>
            <pc:docMk/>
            <pc:sldMk cId="1341913498" sldId="578"/>
            <ac:spMk id="341" creationId="{2FB88977-D059-489B-26E3-81F33D158567}"/>
          </ac:spMkLst>
        </pc:spChg>
        <pc:spChg chg="del">
          <ac:chgData name="Bullinger, Marvin" userId="5b54ce5a-dc89-476f-af33-5abd75d5b1e8" providerId="ADAL" clId="{43B71669-8A80-4333-9349-B258A9296B49}" dt="2024-02-27T16:46:20.229" v="1146" actId="478"/>
          <ac:spMkLst>
            <pc:docMk/>
            <pc:sldMk cId="1341913498" sldId="578"/>
            <ac:spMk id="342" creationId="{6842C9F1-7F36-B580-146B-B5A6E00A6698}"/>
          </ac:spMkLst>
        </pc:spChg>
        <pc:spChg chg="del">
          <ac:chgData name="Bullinger, Marvin" userId="5b54ce5a-dc89-476f-af33-5abd75d5b1e8" providerId="ADAL" clId="{43B71669-8A80-4333-9349-B258A9296B49}" dt="2024-02-27T16:46:20.229" v="1137" actId="478"/>
          <ac:spMkLst>
            <pc:docMk/>
            <pc:sldMk cId="1341913498" sldId="578"/>
            <ac:spMk id="343" creationId="{74D4A4D6-EECC-8F32-FC74-9E6AF6603CC0}"/>
          </ac:spMkLst>
        </pc:spChg>
        <pc:spChg chg="del">
          <ac:chgData name="Bullinger, Marvin" userId="5b54ce5a-dc89-476f-af33-5abd75d5b1e8" providerId="ADAL" clId="{43B71669-8A80-4333-9349-B258A9296B49}" dt="2024-02-27T16:46:20.229" v="1136" actId="478"/>
          <ac:spMkLst>
            <pc:docMk/>
            <pc:sldMk cId="1341913498" sldId="578"/>
            <ac:spMk id="344" creationId="{CBDEEBF7-9511-F3FA-5671-B70A149C9963}"/>
          </ac:spMkLst>
        </pc:spChg>
        <pc:spChg chg="del">
          <ac:chgData name="Bullinger, Marvin" userId="5b54ce5a-dc89-476f-af33-5abd75d5b1e8" providerId="ADAL" clId="{43B71669-8A80-4333-9349-B258A9296B49}" dt="2024-02-27T16:46:20.229" v="1135" actId="478"/>
          <ac:spMkLst>
            <pc:docMk/>
            <pc:sldMk cId="1341913498" sldId="578"/>
            <ac:spMk id="345" creationId="{1103FA74-7C2B-225E-5653-B0E8BF5A37B5}"/>
          </ac:spMkLst>
        </pc:spChg>
        <pc:spChg chg="del">
          <ac:chgData name="Bullinger, Marvin" userId="5b54ce5a-dc89-476f-af33-5abd75d5b1e8" providerId="ADAL" clId="{43B71669-8A80-4333-9349-B258A9296B49}" dt="2024-02-27T16:46:20.229" v="1134" actId="478"/>
          <ac:spMkLst>
            <pc:docMk/>
            <pc:sldMk cId="1341913498" sldId="578"/>
            <ac:spMk id="346" creationId="{363278C8-91FF-02AC-44EF-29D7A9A0D229}"/>
          </ac:spMkLst>
        </pc:spChg>
        <pc:spChg chg="del">
          <ac:chgData name="Bullinger, Marvin" userId="5b54ce5a-dc89-476f-af33-5abd75d5b1e8" providerId="ADAL" clId="{43B71669-8A80-4333-9349-B258A9296B49}" dt="2024-02-27T16:46:20.229" v="1133" actId="478"/>
          <ac:spMkLst>
            <pc:docMk/>
            <pc:sldMk cId="1341913498" sldId="578"/>
            <ac:spMk id="347" creationId="{0D5ACDF8-40C5-7CDE-3028-079A404849DF}"/>
          </ac:spMkLst>
        </pc:spChg>
        <pc:spChg chg="del">
          <ac:chgData name="Bullinger, Marvin" userId="5b54ce5a-dc89-476f-af33-5abd75d5b1e8" providerId="ADAL" clId="{43B71669-8A80-4333-9349-B258A9296B49}" dt="2024-02-27T16:46:20.229" v="1132" actId="478"/>
          <ac:spMkLst>
            <pc:docMk/>
            <pc:sldMk cId="1341913498" sldId="578"/>
            <ac:spMk id="348" creationId="{A0E5D868-AAE9-1BBF-DD8F-EE5DBC6D97FE}"/>
          </ac:spMkLst>
        </pc:spChg>
        <pc:spChg chg="del">
          <ac:chgData name="Bullinger, Marvin" userId="5b54ce5a-dc89-476f-af33-5abd75d5b1e8" providerId="ADAL" clId="{43B71669-8A80-4333-9349-B258A9296B49}" dt="2024-02-27T16:46:20.229" v="1131" actId="478"/>
          <ac:spMkLst>
            <pc:docMk/>
            <pc:sldMk cId="1341913498" sldId="578"/>
            <ac:spMk id="349" creationId="{6C309709-7004-5B07-CD92-BA28F9757979}"/>
          </ac:spMkLst>
        </pc:spChg>
        <pc:spChg chg="del">
          <ac:chgData name="Bullinger, Marvin" userId="5b54ce5a-dc89-476f-af33-5abd75d5b1e8" providerId="ADAL" clId="{43B71669-8A80-4333-9349-B258A9296B49}" dt="2024-02-27T16:46:20.214" v="1130" actId="478"/>
          <ac:spMkLst>
            <pc:docMk/>
            <pc:sldMk cId="1341913498" sldId="578"/>
            <ac:spMk id="350" creationId="{737ED796-F8FE-6165-A2FD-C870E9E33D9C}"/>
          </ac:spMkLst>
        </pc:spChg>
        <pc:spChg chg="del">
          <ac:chgData name="Bullinger, Marvin" userId="5b54ce5a-dc89-476f-af33-5abd75d5b1e8" providerId="ADAL" clId="{43B71669-8A80-4333-9349-B258A9296B49}" dt="2024-02-27T16:46:20.214" v="1129" actId="478"/>
          <ac:spMkLst>
            <pc:docMk/>
            <pc:sldMk cId="1341913498" sldId="578"/>
            <ac:spMk id="351" creationId="{765FD0AD-AE76-9881-6D21-FAFA42C5CFD1}"/>
          </ac:spMkLst>
        </pc:spChg>
        <pc:spChg chg="del">
          <ac:chgData name="Bullinger, Marvin" userId="5b54ce5a-dc89-476f-af33-5abd75d5b1e8" providerId="ADAL" clId="{43B71669-8A80-4333-9349-B258A9296B49}" dt="2024-02-27T17:21:07.256" v="3530" actId="478"/>
          <ac:spMkLst>
            <pc:docMk/>
            <pc:sldMk cId="1341913498" sldId="578"/>
            <ac:spMk id="352" creationId="{4A191D3C-5929-0468-F880-1FABB6AF0228}"/>
          </ac:spMkLst>
        </pc:spChg>
        <pc:spChg chg="del">
          <ac:chgData name="Bullinger, Marvin" userId="5b54ce5a-dc89-476f-af33-5abd75d5b1e8" providerId="ADAL" clId="{43B71669-8A80-4333-9349-B258A9296B49}" dt="2024-02-27T16:46:20.214" v="1128" actId="478"/>
          <ac:spMkLst>
            <pc:docMk/>
            <pc:sldMk cId="1341913498" sldId="578"/>
            <ac:spMk id="352" creationId="{5F55C2A1-7B34-CD91-E5CC-4FBE288C0C03}"/>
          </ac:spMkLst>
        </pc:spChg>
        <pc:spChg chg="del">
          <ac:chgData name="Bullinger, Marvin" userId="5b54ce5a-dc89-476f-af33-5abd75d5b1e8" providerId="ADAL" clId="{43B71669-8A80-4333-9349-B258A9296B49}" dt="2024-02-27T16:46:20.214" v="1127" actId="478"/>
          <ac:spMkLst>
            <pc:docMk/>
            <pc:sldMk cId="1341913498" sldId="578"/>
            <ac:spMk id="353" creationId="{B06D8AE3-0F89-F0DE-DCB0-028A54555931}"/>
          </ac:spMkLst>
        </pc:spChg>
        <pc:spChg chg="del">
          <ac:chgData name="Bullinger, Marvin" userId="5b54ce5a-dc89-476f-af33-5abd75d5b1e8" providerId="ADAL" clId="{43B71669-8A80-4333-9349-B258A9296B49}" dt="2024-02-27T17:21:07.256" v="3522" actId="478"/>
          <ac:spMkLst>
            <pc:docMk/>
            <pc:sldMk cId="1341913498" sldId="578"/>
            <ac:spMk id="353" creationId="{C7B35222-2110-7FB7-9503-B889EC1529FC}"/>
          </ac:spMkLst>
        </pc:spChg>
        <pc:spChg chg="del">
          <ac:chgData name="Bullinger, Marvin" userId="5b54ce5a-dc89-476f-af33-5abd75d5b1e8" providerId="ADAL" clId="{43B71669-8A80-4333-9349-B258A9296B49}" dt="2024-02-27T16:46:20.214" v="1126" actId="478"/>
          <ac:spMkLst>
            <pc:docMk/>
            <pc:sldMk cId="1341913498" sldId="578"/>
            <ac:spMk id="354" creationId="{343B1FEE-CA2A-858C-C540-0B0ACC68763A}"/>
          </ac:spMkLst>
        </pc:spChg>
        <pc:spChg chg="del">
          <ac:chgData name="Bullinger, Marvin" userId="5b54ce5a-dc89-476f-af33-5abd75d5b1e8" providerId="ADAL" clId="{43B71669-8A80-4333-9349-B258A9296B49}" dt="2024-02-27T17:21:07.240" v="3515" actId="478"/>
          <ac:spMkLst>
            <pc:docMk/>
            <pc:sldMk cId="1341913498" sldId="578"/>
            <ac:spMk id="354" creationId="{FB0F52DC-E76D-4CF8-5B38-F25035CB2772}"/>
          </ac:spMkLst>
        </pc:spChg>
        <pc:spChg chg="del">
          <ac:chgData name="Bullinger, Marvin" userId="5b54ce5a-dc89-476f-af33-5abd75d5b1e8" providerId="ADAL" clId="{43B71669-8A80-4333-9349-B258A9296B49}" dt="2024-02-27T17:21:07.256" v="3523" actId="478"/>
          <ac:spMkLst>
            <pc:docMk/>
            <pc:sldMk cId="1341913498" sldId="578"/>
            <ac:spMk id="355" creationId="{8E6C1226-2A46-B281-4F25-7592C355784B}"/>
          </ac:spMkLst>
        </pc:spChg>
        <pc:spChg chg="del">
          <ac:chgData name="Bullinger, Marvin" userId="5b54ce5a-dc89-476f-af33-5abd75d5b1e8" providerId="ADAL" clId="{43B71669-8A80-4333-9349-B258A9296B49}" dt="2024-02-27T16:46:20.214" v="1125" actId="478"/>
          <ac:spMkLst>
            <pc:docMk/>
            <pc:sldMk cId="1341913498" sldId="578"/>
            <ac:spMk id="355" creationId="{F2E4EA06-4152-BAB8-C129-892E8631FF6E}"/>
          </ac:spMkLst>
        </pc:spChg>
        <pc:spChg chg="del">
          <ac:chgData name="Bullinger, Marvin" userId="5b54ce5a-dc89-476f-af33-5abd75d5b1e8" providerId="ADAL" clId="{43B71669-8A80-4333-9349-B258A9296B49}" dt="2024-02-27T16:46:20.214" v="1124" actId="478"/>
          <ac:spMkLst>
            <pc:docMk/>
            <pc:sldMk cId="1341913498" sldId="578"/>
            <ac:spMk id="356" creationId="{041FD5BC-7AC2-670C-1F4D-E14AD10CCEC2}"/>
          </ac:spMkLst>
        </pc:spChg>
        <pc:spChg chg="del">
          <ac:chgData name="Bullinger, Marvin" userId="5b54ce5a-dc89-476f-af33-5abd75d5b1e8" providerId="ADAL" clId="{43B71669-8A80-4333-9349-B258A9296B49}" dt="2024-02-27T17:21:07.240" v="3514" actId="478"/>
          <ac:spMkLst>
            <pc:docMk/>
            <pc:sldMk cId="1341913498" sldId="578"/>
            <ac:spMk id="356" creationId="{33C5938F-D477-A810-A2F3-2AAE4C232294}"/>
          </ac:spMkLst>
        </pc:spChg>
        <pc:spChg chg="add replST">
          <ac:chgData name="Bullinger, Marvin" userId="5b54ce5a-dc89-476f-af33-5abd75d5b1e8" providerId="ADAL" clId="{43B71669-8A80-4333-9349-B258A9296B49}" dt="2024-02-27T16:53:49.050" v="3382"/>
          <ac:spMkLst>
            <pc:docMk/>
            <pc:sldMk cId="1341913498" sldId="578"/>
            <ac:spMk id="357" creationId="{B97CCEE5-587F-9566-0BEE-840471B5F0A5}"/>
          </ac:spMkLst>
        </pc:spChg>
        <pc:spChg chg="add replST">
          <ac:chgData name="Bullinger, Marvin" userId="5b54ce5a-dc89-476f-af33-5abd75d5b1e8" providerId="ADAL" clId="{43B71669-8A80-4333-9349-B258A9296B49}" dt="2024-02-27T16:53:49.050" v="3382"/>
          <ac:spMkLst>
            <pc:docMk/>
            <pc:sldMk cId="1341913498" sldId="578"/>
            <ac:spMk id="358" creationId="{D71830C6-E970-A5B4-E603-1E45864AFADE}"/>
          </ac:spMkLst>
        </pc:spChg>
        <pc:spChg chg="add del mod ord replST">
          <ac:chgData name="Bullinger, Marvin" userId="5b54ce5a-dc89-476f-af33-5abd75d5b1e8" providerId="ADAL" clId="{43B71669-8A80-4333-9349-B258A9296B49}" dt="2024-02-27T17:21:07.209" v="3494" actId="478"/>
          <ac:spMkLst>
            <pc:docMk/>
            <pc:sldMk cId="1341913498" sldId="578"/>
            <ac:spMk id="359" creationId="{E513E118-598E-C3CD-DC8B-39DA978CBE9D}"/>
          </ac:spMkLst>
        </pc:spChg>
        <pc:spChg chg="add mod replST">
          <ac:chgData name="Bullinger, Marvin" userId="5b54ce5a-dc89-476f-af33-5abd75d5b1e8" providerId="ADAL" clId="{43B71669-8A80-4333-9349-B258A9296B49}" dt="2024-02-27T16:53:49.050" v="3382"/>
          <ac:spMkLst>
            <pc:docMk/>
            <pc:sldMk cId="1341913498" sldId="578"/>
            <ac:spMk id="360" creationId="{1E9E94CF-302C-8A90-3BA4-215F367E23D6}"/>
          </ac:spMkLst>
        </pc:spChg>
        <pc:spChg chg="add replST">
          <ac:chgData name="Bullinger, Marvin" userId="5b54ce5a-dc89-476f-af33-5abd75d5b1e8" providerId="ADAL" clId="{43B71669-8A80-4333-9349-B258A9296B49}" dt="2024-02-27T16:53:49.050" v="3382"/>
          <ac:spMkLst>
            <pc:docMk/>
            <pc:sldMk cId="1341913498" sldId="578"/>
            <ac:spMk id="361" creationId="{5AB3D4C3-061D-B42D-87F0-DB7F9EC2F30F}"/>
          </ac:spMkLst>
        </pc:spChg>
        <pc:spChg chg="add mod replST">
          <ac:chgData name="Bullinger, Marvin" userId="5b54ce5a-dc89-476f-af33-5abd75d5b1e8" providerId="ADAL" clId="{43B71669-8A80-4333-9349-B258A9296B49}" dt="2024-02-27T16:53:49.050" v="3382"/>
          <ac:spMkLst>
            <pc:docMk/>
            <pc:sldMk cId="1341913498" sldId="578"/>
            <ac:spMk id="363" creationId="{A04335D7-8ABE-BE4F-724A-0D504D56209A}"/>
          </ac:spMkLst>
        </pc:spChg>
        <pc:spChg chg="add replST">
          <ac:chgData name="Bullinger, Marvin" userId="5b54ce5a-dc89-476f-af33-5abd75d5b1e8" providerId="ADAL" clId="{43B71669-8A80-4333-9349-B258A9296B49}" dt="2024-02-27T16:53:49.050" v="3382"/>
          <ac:spMkLst>
            <pc:docMk/>
            <pc:sldMk cId="1341913498" sldId="578"/>
            <ac:spMk id="364" creationId="{614ECA68-E7F6-863E-110B-E5E0580A07E6}"/>
          </ac:spMkLst>
        </pc:spChg>
        <pc:spChg chg="add mod replST">
          <ac:chgData name="Bullinger, Marvin" userId="5b54ce5a-dc89-476f-af33-5abd75d5b1e8" providerId="ADAL" clId="{43B71669-8A80-4333-9349-B258A9296B49}" dt="2024-02-27T16:53:49.050" v="3382"/>
          <ac:spMkLst>
            <pc:docMk/>
            <pc:sldMk cId="1341913498" sldId="578"/>
            <ac:spMk id="366" creationId="{9708B75E-BDBB-AB8B-7482-EFDC0151A054}"/>
          </ac:spMkLst>
        </pc:spChg>
        <pc:spChg chg="add replST">
          <ac:chgData name="Bullinger, Marvin" userId="5b54ce5a-dc89-476f-af33-5abd75d5b1e8" providerId="ADAL" clId="{43B71669-8A80-4333-9349-B258A9296B49}" dt="2024-02-27T16:53:49.050" v="3382"/>
          <ac:spMkLst>
            <pc:docMk/>
            <pc:sldMk cId="1341913498" sldId="578"/>
            <ac:spMk id="367" creationId="{61B5EC4C-0E15-2674-D444-4B7ADAB9F97D}"/>
          </ac:spMkLst>
        </pc:spChg>
        <pc:spChg chg="add mod replST">
          <ac:chgData name="Bullinger, Marvin" userId="5b54ce5a-dc89-476f-af33-5abd75d5b1e8" providerId="ADAL" clId="{43B71669-8A80-4333-9349-B258A9296B49}" dt="2024-02-27T16:53:49.050" v="3382"/>
          <ac:spMkLst>
            <pc:docMk/>
            <pc:sldMk cId="1341913498" sldId="578"/>
            <ac:spMk id="369" creationId="{B5D23787-5E91-18F9-1CE3-8586055E1767}"/>
          </ac:spMkLst>
        </pc:spChg>
        <pc:spChg chg="add replST">
          <ac:chgData name="Bullinger, Marvin" userId="5b54ce5a-dc89-476f-af33-5abd75d5b1e8" providerId="ADAL" clId="{43B71669-8A80-4333-9349-B258A9296B49}" dt="2024-02-27T16:53:49.050" v="3382"/>
          <ac:spMkLst>
            <pc:docMk/>
            <pc:sldMk cId="1341913498" sldId="578"/>
            <ac:spMk id="370" creationId="{AE396277-3B64-D39A-0329-3239367A9650}"/>
          </ac:spMkLst>
        </pc:spChg>
        <pc:spChg chg="add mod replST">
          <ac:chgData name="Bullinger, Marvin" userId="5b54ce5a-dc89-476f-af33-5abd75d5b1e8" providerId="ADAL" clId="{43B71669-8A80-4333-9349-B258A9296B49}" dt="2024-02-27T16:53:49.050" v="3382"/>
          <ac:spMkLst>
            <pc:docMk/>
            <pc:sldMk cId="1341913498" sldId="578"/>
            <ac:spMk id="372" creationId="{CFCDB4AD-3A87-EBE3-3491-14B1FC33CED0}"/>
          </ac:spMkLst>
        </pc:spChg>
        <pc:spChg chg="add replST">
          <ac:chgData name="Bullinger, Marvin" userId="5b54ce5a-dc89-476f-af33-5abd75d5b1e8" providerId="ADAL" clId="{43B71669-8A80-4333-9349-B258A9296B49}" dt="2024-02-27T16:53:49.050" v="3382"/>
          <ac:spMkLst>
            <pc:docMk/>
            <pc:sldMk cId="1341913498" sldId="578"/>
            <ac:spMk id="373" creationId="{F4B4E22C-0814-1FE5-F46B-E2DA09DCC516}"/>
          </ac:spMkLst>
        </pc:spChg>
        <pc:spChg chg="del">
          <ac:chgData name="Bullinger, Marvin" userId="5b54ce5a-dc89-476f-af33-5abd75d5b1e8" providerId="ADAL" clId="{43B71669-8A80-4333-9349-B258A9296B49}" dt="2024-02-27T17:21:07.240" v="3513" actId="478"/>
          <ac:spMkLst>
            <pc:docMk/>
            <pc:sldMk cId="1341913498" sldId="578"/>
            <ac:spMk id="376" creationId="{C7D802C0-ACD3-606F-97F4-229CE9AF2712}"/>
          </ac:spMkLst>
        </pc:spChg>
        <pc:spChg chg="add">
          <ac:chgData name="Bullinger, Marvin" userId="5b54ce5a-dc89-476f-af33-5abd75d5b1e8" providerId="ADAL" clId="{43B71669-8A80-4333-9349-B258A9296B49}" dt="2024-02-27T16:53:49.050" v="3382"/>
          <ac:spMkLst>
            <pc:docMk/>
            <pc:sldMk cId="1341913498" sldId="578"/>
            <ac:spMk id="376" creationId="{FC6DB5F6-CA96-F31B-5953-28213C1CAE19}"/>
          </ac:spMkLst>
        </pc:spChg>
        <pc:spChg chg="del">
          <ac:chgData name="Bullinger, Marvin" userId="5b54ce5a-dc89-476f-af33-5abd75d5b1e8" providerId="ADAL" clId="{43B71669-8A80-4333-9349-B258A9296B49}" dt="2024-02-27T17:21:07.240" v="3512" actId="478"/>
          <ac:spMkLst>
            <pc:docMk/>
            <pc:sldMk cId="1341913498" sldId="578"/>
            <ac:spMk id="377" creationId="{03188D9B-36A5-D941-BE4B-934FC82D6749}"/>
          </ac:spMkLst>
        </pc:spChg>
        <pc:spChg chg="add">
          <ac:chgData name="Bullinger, Marvin" userId="5b54ce5a-dc89-476f-af33-5abd75d5b1e8" providerId="ADAL" clId="{43B71669-8A80-4333-9349-B258A9296B49}" dt="2024-02-27T16:53:49.050" v="3382"/>
          <ac:spMkLst>
            <pc:docMk/>
            <pc:sldMk cId="1341913498" sldId="578"/>
            <ac:spMk id="377" creationId="{8786E511-6998-3141-4708-E8137D84D50C}"/>
          </ac:spMkLst>
        </pc:spChg>
        <pc:spChg chg="add">
          <ac:chgData name="Bullinger, Marvin" userId="5b54ce5a-dc89-476f-af33-5abd75d5b1e8" providerId="ADAL" clId="{43B71669-8A80-4333-9349-B258A9296B49}" dt="2024-02-27T16:53:49.050" v="3382"/>
          <ac:spMkLst>
            <pc:docMk/>
            <pc:sldMk cId="1341913498" sldId="578"/>
            <ac:spMk id="378" creationId="{6F042199-772D-2DC7-9659-60664E7FEB05}"/>
          </ac:spMkLst>
        </pc:spChg>
        <pc:spChg chg="del">
          <ac:chgData name="Bullinger, Marvin" userId="5b54ce5a-dc89-476f-af33-5abd75d5b1e8" providerId="ADAL" clId="{43B71669-8A80-4333-9349-B258A9296B49}" dt="2024-02-27T17:21:07.240" v="3511" actId="478"/>
          <ac:spMkLst>
            <pc:docMk/>
            <pc:sldMk cId="1341913498" sldId="578"/>
            <ac:spMk id="378" creationId="{7560B762-5FD7-2F4B-DEDE-8EC3105205BE}"/>
          </ac:spMkLst>
        </pc:spChg>
        <pc:spChg chg="add">
          <ac:chgData name="Bullinger, Marvin" userId="5b54ce5a-dc89-476f-af33-5abd75d5b1e8" providerId="ADAL" clId="{43B71669-8A80-4333-9349-B258A9296B49}" dt="2024-02-27T16:53:49.050" v="3382"/>
          <ac:spMkLst>
            <pc:docMk/>
            <pc:sldMk cId="1341913498" sldId="578"/>
            <ac:spMk id="379" creationId="{26B5F11B-EDC9-769F-C3C8-4DFA57D166DB}"/>
          </ac:spMkLst>
        </pc:spChg>
        <pc:spChg chg="del">
          <ac:chgData name="Bullinger, Marvin" userId="5b54ce5a-dc89-476f-af33-5abd75d5b1e8" providerId="ADAL" clId="{43B71669-8A80-4333-9349-B258A9296B49}" dt="2024-02-27T17:21:07.240" v="3510" actId="478"/>
          <ac:spMkLst>
            <pc:docMk/>
            <pc:sldMk cId="1341913498" sldId="578"/>
            <ac:spMk id="379" creationId="{299CAD32-84AD-AE74-1053-DBCB9346C291}"/>
          </ac:spMkLst>
        </pc:spChg>
        <pc:spChg chg="add">
          <ac:chgData name="Bullinger, Marvin" userId="5b54ce5a-dc89-476f-af33-5abd75d5b1e8" providerId="ADAL" clId="{43B71669-8A80-4333-9349-B258A9296B49}" dt="2024-02-27T16:53:49.050" v="3382"/>
          <ac:spMkLst>
            <pc:docMk/>
            <pc:sldMk cId="1341913498" sldId="578"/>
            <ac:spMk id="380" creationId="{5D0127A3-6988-1AF4-530C-69468F9FC3A0}"/>
          </ac:spMkLst>
        </pc:spChg>
        <pc:spChg chg="del">
          <ac:chgData name="Bullinger, Marvin" userId="5b54ce5a-dc89-476f-af33-5abd75d5b1e8" providerId="ADAL" clId="{43B71669-8A80-4333-9349-B258A9296B49}" dt="2024-02-27T17:21:07.240" v="3509" actId="478"/>
          <ac:spMkLst>
            <pc:docMk/>
            <pc:sldMk cId="1341913498" sldId="578"/>
            <ac:spMk id="380" creationId="{A12D6B71-70EF-B18F-BB9D-ABD1D433383C}"/>
          </ac:spMkLst>
        </pc:spChg>
        <pc:spChg chg="add">
          <ac:chgData name="Bullinger, Marvin" userId="5b54ce5a-dc89-476f-af33-5abd75d5b1e8" providerId="ADAL" clId="{43B71669-8A80-4333-9349-B258A9296B49}" dt="2024-02-27T16:53:49.050" v="3382"/>
          <ac:spMkLst>
            <pc:docMk/>
            <pc:sldMk cId="1341913498" sldId="578"/>
            <ac:spMk id="381" creationId="{425E92D6-13D2-EED8-3A9A-134EAEFD831B}"/>
          </ac:spMkLst>
        </pc:spChg>
        <pc:spChg chg="del">
          <ac:chgData name="Bullinger, Marvin" userId="5b54ce5a-dc89-476f-af33-5abd75d5b1e8" providerId="ADAL" clId="{43B71669-8A80-4333-9349-B258A9296B49}" dt="2024-02-27T17:21:07.240" v="3508" actId="478"/>
          <ac:spMkLst>
            <pc:docMk/>
            <pc:sldMk cId="1341913498" sldId="578"/>
            <ac:spMk id="381" creationId="{BDBC0211-5813-7BCE-FD10-226D980F1135}"/>
          </ac:spMkLst>
        </pc:spChg>
        <pc:spChg chg="add">
          <ac:chgData name="Bullinger, Marvin" userId="5b54ce5a-dc89-476f-af33-5abd75d5b1e8" providerId="ADAL" clId="{43B71669-8A80-4333-9349-B258A9296B49}" dt="2024-02-27T16:53:49.050" v="3382"/>
          <ac:spMkLst>
            <pc:docMk/>
            <pc:sldMk cId="1341913498" sldId="578"/>
            <ac:spMk id="382" creationId="{94A2800E-A877-C196-17F6-FA9279EB9BBE}"/>
          </ac:spMkLst>
        </pc:spChg>
        <pc:spChg chg="del">
          <ac:chgData name="Bullinger, Marvin" userId="5b54ce5a-dc89-476f-af33-5abd75d5b1e8" providerId="ADAL" clId="{43B71669-8A80-4333-9349-B258A9296B49}" dt="2024-02-27T17:21:07.240" v="3507" actId="478"/>
          <ac:spMkLst>
            <pc:docMk/>
            <pc:sldMk cId="1341913498" sldId="578"/>
            <ac:spMk id="382" creationId="{F865A71B-63BC-BCBC-D583-A7E4BC98A202}"/>
          </ac:spMkLst>
        </pc:spChg>
        <pc:spChg chg="add">
          <ac:chgData name="Bullinger, Marvin" userId="5b54ce5a-dc89-476f-af33-5abd75d5b1e8" providerId="ADAL" clId="{43B71669-8A80-4333-9349-B258A9296B49}" dt="2024-02-27T16:53:49.050" v="3382"/>
          <ac:spMkLst>
            <pc:docMk/>
            <pc:sldMk cId="1341913498" sldId="578"/>
            <ac:spMk id="383" creationId="{79681AFB-823C-CD1F-0771-D6F59C34A392}"/>
          </ac:spMkLst>
        </pc:spChg>
        <pc:spChg chg="del">
          <ac:chgData name="Bullinger, Marvin" userId="5b54ce5a-dc89-476f-af33-5abd75d5b1e8" providerId="ADAL" clId="{43B71669-8A80-4333-9349-B258A9296B49}" dt="2024-02-27T17:21:07.240" v="3506" actId="478"/>
          <ac:spMkLst>
            <pc:docMk/>
            <pc:sldMk cId="1341913498" sldId="578"/>
            <ac:spMk id="383" creationId="{F17F5CE1-2708-8997-CEC8-6158B77BF591}"/>
          </ac:spMkLst>
        </pc:spChg>
        <pc:spChg chg="add">
          <ac:chgData name="Bullinger, Marvin" userId="5b54ce5a-dc89-476f-af33-5abd75d5b1e8" providerId="ADAL" clId="{43B71669-8A80-4333-9349-B258A9296B49}" dt="2024-02-27T16:53:49.050" v="3382"/>
          <ac:spMkLst>
            <pc:docMk/>
            <pc:sldMk cId="1341913498" sldId="578"/>
            <ac:spMk id="384" creationId="{9E72796F-D98E-B01B-BB80-DAE1AD66CCBC}"/>
          </ac:spMkLst>
        </pc:spChg>
        <pc:spChg chg="del">
          <ac:chgData name="Bullinger, Marvin" userId="5b54ce5a-dc89-476f-af33-5abd75d5b1e8" providerId="ADAL" clId="{43B71669-8A80-4333-9349-B258A9296B49}" dt="2024-02-27T17:21:07.240" v="3505" actId="478"/>
          <ac:spMkLst>
            <pc:docMk/>
            <pc:sldMk cId="1341913498" sldId="578"/>
            <ac:spMk id="384" creationId="{ED4CC1E4-99AA-0953-2C53-1CDF6005E391}"/>
          </ac:spMkLst>
        </pc:spChg>
        <pc:spChg chg="del">
          <ac:chgData name="Bullinger, Marvin" userId="5b54ce5a-dc89-476f-af33-5abd75d5b1e8" providerId="ADAL" clId="{43B71669-8A80-4333-9349-B258A9296B49}" dt="2024-02-27T17:21:07.240" v="3504" actId="478"/>
          <ac:spMkLst>
            <pc:docMk/>
            <pc:sldMk cId="1341913498" sldId="578"/>
            <ac:spMk id="385" creationId="{7B1418BD-AF59-913C-6DD2-65C61FC57B25}"/>
          </ac:spMkLst>
        </pc:spChg>
        <pc:spChg chg="add">
          <ac:chgData name="Bullinger, Marvin" userId="5b54ce5a-dc89-476f-af33-5abd75d5b1e8" providerId="ADAL" clId="{43B71669-8A80-4333-9349-B258A9296B49}" dt="2024-02-27T16:53:49.050" v="3382"/>
          <ac:spMkLst>
            <pc:docMk/>
            <pc:sldMk cId="1341913498" sldId="578"/>
            <ac:spMk id="385" creationId="{A598C1B5-1DE0-E80B-5BB5-29051B80D129}"/>
          </ac:spMkLst>
        </pc:spChg>
        <pc:spChg chg="del">
          <ac:chgData name="Bullinger, Marvin" userId="5b54ce5a-dc89-476f-af33-5abd75d5b1e8" providerId="ADAL" clId="{43B71669-8A80-4333-9349-B258A9296B49}" dt="2024-02-27T17:21:07.240" v="3503" actId="478"/>
          <ac:spMkLst>
            <pc:docMk/>
            <pc:sldMk cId="1341913498" sldId="578"/>
            <ac:spMk id="386" creationId="{31602FE8-BCEF-ED49-EF98-4845CE0647F5}"/>
          </ac:spMkLst>
        </pc:spChg>
        <pc:spChg chg="add">
          <ac:chgData name="Bullinger, Marvin" userId="5b54ce5a-dc89-476f-af33-5abd75d5b1e8" providerId="ADAL" clId="{43B71669-8A80-4333-9349-B258A9296B49}" dt="2024-02-27T16:53:49.050" v="3382"/>
          <ac:spMkLst>
            <pc:docMk/>
            <pc:sldMk cId="1341913498" sldId="578"/>
            <ac:spMk id="386" creationId="{FBD310C3-CF66-8605-1637-D118BF8F0B94}"/>
          </ac:spMkLst>
        </pc:spChg>
        <pc:spChg chg="del">
          <ac:chgData name="Bullinger, Marvin" userId="5b54ce5a-dc89-476f-af33-5abd75d5b1e8" providerId="ADAL" clId="{43B71669-8A80-4333-9349-B258A9296B49}" dt="2024-02-27T17:21:07.240" v="3502" actId="478"/>
          <ac:spMkLst>
            <pc:docMk/>
            <pc:sldMk cId="1341913498" sldId="578"/>
            <ac:spMk id="387" creationId="{333EA9B3-A6F2-B9F3-B576-EBDE9CBF9936}"/>
          </ac:spMkLst>
        </pc:spChg>
        <pc:spChg chg="add">
          <ac:chgData name="Bullinger, Marvin" userId="5b54ce5a-dc89-476f-af33-5abd75d5b1e8" providerId="ADAL" clId="{43B71669-8A80-4333-9349-B258A9296B49}" dt="2024-02-27T16:53:49.050" v="3382"/>
          <ac:spMkLst>
            <pc:docMk/>
            <pc:sldMk cId="1341913498" sldId="578"/>
            <ac:spMk id="387" creationId="{A987C97B-6D36-EA18-2E59-E8E36C2E6C3C}"/>
          </ac:spMkLst>
        </pc:spChg>
        <pc:spChg chg="add">
          <ac:chgData name="Bullinger, Marvin" userId="5b54ce5a-dc89-476f-af33-5abd75d5b1e8" providerId="ADAL" clId="{43B71669-8A80-4333-9349-B258A9296B49}" dt="2024-02-27T16:53:49.050" v="3382"/>
          <ac:spMkLst>
            <pc:docMk/>
            <pc:sldMk cId="1341913498" sldId="578"/>
            <ac:spMk id="388" creationId="{AB82D3CF-E87E-9736-446C-FDC326156DFA}"/>
          </ac:spMkLst>
        </pc:spChg>
        <pc:spChg chg="del">
          <ac:chgData name="Bullinger, Marvin" userId="5b54ce5a-dc89-476f-af33-5abd75d5b1e8" providerId="ADAL" clId="{43B71669-8A80-4333-9349-B258A9296B49}" dt="2024-02-27T17:21:07.240" v="3501" actId="478"/>
          <ac:spMkLst>
            <pc:docMk/>
            <pc:sldMk cId="1341913498" sldId="578"/>
            <ac:spMk id="388" creationId="{DA957224-D656-14E4-42F0-61792EC45011}"/>
          </ac:spMkLst>
        </pc:spChg>
        <pc:spChg chg="add">
          <ac:chgData name="Bullinger, Marvin" userId="5b54ce5a-dc89-476f-af33-5abd75d5b1e8" providerId="ADAL" clId="{43B71669-8A80-4333-9349-B258A9296B49}" dt="2024-02-27T16:53:49.050" v="3382"/>
          <ac:spMkLst>
            <pc:docMk/>
            <pc:sldMk cId="1341913498" sldId="578"/>
            <ac:spMk id="389" creationId="{56D012F3-F9F9-8404-857D-761C7210D45F}"/>
          </ac:spMkLst>
        </pc:spChg>
        <pc:spChg chg="replST">
          <ac:chgData name="Bullinger, Marvin" userId="5b54ce5a-dc89-476f-af33-5abd75d5b1e8" providerId="ADAL" clId="{43B71669-8A80-4333-9349-B258A9296B49}" dt="2024-02-27T17:21:07.745" v="3865"/>
          <ac:spMkLst>
            <pc:docMk/>
            <pc:sldMk cId="1341913498" sldId="578"/>
            <ac:spMk id="389" creationId="{5DEEB036-2461-6FC1-D5DF-E92F808C8232}"/>
          </ac:spMkLst>
        </pc:spChg>
        <pc:spChg chg="add">
          <ac:chgData name="Bullinger, Marvin" userId="5b54ce5a-dc89-476f-af33-5abd75d5b1e8" providerId="ADAL" clId="{43B71669-8A80-4333-9349-B258A9296B49}" dt="2024-02-27T16:53:49.050" v="3382"/>
          <ac:spMkLst>
            <pc:docMk/>
            <pc:sldMk cId="1341913498" sldId="578"/>
            <ac:spMk id="390" creationId="{94F67A2F-A07B-E94D-1B4C-FE043A41DC8B}"/>
          </ac:spMkLst>
        </pc:spChg>
        <pc:spChg chg="replST">
          <ac:chgData name="Bullinger, Marvin" userId="5b54ce5a-dc89-476f-af33-5abd75d5b1e8" providerId="ADAL" clId="{43B71669-8A80-4333-9349-B258A9296B49}" dt="2024-02-27T17:21:07.761" v="3868"/>
          <ac:spMkLst>
            <pc:docMk/>
            <pc:sldMk cId="1341913498" sldId="578"/>
            <ac:spMk id="390" creationId="{C2C39308-58F5-5B7B-3F85-4BA482F3BDF2}"/>
          </ac:spMkLst>
        </pc:spChg>
        <pc:spChg chg="add">
          <ac:chgData name="Bullinger, Marvin" userId="5b54ce5a-dc89-476f-af33-5abd75d5b1e8" providerId="ADAL" clId="{43B71669-8A80-4333-9349-B258A9296B49}" dt="2024-02-27T16:53:49.050" v="3382"/>
          <ac:spMkLst>
            <pc:docMk/>
            <pc:sldMk cId="1341913498" sldId="578"/>
            <ac:spMk id="391" creationId="{46FA0C68-D93F-4795-66DD-656FCD244363}"/>
          </ac:spMkLst>
        </pc:spChg>
        <pc:spChg chg="del ord replST">
          <ac:chgData name="Bullinger, Marvin" userId="5b54ce5a-dc89-476f-af33-5abd75d5b1e8" providerId="ADAL" clId="{43B71669-8A80-4333-9349-B258A9296B49}" dt="2024-02-27T17:26:23.064" v="4453" actId="478"/>
          <ac:spMkLst>
            <pc:docMk/>
            <pc:sldMk cId="1341913498" sldId="578"/>
            <ac:spMk id="391" creationId="{8CFAEF25-8725-2124-C852-2BBD79BF9BF1}"/>
          </ac:spMkLst>
        </pc:spChg>
        <pc:spChg chg="replST">
          <ac:chgData name="Bullinger, Marvin" userId="5b54ce5a-dc89-476f-af33-5abd75d5b1e8" providerId="ADAL" clId="{43B71669-8A80-4333-9349-B258A9296B49}" dt="2024-02-27T17:21:07.761" v="3872"/>
          <ac:spMkLst>
            <pc:docMk/>
            <pc:sldMk cId="1341913498" sldId="578"/>
            <ac:spMk id="392" creationId="{39CA33CA-DE2B-9EAA-9605-2A9ABF3CBB61}"/>
          </ac:spMkLst>
        </pc:spChg>
        <pc:spChg chg="add">
          <ac:chgData name="Bullinger, Marvin" userId="5b54ce5a-dc89-476f-af33-5abd75d5b1e8" providerId="ADAL" clId="{43B71669-8A80-4333-9349-B258A9296B49}" dt="2024-02-27T16:53:49.050" v="3382"/>
          <ac:spMkLst>
            <pc:docMk/>
            <pc:sldMk cId="1341913498" sldId="578"/>
            <ac:spMk id="392" creationId="{B2A0F931-3C06-DA03-11DB-CBFB84FCFD29}"/>
          </ac:spMkLst>
        </pc:spChg>
        <pc:spChg chg="replST">
          <ac:chgData name="Bullinger, Marvin" userId="5b54ce5a-dc89-476f-af33-5abd75d5b1e8" providerId="ADAL" clId="{43B71669-8A80-4333-9349-B258A9296B49}" dt="2024-02-27T17:21:07.761" v="3875"/>
          <ac:spMkLst>
            <pc:docMk/>
            <pc:sldMk cId="1341913498" sldId="578"/>
            <ac:spMk id="393" creationId="{98FCAF3C-B431-9D8B-4A7D-0D36D2EBEFE4}"/>
          </ac:spMkLst>
        </pc:spChg>
        <pc:spChg chg="add">
          <ac:chgData name="Bullinger, Marvin" userId="5b54ce5a-dc89-476f-af33-5abd75d5b1e8" providerId="ADAL" clId="{43B71669-8A80-4333-9349-B258A9296B49}" dt="2024-02-27T16:53:49.050" v="3382"/>
          <ac:spMkLst>
            <pc:docMk/>
            <pc:sldMk cId="1341913498" sldId="578"/>
            <ac:spMk id="393" creationId="{B3C0E5B7-4CDD-ED2D-3FCB-795E0ADBDD0D}"/>
          </ac:spMkLst>
        </pc:spChg>
        <pc:spChg chg="add">
          <ac:chgData name="Bullinger, Marvin" userId="5b54ce5a-dc89-476f-af33-5abd75d5b1e8" providerId="ADAL" clId="{43B71669-8A80-4333-9349-B258A9296B49}" dt="2024-02-27T16:53:49.050" v="3382"/>
          <ac:spMkLst>
            <pc:docMk/>
            <pc:sldMk cId="1341913498" sldId="578"/>
            <ac:spMk id="394" creationId="{4130C415-2CED-2258-B6B0-4C31E06AC472}"/>
          </ac:spMkLst>
        </pc:spChg>
        <pc:spChg chg="add">
          <ac:chgData name="Bullinger, Marvin" userId="5b54ce5a-dc89-476f-af33-5abd75d5b1e8" providerId="ADAL" clId="{43B71669-8A80-4333-9349-B258A9296B49}" dt="2024-02-27T16:53:49.050" v="3382"/>
          <ac:spMkLst>
            <pc:docMk/>
            <pc:sldMk cId="1341913498" sldId="578"/>
            <ac:spMk id="395" creationId="{59934FCC-2BC9-38B1-C172-3A9A0469D95B}"/>
          </ac:spMkLst>
        </pc:spChg>
        <pc:spChg chg="replST">
          <ac:chgData name="Bullinger, Marvin" userId="5b54ce5a-dc89-476f-af33-5abd75d5b1e8" providerId="ADAL" clId="{43B71669-8A80-4333-9349-B258A9296B49}" dt="2024-02-27T17:21:07.777" v="3879"/>
          <ac:spMkLst>
            <pc:docMk/>
            <pc:sldMk cId="1341913498" sldId="578"/>
            <ac:spMk id="395" creationId="{75409ACD-3BA2-85BB-83E2-37805242B08C}"/>
          </ac:spMkLst>
        </pc:spChg>
        <pc:spChg chg="replST">
          <ac:chgData name="Bullinger, Marvin" userId="5b54ce5a-dc89-476f-af33-5abd75d5b1e8" providerId="ADAL" clId="{43B71669-8A80-4333-9349-B258A9296B49}" dt="2024-02-27T17:21:07.785" v="3882"/>
          <ac:spMkLst>
            <pc:docMk/>
            <pc:sldMk cId="1341913498" sldId="578"/>
            <ac:spMk id="396" creationId="{60D2E21A-B6E7-06BB-9CAD-70370D03457E}"/>
          </ac:spMkLst>
        </pc:spChg>
        <pc:spChg chg="add">
          <ac:chgData name="Bullinger, Marvin" userId="5b54ce5a-dc89-476f-af33-5abd75d5b1e8" providerId="ADAL" clId="{43B71669-8A80-4333-9349-B258A9296B49}" dt="2024-02-27T16:53:49.050" v="3382"/>
          <ac:spMkLst>
            <pc:docMk/>
            <pc:sldMk cId="1341913498" sldId="578"/>
            <ac:spMk id="396" creationId="{80357FE7-9A76-1AFB-D958-43523E220A12}"/>
          </ac:spMkLst>
        </pc:spChg>
        <pc:spChg chg="add">
          <ac:chgData name="Bullinger, Marvin" userId="5b54ce5a-dc89-476f-af33-5abd75d5b1e8" providerId="ADAL" clId="{43B71669-8A80-4333-9349-B258A9296B49}" dt="2024-02-27T16:53:49.050" v="3382"/>
          <ac:spMkLst>
            <pc:docMk/>
            <pc:sldMk cId="1341913498" sldId="578"/>
            <ac:spMk id="397" creationId="{038C1DC6-C097-F157-93DF-DEBD5E68994E}"/>
          </ac:spMkLst>
        </pc:spChg>
        <pc:spChg chg="add">
          <ac:chgData name="Bullinger, Marvin" userId="5b54ce5a-dc89-476f-af33-5abd75d5b1e8" providerId="ADAL" clId="{43B71669-8A80-4333-9349-B258A9296B49}" dt="2024-02-27T16:53:49.050" v="3382"/>
          <ac:spMkLst>
            <pc:docMk/>
            <pc:sldMk cId="1341913498" sldId="578"/>
            <ac:spMk id="398" creationId="{8FE1BBEF-388D-01B0-3C43-1AD63AD16192}"/>
          </ac:spMkLst>
        </pc:spChg>
        <pc:spChg chg="replST">
          <ac:chgData name="Bullinger, Marvin" userId="5b54ce5a-dc89-476f-af33-5abd75d5b1e8" providerId="ADAL" clId="{43B71669-8A80-4333-9349-B258A9296B49}" dt="2024-02-27T17:21:07.785" v="3886"/>
          <ac:spMkLst>
            <pc:docMk/>
            <pc:sldMk cId="1341913498" sldId="578"/>
            <ac:spMk id="398" creationId="{CE17381F-27E0-FD39-72BC-92DA36093D49}"/>
          </ac:spMkLst>
        </pc:spChg>
        <pc:spChg chg="replST">
          <ac:chgData name="Bullinger, Marvin" userId="5b54ce5a-dc89-476f-af33-5abd75d5b1e8" providerId="ADAL" clId="{43B71669-8A80-4333-9349-B258A9296B49}" dt="2024-02-27T17:21:07.793" v="3889"/>
          <ac:spMkLst>
            <pc:docMk/>
            <pc:sldMk cId="1341913498" sldId="578"/>
            <ac:spMk id="399" creationId="{1D5E848B-C471-4AB1-958E-EBCB7C2FDB5E}"/>
          </ac:spMkLst>
        </pc:spChg>
        <pc:spChg chg="add">
          <ac:chgData name="Bullinger, Marvin" userId="5b54ce5a-dc89-476f-af33-5abd75d5b1e8" providerId="ADAL" clId="{43B71669-8A80-4333-9349-B258A9296B49}" dt="2024-02-27T16:53:49.050" v="3382"/>
          <ac:spMkLst>
            <pc:docMk/>
            <pc:sldMk cId="1341913498" sldId="578"/>
            <ac:spMk id="399" creationId="{B1696DE8-7AD8-8655-2F77-372530DCB294}"/>
          </ac:spMkLst>
        </pc:spChg>
        <pc:spChg chg="add">
          <ac:chgData name="Bullinger, Marvin" userId="5b54ce5a-dc89-476f-af33-5abd75d5b1e8" providerId="ADAL" clId="{43B71669-8A80-4333-9349-B258A9296B49}" dt="2024-02-27T16:53:49.050" v="3382"/>
          <ac:spMkLst>
            <pc:docMk/>
            <pc:sldMk cId="1341913498" sldId="578"/>
            <ac:spMk id="400" creationId="{5F4EB64A-ABB4-CCB5-8D1D-F8DC891411DF}"/>
          </ac:spMkLst>
        </pc:spChg>
        <pc:spChg chg="add">
          <ac:chgData name="Bullinger, Marvin" userId="5b54ce5a-dc89-476f-af33-5abd75d5b1e8" providerId="ADAL" clId="{43B71669-8A80-4333-9349-B258A9296B49}" dt="2024-02-27T16:53:49.050" v="3382"/>
          <ac:spMkLst>
            <pc:docMk/>
            <pc:sldMk cId="1341913498" sldId="578"/>
            <ac:spMk id="401" creationId="{37523927-3294-EDFA-2E8D-0D191F3F13E7}"/>
          </ac:spMkLst>
        </pc:spChg>
        <pc:spChg chg="replST">
          <ac:chgData name="Bullinger, Marvin" userId="5b54ce5a-dc89-476f-af33-5abd75d5b1e8" providerId="ADAL" clId="{43B71669-8A80-4333-9349-B258A9296B49}" dt="2024-02-27T17:21:07.793" v="3893"/>
          <ac:spMkLst>
            <pc:docMk/>
            <pc:sldMk cId="1341913498" sldId="578"/>
            <ac:spMk id="401" creationId="{C186E667-62A0-D1FA-6BC7-2B5024FD2AD9}"/>
          </ac:spMkLst>
        </pc:spChg>
        <pc:spChg chg="replST">
          <ac:chgData name="Bullinger, Marvin" userId="5b54ce5a-dc89-476f-af33-5abd75d5b1e8" providerId="ADAL" clId="{43B71669-8A80-4333-9349-B258A9296B49}" dt="2024-02-27T17:21:07.809" v="3896"/>
          <ac:spMkLst>
            <pc:docMk/>
            <pc:sldMk cId="1341913498" sldId="578"/>
            <ac:spMk id="402" creationId="{B5C23942-3C2F-2184-1215-B35478E18F05}"/>
          </ac:spMkLst>
        </pc:spChg>
        <pc:spChg chg="add">
          <ac:chgData name="Bullinger, Marvin" userId="5b54ce5a-dc89-476f-af33-5abd75d5b1e8" providerId="ADAL" clId="{43B71669-8A80-4333-9349-B258A9296B49}" dt="2024-02-27T16:53:49.050" v="3382"/>
          <ac:spMkLst>
            <pc:docMk/>
            <pc:sldMk cId="1341913498" sldId="578"/>
            <ac:spMk id="402" creationId="{F959FF3B-3174-C6F9-6555-24F5900BDA59}"/>
          </ac:spMkLst>
        </pc:spChg>
        <pc:spChg chg="add">
          <ac:chgData name="Bullinger, Marvin" userId="5b54ce5a-dc89-476f-af33-5abd75d5b1e8" providerId="ADAL" clId="{43B71669-8A80-4333-9349-B258A9296B49}" dt="2024-02-27T16:53:49.050" v="3382"/>
          <ac:spMkLst>
            <pc:docMk/>
            <pc:sldMk cId="1341913498" sldId="578"/>
            <ac:spMk id="403" creationId="{3E90FD79-3378-5713-2268-54B422B10B10}"/>
          </ac:spMkLst>
        </pc:spChg>
        <pc:spChg chg="add">
          <ac:chgData name="Bullinger, Marvin" userId="5b54ce5a-dc89-476f-af33-5abd75d5b1e8" providerId="ADAL" clId="{43B71669-8A80-4333-9349-B258A9296B49}" dt="2024-02-27T16:53:49.050" v="3382"/>
          <ac:spMkLst>
            <pc:docMk/>
            <pc:sldMk cId="1341913498" sldId="578"/>
            <ac:spMk id="404" creationId="{AA4454B6-2297-8290-419B-91FA731875B9}"/>
          </ac:spMkLst>
        </pc:spChg>
        <pc:spChg chg="replST">
          <ac:chgData name="Bullinger, Marvin" userId="5b54ce5a-dc89-476f-af33-5abd75d5b1e8" providerId="ADAL" clId="{43B71669-8A80-4333-9349-B258A9296B49}" dt="2024-02-27T17:21:07.809" v="3900"/>
          <ac:spMkLst>
            <pc:docMk/>
            <pc:sldMk cId="1341913498" sldId="578"/>
            <ac:spMk id="404" creationId="{B2062ADF-2AEA-05C4-67D6-F845BE1C13A9}"/>
          </ac:spMkLst>
        </pc:spChg>
        <pc:spChg chg="add">
          <ac:chgData name="Bullinger, Marvin" userId="5b54ce5a-dc89-476f-af33-5abd75d5b1e8" providerId="ADAL" clId="{43B71669-8A80-4333-9349-B258A9296B49}" dt="2024-02-27T16:53:49.050" v="3382"/>
          <ac:spMkLst>
            <pc:docMk/>
            <pc:sldMk cId="1341913498" sldId="578"/>
            <ac:spMk id="405" creationId="{ABD3A4D7-E595-1E9C-0316-CC6CE0EFDE36}"/>
          </ac:spMkLst>
        </pc:spChg>
        <pc:spChg chg="replST">
          <ac:chgData name="Bullinger, Marvin" userId="5b54ce5a-dc89-476f-af33-5abd75d5b1e8" providerId="ADAL" clId="{43B71669-8A80-4333-9349-B258A9296B49}" dt="2024-02-27T17:21:07.809" v="3903"/>
          <ac:spMkLst>
            <pc:docMk/>
            <pc:sldMk cId="1341913498" sldId="578"/>
            <ac:spMk id="405" creationId="{CF26C939-79B3-8347-F334-E1CF57459D47}"/>
          </ac:spMkLst>
        </pc:spChg>
        <pc:spChg chg="add">
          <ac:chgData name="Bullinger, Marvin" userId="5b54ce5a-dc89-476f-af33-5abd75d5b1e8" providerId="ADAL" clId="{43B71669-8A80-4333-9349-B258A9296B49}" dt="2024-02-27T16:53:49.050" v="3382"/>
          <ac:spMkLst>
            <pc:docMk/>
            <pc:sldMk cId="1341913498" sldId="578"/>
            <ac:spMk id="406" creationId="{6BBB206D-77E8-809B-646C-99FE1EC07572}"/>
          </ac:spMkLst>
        </pc:spChg>
        <pc:spChg chg="replST">
          <ac:chgData name="Bullinger, Marvin" userId="5b54ce5a-dc89-476f-af33-5abd75d5b1e8" providerId="ADAL" clId="{43B71669-8A80-4333-9349-B258A9296B49}" dt="2024-02-27T17:21:07.829" v="3907"/>
          <ac:spMkLst>
            <pc:docMk/>
            <pc:sldMk cId="1341913498" sldId="578"/>
            <ac:spMk id="407" creationId="{06A5CE0C-3142-4E1E-9993-B72AE259FB99}"/>
          </ac:spMkLst>
        </pc:spChg>
        <pc:spChg chg="add">
          <ac:chgData name="Bullinger, Marvin" userId="5b54ce5a-dc89-476f-af33-5abd75d5b1e8" providerId="ADAL" clId="{43B71669-8A80-4333-9349-B258A9296B49}" dt="2024-02-27T16:53:49.050" v="3382"/>
          <ac:spMkLst>
            <pc:docMk/>
            <pc:sldMk cId="1341913498" sldId="578"/>
            <ac:spMk id="407" creationId="{5936CC61-91DF-39FE-B3B9-E928A87A1FED}"/>
          </ac:spMkLst>
        </pc:spChg>
        <pc:spChg chg="add">
          <ac:chgData name="Bullinger, Marvin" userId="5b54ce5a-dc89-476f-af33-5abd75d5b1e8" providerId="ADAL" clId="{43B71669-8A80-4333-9349-B258A9296B49}" dt="2024-02-27T16:53:49.050" v="3382"/>
          <ac:spMkLst>
            <pc:docMk/>
            <pc:sldMk cId="1341913498" sldId="578"/>
            <ac:spMk id="408" creationId="{49D542F9-2EEB-FCB3-C6F0-7A1E46629D6B}"/>
          </ac:spMkLst>
        </pc:spChg>
        <pc:spChg chg="replST">
          <ac:chgData name="Bullinger, Marvin" userId="5b54ce5a-dc89-476f-af33-5abd75d5b1e8" providerId="ADAL" clId="{43B71669-8A80-4333-9349-B258A9296B49}" dt="2024-02-27T17:21:07.829" v="3910"/>
          <ac:spMkLst>
            <pc:docMk/>
            <pc:sldMk cId="1341913498" sldId="578"/>
            <ac:spMk id="408" creationId="{4D928218-ED4D-A60B-CE7F-C6EF7AF7480A}"/>
          </ac:spMkLst>
        </pc:spChg>
        <pc:spChg chg="add">
          <ac:chgData name="Bullinger, Marvin" userId="5b54ce5a-dc89-476f-af33-5abd75d5b1e8" providerId="ADAL" clId="{43B71669-8A80-4333-9349-B258A9296B49}" dt="2024-02-27T16:53:49.050" v="3382"/>
          <ac:spMkLst>
            <pc:docMk/>
            <pc:sldMk cId="1341913498" sldId="578"/>
            <ac:spMk id="409" creationId="{0AC396BA-0980-E408-6C83-D9B123664992}"/>
          </ac:spMkLst>
        </pc:spChg>
        <pc:spChg chg="add">
          <ac:chgData name="Bullinger, Marvin" userId="5b54ce5a-dc89-476f-af33-5abd75d5b1e8" providerId="ADAL" clId="{43B71669-8A80-4333-9349-B258A9296B49}" dt="2024-02-27T16:53:49.050" v="3382"/>
          <ac:spMkLst>
            <pc:docMk/>
            <pc:sldMk cId="1341913498" sldId="578"/>
            <ac:spMk id="410" creationId="{AF4D9036-2033-536C-2905-927B1949662C}"/>
          </ac:spMkLst>
        </pc:spChg>
        <pc:spChg chg="add">
          <ac:chgData name="Bullinger, Marvin" userId="5b54ce5a-dc89-476f-af33-5abd75d5b1e8" providerId="ADAL" clId="{43B71669-8A80-4333-9349-B258A9296B49}" dt="2024-02-27T16:53:49.050" v="3382"/>
          <ac:spMkLst>
            <pc:docMk/>
            <pc:sldMk cId="1341913498" sldId="578"/>
            <ac:spMk id="411" creationId="{9D46AFB8-8CF9-C9D9-E44F-7C872238B79B}"/>
          </ac:spMkLst>
        </pc:spChg>
        <pc:spChg chg="add">
          <ac:chgData name="Bullinger, Marvin" userId="5b54ce5a-dc89-476f-af33-5abd75d5b1e8" providerId="ADAL" clId="{43B71669-8A80-4333-9349-B258A9296B49}" dt="2024-02-27T16:53:49.050" v="3382"/>
          <ac:spMkLst>
            <pc:docMk/>
            <pc:sldMk cId="1341913498" sldId="578"/>
            <ac:spMk id="412" creationId="{B2FEE5B9-3661-7E64-D5BC-6D050FE4A713}"/>
          </ac:spMkLst>
        </pc:spChg>
        <pc:spChg chg="add del mod">
          <ac:chgData name="Bullinger, Marvin" userId="5b54ce5a-dc89-476f-af33-5abd75d5b1e8" providerId="ADAL" clId="{43B71669-8A80-4333-9349-B258A9296B49}" dt="2024-02-27T16:53:49.050" v="3382"/>
          <ac:spMkLst>
            <pc:docMk/>
            <pc:sldMk cId="1341913498" sldId="578"/>
            <ac:spMk id="414" creationId="{F70CE0BE-649A-2916-36B3-EA7F0254D87D}"/>
          </ac:spMkLst>
        </pc:spChg>
        <pc:spChg chg="mod ord replST delST">
          <ac:chgData name="Bullinger, Marvin" userId="5b54ce5a-dc89-476f-af33-5abd75d5b1e8" providerId="ADAL" clId="{43B71669-8A80-4333-9349-B258A9296B49}" dt="2024-02-27T16:53:49.050" v="3382"/>
          <ac:spMkLst>
            <pc:docMk/>
            <pc:sldMk cId="1341913498" sldId="578"/>
            <ac:spMk id="415" creationId="{972A79D8-B632-C208-A7BB-4C9556CD66BC}"/>
          </ac:spMkLst>
        </pc:spChg>
        <pc:spChg chg="add del">
          <ac:chgData name="Bullinger, Marvin" userId="5b54ce5a-dc89-476f-af33-5abd75d5b1e8" providerId="ADAL" clId="{43B71669-8A80-4333-9349-B258A9296B49}" dt="2024-02-27T16:53:49.050" v="3382"/>
          <ac:spMkLst>
            <pc:docMk/>
            <pc:sldMk cId="1341913498" sldId="578"/>
            <ac:spMk id="416" creationId="{103CA712-5779-FD31-BC5F-7DB6D5CD63C1}"/>
          </ac:spMkLst>
        </pc:spChg>
        <pc:spChg chg="add del">
          <ac:chgData name="Bullinger, Marvin" userId="5b54ce5a-dc89-476f-af33-5abd75d5b1e8" providerId="ADAL" clId="{43B71669-8A80-4333-9349-B258A9296B49}" dt="2024-02-27T16:53:49.050" v="3382"/>
          <ac:spMkLst>
            <pc:docMk/>
            <pc:sldMk cId="1341913498" sldId="578"/>
            <ac:spMk id="417" creationId="{7DB89964-1224-A9F4-C0AB-AF71D87B4FF2}"/>
          </ac:spMkLst>
        </pc:spChg>
        <pc:spChg chg="add del">
          <ac:chgData name="Bullinger, Marvin" userId="5b54ce5a-dc89-476f-af33-5abd75d5b1e8" providerId="ADAL" clId="{43B71669-8A80-4333-9349-B258A9296B49}" dt="2024-02-27T16:53:49.050" v="3382"/>
          <ac:spMkLst>
            <pc:docMk/>
            <pc:sldMk cId="1341913498" sldId="578"/>
            <ac:spMk id="418" creationId="{0D448DFB-8103-5FDC-F3D3-8D2E832612CA}"/>
          </ac:spMkLst>
        </pc:spChg>
        <pc:spChg chg="add del">
          <ac:chgData name="Bullinger, Marvin" userId="5b54ce5a-dc89-476f-af33-5abd75d5b1e8" providerId="ADAL" clId="{43B71669-8A80-4333-9349-B258A9296B49}" dt="2024-02-27T16:53:49.050" v="3382"/>
          <ac:spMkLst>
            <pc:docMk/>
            <pc:sldMk cId="1341913498" sldId="578"/>
            <ac:spMk id="419" creationId="{E997EF92-C918-48D6-0F16-2A2ED39C0ED1}"/>
          </ac:spMkLst>
        </pc:spChg>
        <pc:spChg chg="add del">
          <ac:chgData name="Bullinger, Marvin" userId="5b54ce5a-dc89-476f-af33-5abd75d5b1e8" providerId="ADAL" clId="{43B71669-8A80-4333-9349-B258A9296B49}" dt="2024-02-27T16:53:49.050" v="3382"/>
          <ac:spMkLst>
            <pc:docMk/>
            <pc:sldMk cId="1341913498" sldId="578"/>
            <ac:spMk id="420" creationId="{4A90D818-69A8-9457-F243-4B6B5698AF59}"/>
          </ac:spMkLst>
        </pc:spChg>
        <pc:spChg chg="add del">
          <ac:chgData name="Bullinger, Marvin" userId="5b54ce5a-dc89-476f-af33-5abd75d5b1e8" providerId="ADAL" clId="{43B71669-8A80-4333-9349-B258A9296B49}" dt="2024-02-27T16:53:49.050" v="3382"/>
          <ac:spMkLst>
            <pc:docMk/>
            <pc:sldMk cId="1341913498" sldId="578"/>
            <ac:spMk id="421" creationId="{8E40D625-57F7-B302-B418-0D021043696E}"/>
          </ac:spMkLst>
        </pc:spChg>
        <pc:spChg chg="add del">
          <ac:chgData name="Bullinger, Marvin" userId="5b54ce5a-dc89-476f-af33-5abd75d5b1e8" providerId="ADAL" clId="{43B71669-8A80-4333-9349-B258A9296B49}" dt="2024-02-27T16:53:49.050" v="3382"/>
          <ac:spMkLst>
            <pc:docMk/>
            <pc:sldMk cId="1341913498" sldId="578"/>
            <ac:spMk id="422" creationId="{17703C22-0BC9-9E37-D7CF-EB95364DBECE}"/>
          </ac:spMkLst>
        </pc:spChg>
        <pc:spChg chg="add del">
          <ac:chgData name="Bullinger, Marvin" userId="5b54ce5a-dc89-476f-af33-5abd75d5b1e8" providerId="ADAL" clId="{43B71669-8A80-4333-9349-B258A9296B49}" dt="2024-02-27T16:53:49.050" v="3382"/>
          <ac:spMkLst>
            <pc:docMk/>
            <pc:sldMk cId="1341913498" sldId="578"/>
            <ac:spMk id="423" creationId="{DD0E7786-796C-1C93-BE4C-FA3A3E030D39}"/>
          </ac:spMkLst>
        </pc:spChg>
        <pc:spChg chg="add del">
          <ac:chgData name="Bullinger, Marvin" userId="5b54ce5a-dc89-476f-af33-5abd75d5b1e8" providerId="ADAL" clId="{43B71669-8A80-4333-9349-B258A9296B49}" dt="2024-02-27T16:53:49.050" v="3382"/>
          <ac:spMkLst>
            <pc:docMk/>
            <pc:sldMk cId="1341913498" sldId="578"/>
            <ac:spMk id="424" creationId="{97BEAE08-4369-00E6-D238-1C97F7CA69EE}"/>
          </ac:spMkLst>
        </pc:spChg>
        <pc:spChg chg="add del">
          <ac:chgData name="Bullinger, Marvin" userId="5b54ce5a-dc89-476f-af33-5abd75d5b1e8" providerId="ADAL" clId="{43B71669-8A80-4333-9349-B258A9296B49}" dt="2024-02-27T16:53:49.050" v="3382"/>
          <ac:spMkLst>
            <pc:docMk/>
            <pc:sldMk cId="1341913498" sldId="578"/>
            <ac:spMk id="425" creationId="{FDEEBC3A-1567-199F-C79B-D97A1A2070D9}"/>
          </ac:spMkLst>
        </pc:spChg>
        <pc:spChg chg="add del">
          <ac:chgData name="Bullinger, Marvin" userId="5b54ce5a-dc89-476f-af33-5abd75d5b1e8" providerId="ADAL" clId="{43B71669-8A80-4333-9349-B258A9296B49}" dt="2024-02-27T16:53:49.050" v="3382"/>
          <ac:spMkLst>
            <pc:docMk/>
            <pc:sldMk cId="1341913498" sldId="578"/>
            <ac:spMk id="426" creationId="{4B39C135-81D3-30E2-5F8F-672D6D02EAEF}"/>
          </ac:spMkLst>
        </pc:spChg>
        <pc:spChg chg="add del">
          <ac:chgData name="Bullinger, Marvin" userId="5b54ce5a-dc89-476f-af33-5abd75d5b1e8" providerId="ADAL" clId="{43B71669-8A80-4333-9349-B258A9296B49}" dt="2024-02-27T16:53:49.050" v="3382"/>
          <ac:spMkLst>
            <pc:docMk/>
            <pc:sldMk cId="1341913498" sldId="578"/>
            <ac:spMk id="427" creationId="{7A421A8F-92EE-E542-7975-963DDBD46118}"/>
          </ac:spMkLst>
        </pc:spChg>
        <pc:spChg chg="add del">
          <ac:chgData name="Bullinger, Marvin" userId="5b54ce5a-dc89-476f-af33-5abd75d5b1e8" providerId="ADAL" clId="{43B71669-8A80-4333-9349-B258A9296B49}" dt="2024-02-27T16:53:49.050" v="3382"/>
          <ac:spMkLst>
            <pc:docMk/>
            <pc:sldMk cId="1341913498" sldId="578"/>
            <ac:spMk id="428" creationId="{A5B6E405-E11F-A03A-F66F-51CC9170851C}"/>
          </ac:spMkLst>
        </pc:spChg>
        <pc:spChg chg="add del">
          <ac:chgData name="Bullinger, Marvin" userId="5b54ce5a-dc89-476f-af33-5abd75d5b1e8" providerId="ADAL" clId="{43B71669-8A80-4333-9349-B258A9296B49}" dt="2024-02-27T16:53:49.050" v="3382"/>
          <ac:spMkLst>
            <pc:docMk/>
            <pc:sldMk cId="1341913498" sldId="578"/>
            <ac:spMk id="429" creationId="{48A54DFC-5756-FE8D-6263-35AD2FF31FE8}"/>
          </ac:spMkLst>
        </pc:spChg>
        <pc:spChg chg="add del">
          <ac:chgData name="Bullinger, Marvin" userId="5b54ce5a-dc89-476f-af33-5abd75d5b1e8" providerId="ADAL" clId="{43B71669-8A80-4333-9349-B258A9296B49}" dt="2024-02-27T16:53:49.050" v="3382"/>
          <ac:spMkLst>
            <pc:docMk/>
            <pc:sldMk cId="1341913498" sldId="578"/>
            <ac:spMk id="430" creationId="{AB630630-629C-2408-1814-4E2AD69A45AE}"/>
          </ac:spMkLst>
        </pc:spChg>
        <pc:spChg chg="add del">
          <ac:chgData name="Bullinger, Marvin" userId="5b54ce5a-dc89-476f-af33-5abd75d5b1e8" providerId="ADAL" clId="{43B71669-8A80-4333-9349-B258A9296B49}" dt="2024-02-27T16:53:49.050" v="3382"/>
          <ac:spMkLst>
            <pc:docMk/>
            <pc:sldMk cId="1341913498" sldId="578"/>
            <ac:spMk id="431" creationId="{50FA1C7C-405B-10E6-6770-A54A86EE992E}"/>
          </ac:spMkLst>
        </pc:spChg>
        <pc:spChg chg="add del">
          <ac:chgData name="Bullinger, Marvin" userId="5b54ce5a-dc89-476f-af33-5abd75d5b1e8" providerId="ADAL" clId="{43B71669-8A80-4333-9349-B258A9296B49}" dt="2024-02-27T16:53:49.050" v="3382"/>
          <ac:spMkLst>
            <pc:docMk/>
            <pc:sldMk cId="1341913498" sldId="578"/>
            <ac:spMk id="432" creationId="{B9E0476C-024B-7C6A-44A9-5E227EAC61C6}"/>
          </ac:spMkLst>
        </pc:spChg>
        <pc:spChg chg="add del">
          <ac:chgData name="Bullinger, Marvin" userId="5b54ce5a-dc89-476f-af33-5abd75d5b1e8" providerId="ADAL" clId="{43B71669-8A80-4333-9349-B258A9296B49}" dt="2024-02-27T16:53:49.050" v="3382"/>
          <ac:spMkLst>
            <pc:docMk/>
            <pc:sldMk cId="1341913498" sldId="578"/>
            <ac:spMk id="433" creationId="{8CC94936-8C87-97AB-39BF-CE12FD650060}"/>
          </ac:spMkLst>
        </pc:spChg>
        <pc:spChg chg="add del">
          <ac:chgData name="Bullinger, Marvin" userId="5b54ce5a-dc89-476f-af33-5abd75d5b1e8" providerId="ADAL" clId="{43B71669-8A80-4333-9349-B258A9296B49}" dt="2024-02-27T16:53:49.050" v="3382"/>
          <ac:spMkLst>
            <pc:docMk/>
            <pc:sldMk cId="1341913498" sldId="578"/>
            <ac:spMk id="434" creationId="{5F4A7A7D-DFA9-8E6A-245F-EC5A64D2EB9C}"/>
          </ac:spMkLst>
        </pc:spChg>
        <pc:spChg chg="add del">
          <ac:chgData name="Bullinger, Marvin" userId="5b54ce5a-dc89-476f-af33-5abd75d5b1e8" providerId="ADAL" clId="{43B71669-8A80-4333-9349-B258A9296B49}" dt="2024-02-27T16:53:49.050" v="3382"/>
          <ac:spMkLst>
            <pc:docMk/>
            <pc:sldMk cId="1341913498" sldId="578"/>
            <ac:spMk id="435" creationId="{206E5092-7265-60F8-3AE7-2357CE08DCA9}"/>
          </ac:spMkLst>
        </pc:spChg>
        <pc:spChg chg="add del">
          <ac:chgData name="Bullinger, Marvin" userId="5b54ce5a-dc89-476f-af33-5abd75d5b1e8" providerId="ADAL" clId="{43B71669-8A80-4333-9349-B258A9296B49}" dt="2024-02-27T16:53:49.050" v="3382"/>
          <ac:spMkLst>
            <pc:docMk/>
            <pc:sldMk cId="1341913498" sldId="578"/>
            <ac:spMk id="436" creationId="{E6E609E5-1762-8283-116D-E4B612E040C2}"/>
          </ac:spMkLst>
        </pc:spChg>
        <pc:spChg chg="add del">
          <ac:chgData name="Bullinger, Marvin" userId="5b54ce5a-dc89-476f-af33-5abd75d5b1e8" providerId="ADAL" clId="{43B71669-8A80-4333-9349-B258A9296B49}" dt="2024-02-27T16:53:49.050" v="3382"/>
          <ac:spMkLst>
            <pc:docMk/>
            <pc:sldMk cId="1341913498" sldId="578"/>
            <ac:spMk id="437" creationId="{75A7DD90-0F13-AF68-2C1C-D4E78B809523}"/>
          </ac:spMkLst>
        </pc:spChg>
        <pc:spChg chg="add del">
          <ac:chgData name="Bullinger, Marvin" userId="5b54ce5a-dc89-476f-af33-5abd75d5b1e8" providerId="ADAL" clId="{43B71669-8A80-4333-9349-B258A9296B49}" dt="2024-02-27T16:53:49.050" v="3382"/>
          <ac:spMkLst>
            <pc:docMk/>
            <pc:sldMk cId="1341913498" sldId="578"/>
            <ac:spMk id="438" creationId="{90823695-9D94-545D-864E-5225FB8CF7E6}"/>
          </ac:spMkLst>
        </pc:spChg>
        <pc:spChg chg="add del">
          <ac:chgData name="Bullinger, Marvin" userId="5b54ce5a-dc89-476f-af33-5abd75d5b1e8" providerId="ADAL" clId="{43B71669-8A80-4333-9349-B258A9296B49}" dt="2024-02-27T16:53:49.050" v="3382"/>
          <ac:spMkLst>
            <pc:docMk/>
            <pc:sldMk cId="1341913498" sldId="578"/>
            <ac:spMk id="439" creationId="{7FFCD0F2-A658-FE54-99B9-CFCB0EB703BF}"/>
          </ac:spMkLst>
        </pc:spChg>
        <pc:spChg chg="add del">
          <ac:chgData name="Bullinger, Marvin" userId="5b54ce5a-dc89-476f-af33-5abd75d5b1e8" providerId="ADAL" clId="{43B71669-8A80-4333-9349-B258A9296B49}" dt="2024-02-27T16:53:49.050" v="3382"/>
          <ac:spMkLst>
            <pc:docMk/>
            <pc:sldMk cId="1341913498" sldId="578"/>
            <ac:spMk id="440" creationId="{2A217A7C-25CB-5F8B-0F2F-84D4E99C8D64}"/>
          </ac:spMkLst>
        </pc:spChg>
        <pc:spChg chg="add del">
          <ac:chgData name="Bullinger, Marvin" userId="5b54ce5a-dc89-476f-af33-5abd75d5b1e8" providerId="ADAL" clId="{43B71669-8A80-4333-9349-B258A9296B49}" dt="2024-02-27T16:53:49.050" v="3382"/>
          <ac:spMkLst>
            <pc:docMk/>
            <pc:sldMk cId="1341913498" sldId="578"/>
            <ac:spMk id="441" creationId="{D05A8AF6-B718-797A-DC4A-91900C6086E9}"/>
          </ac:spMkLst>
        </pc:spChg>
        <pc:spChg chg="add del">
          <ac:chgData name="Bullinger, Marvin" userId="5b54ce5a-dc89-476f-af33-5abd75d5b1e8" providerId="ADAL" clId="{43B71669-8A80-4333-9349-B258A9296B49}" dt="2024-02-27T16:53:49.050" v="3382"/>
          <ac:spMkLst>
            <pc:docMk/>
            <pc:sldMk cId="1341913498" sldId="578"/>
            <ac:spMk id="442" creationId="{3FE9BA10-6DE5-79ED-E82B-21B74A7DF736}"/>
          </ac:spMkLst>
        </pc:spChg>
        <pc:spChg chg="add del">
          <ac:chgData name="Bullinger, Marvin" userId="5b54ce5a-dc89-476f-af33-5abd75d5b1e8" providerId="ADAL" clId="{43B71669-8A80-4333-9349-B258A9296B49}" dt="2024-02-27T16:53:49.050" v="3382"/>
          <ac:spMkLst>
            <pc:docMk/>
            <pc:sldMk cId="1341913498" sldId="578"/>
            <ac:spMk id="443" creationId="{655EBCAB-5A0B-DB15-D9AE-8C8B8DCD7C95}"/>
          </ac:spMkLst>
        </pc:spChg>
        <pc:spChg chg="add del">
          <ac:chgData name="Bullinger, Marvin" userId="5b54ce5a-dc89-476f-af33-5abd75d5b1e8" providerId="ADAL" clId="{43B71669-8A80-4333-9349-B258A9296B49}" dt="2024-02-27T16:53:49.050" v="3382"/>
          <ac:spMkLst>
            <pc:docMk/>
            <pc:sldMk cId="1341913498" sldId="578"/>
            <ac:spMk id="444" creationId="{D1CB34DA-5D0F-6E30-4211-07925BC53F39}"/>
          </ac:spMkLst>
        </pc:spChg>
        <pc:spChg chg="add del">
          <ac:chgData name="Bullinger, Marvin" userId="5b54ce5a-dc89-476f-af33-5abd75d5b1e8" providerId="ADAL" clId="{43B71669-8A80-4333-9349-B258A9296B49}" dt="2024-02-27T16:53:49.050" v="3382"/>
          <ac:spMkLst>
            <pc:docMk/>
            <pc:sldMk cId="1341913498" sldId="578"/>
            <ac:spMk id="445" creationId="{3762BAB2-8034-E194-1CAB-1C4B331095A3}"/>
          </ac:spMkLst>
        </pc:spChg>
        <pc:spChg chg="add del">
          <ac:chgData name="Bullinger, Marvin" userId="5b54ce5a-dc89-476f-af33-5abd75d5b1e8" providerId="ADAL" clId="{43B71669-8A80-4333-9349-B258A9296B49}" dt="2024-02-27T16:53:49.050" v="3382"/>
          <ac:spMkLst>
            <pc:docMk/>
            <pc:sldMk cId="1341913498" sldId="578"/>
            <ac:spMk id="446" creationId="{D1D5732F-2138-C066-D730-296ED24DCD1A}"/>
          </ac:spMkLst>
        </pc:spChg>
        <pc:spChg chg="add del">
          <ac:chgData name="Bullinger, Marvin" userId="5b54ce5a-dc89-476f-af33-5abd75d5b1e8" providerId="ADAL" clId="{43B71669-8A80-4333-9349-B258A9296B49}" dt="2024-02-27T16:53:49.050" v="3382"/>
          <ac:spMkLst>
            <pc:docMk/>
            <pc:sldMk cId="1341913498" sldId="578"/>
            <ac:spMk id="447" creationId="{9ECD08CC-6863-CC14-7273-81ACA9B66603}"/>
          </ac:spMkLst>
        </pc:spChg>
        <pc:spChg chg="add del">
          <ac:chgData name="Bullinger, Marvin" userId="5b54ce5a-dc89-476f-af33-5abd75d5b1e8" providerId="ADAL" clId="{43B71669-8A80-4333-9349-B258A9296B49}" dt="2024-02-27T16:53:49.050" v="3382"/>
          <ac:spMkLst>
            <pc:docMk/>
            <pc:sldMk cId="1341913498" sldId="578"/>
            <ac:spMk id="448" creationId="{3029E1C2-11CF-9788-8335-4EDB9B6EA72D}"/>
          </ac:spMkLst>
        </pc:spChg>
        <pc:spChg chg="add del">
          <ac:chgData name="Bullinger, Marvin" userId="5b54ce5a-dc89-476f-af33-5abd75d5b1e8" providerId="ADAL" clId="{43B71669-8A80-4333-9349-B258A9296B49}" dt="2024-02-27T16:53:49.050" v="3382"/>
          <ac:spMkLst>
            <pc:docMk/>
            <pc:sldMk cId="1341913498" sldId="578"/>
            <ac:spMk id="449" creationId="{7A89909D-29FF-A1E9-60FF-709DEB3014FC}"/>
          </ac:spMkLst>
        </pc:spChg>
        <pc:spChg chg="add mod">
          <ac:chgData name="Bullinger, Marvin" userId="5b54ce5a-dc89-476f-af33-5abd75d5b1e8" providerId="ADAL" clId="{43B71669-8A80-4333-9349-B258A9296B49}" dt="2024-02-27T17:26:23.064" v="4452" actId="478"/>
          <ac:spMkLst>
            <pc:docMk/>
            <pc:sldMk cId="1341913498" sldId="578"/>
            <ac:spMk id="449" creationId="{A24F775E-FE92-312E-485C-975F7AFCC4E4}"/>
          </ac:spMkLst>
        </pc:spChg>
        <pc:spChg chg="del mod ord replST">
          <ac:chgData name="Bullinger, Marvin" userId="5b54ce5a-dc89-476f-af33-5abd75d5b1e8" providerId="ADAL" clId="{43B71669-8A80-4333-9349-B258A9296B49}" dt="2024-02-27T17:26:59.070" v="5778" actId="478"/>
          <ac:spMkLst>
            <pc:docMk/>
            <pc:sldMk cId="1341913498" sldId="578"/>
            <ac:spMk id="450" creationId="{276E21B4-754D-06BF-9ABB-D00EA0658E56}"/>
          </ac:spMkLst>
        </pc:spChg>
        <pc:spChg chg="add del">
          <ac:chgData name="Bullinger, Marvin" userId="5b54ce5a-dc89-476f-af33-5abd75d5b1e8" providerId="ADAL" clId="{43B71669-8A80-4333-9349-B258A9296B49}" dt="2024-02-27T16:53:49.050" v="3382"/>
          <ac:spMkLst>
            <pc:docMk/>
            <pc:sldMk cId="1341913498" sldId="578"/>
            <ac:spMk id="450" creationId="{FE49E58D-A169-385B-0256-B014D7E1F86F}"/>
          </ac:spMkLst>
        </pc:spChg>
        <pc:spChg chg="del">
          <ac:chgData name="Bullinger, Marvin" userId="5b54ce5a-dc89-476f-af33-5abd75d5b1e8" providerId="ADAL" clId="{43B71669-8A80-4333-9349-B258A9296B49}" dt="2024-02-27T17:26:23.114" v="4489" actId="478"/>
          <ac:spMkLst>
            <pc:docMk/>
            <pc:sldMk cId="1341913498" sldId="578"/>
            <ac:spMk id="451" creationId="{4B0C5031-DD66-F91B-876C-830D676BC5A2}"/>
          </ac:spMkLst>
        </pc:spChg>
        <pc:spChg chg="add del">
          <ac:chgData name="Bullinger, Marvin" userId="5b54ce5a-dc89-476f-af33-5abd75d5b1e8" providerId="ADAL" clId="{43B71669-8A80-4333-9349-B258A9296B49}" dt="2024-02-27T16:53:49.050" v="3382"/>
          <ac:spMkLst>
            <pc:docMk/>
            <pc:sldMk cId="1341913498" sldId="578"/>
            <ac:spMk id="451" creationId="{D9494AA3-4ACD-A40D-D2B4-B118F587F3CC}"/>
          </ac:spMkLst>
        </pc:spChg>
        <pc:spChg chg="del">
          <ac:chgData name="Bullinger, Marvin" userId="5b54ce5a-dc89-476f-af33-5abd75d5b1e8" providerId="ADAL" clId="{43B71669-8A80-4333-9349-B258A9296B49}" dt="2024-02-27T17:26:23.114" v="4488" actId="478"/>
          <ac:spMkLst>
            <pc:docMk/>
            <pc:sldMk cId="1341913498" sldId="578"/>
            <ac:spMk id="452" creationId="{7F1E1B98-9A89-B35F-E210-675BF53C1E80}"/>
          </ac:spMkLst>
        </pc:spChg>
        <pc:spChg chg="add del">
          <ac:chgData name="Bullinger, Marvin" userId="5b54ce5a-dc89-476f-af33-5abd75d5b1e8" providerId="ADAL" clId="{43B71669-8A80-4333-9349-B258A9296B49}" dt="2024-02-27T16:53:49.050" v="3382"/>
          <ac:spMkLst>
            <pc:docMk/>
            <pc:sldMk cId="1341913498" sldId="578"/>
            <ac:spMk id="452" creationId="{FCE39342-1FE7-2B45-102B-0C03B79AC18D}"/>
          </ac:spMkLst>
        </pc:spChg>
        <pc:spChg chg="replST delST">
          <ac:chgData name="Bullinger, Marvin" userId="5b54ce5a-dc89-476f-af33-5abd75d5b1e8" providerId="ADAL" clId="{43B71669-8A80-4333-9349-B258A9296B49}" dt="2024-02-27T16:53:48.887" v="2962"/>
          <ac:spMkLst>
            <pc:docMk/>
            <pc:sldMk cId="1341913498" sldId="578"/>
            <ac:spMk id="453" creationId="{3A47DCEB-0511-31C8-DE20-53D3483A2CE9}"/>
          </ac:spMkLst>
        </pc:spChg>
        <pc:spChg chg="del">
          <ac:chgData name="Bullinger, Marvin" userId="5b54ce5a-dc89-476f-af33-5abd75d5b1e8" providerId="ADAL" clId="{43B71669-8A80-4333-9349-B258A9296B49}" dt="2024-02-27T17:26:23.114" v="4487" actId="478"/>
          <ac:spMkLst>
            <pc:docMk/>
            <pc:sldMk cId="1341913498" sldId="578"/>
            <ac:spMk id="453" creationId="{CB897F0F-D023-D281-04A4-1D97413DA22F}"/>
          </ac:spMkLst>
        </pc:spChg>
        <pc:spChg chg="replST delST">
          <ac:chgData name="Bullinger, Marvin" userId="5b54ce5a-dc89-476f-af33-5abd75d5b1e8" providerId="ADAL" clId="{43B71669-8A80-4333-9349-B258A9296B49}" dt="2024-02-27T16:53:48.887" v="2959"/>
          <ac:spMkLst>
            <pc:docMk/>
            <pc:sldMk cId="1341913498" sldId="578"/>
            <ac:spMk id="454" creationId="{64E94AC2-83BC-1B44-336D-DFA5AB531600}"/>
          </ac:spMkLst>
        </pc:spChg>
        <pc:spChg chg="del">
          <ac:chgData name="Bullinger, Marvin" userId="5b54ce5a-dc89-476f-af33-5abd75d5b1e8" providerId="ADAL" clId="{43B71669-8A80-4333-9349-B258A9296B49}" dt="2024-02-27T17:26:23.114" v="4486" actId="478"/>
          <ac:spMkLst>
            <pc:docMk/>
            <pc:sldMk cId="1341913498" sldId="578"/>
            <ac:spMk id="454" creationId="{CC5DF671-9159-03BD-0DBB-3389B4C03804}"/>
          </ac:spMkLst>
        </pc:spChg>
        <pc:spChg chg="del">
          <ac:chgData name="Bullinger, Marvin" userId="5b54ce5a-dc89-476f-af33-5abd75d5b1e8" providerId="ADAL" clId="{43B71669-8A80-4333-9349-B258A9296B49}" dt="2024-02-27T17:26:23.114" v="4485" actId="478"/>
          <ac:spMkLst>
            <pc:docMk/>
            <pc:sldMk cId="1341913498" sldId="578"/>
            <ac:spMk id="455" creationId="{32150765-456D-62D2-98BD-DD54BA8E966D}"/>
          </ac:spMkLst>
        </pc:spChg>
        <pc:spChg chg="mod ord replST delST">
          <ac:chgData name="Bullinger, Marvin" userId="5b54ce5a-dc89-476f-af33-5abd75d5b1e8" providerId="ADAL" clId="{43B71669-8A80-4333-9349-B258A9296B49}" dt="2024-02-27T16:53:49.050" v="3382"/>
          <ac:spMkLst>
            <pc:docMk/>
            <pc:sldMk cId="1341913498" sldId="578"/>
            <ac:spMk id="455" creationId="{80891F54-FD12-E739-F30E-704D015F6D10}"/>
          </ac:spMkLst>
        </pc:spChg>
        <pc:spChg chg="del">
          <ac:chgData name="Bullinger, Marvin" userId="5b54ce5a-dc89-476f-af33-5abd75d5b1e8" providerId="ADAL" clId="{43B71669-8A80-4333-9349-B258A9296B49}" dt="2024-02-27T17:26:23.097" v="4484" actId="478"/>
          <ac:spMkLst>
            <pc:docMk/>
            <pc:sldMk cId="1341913498" sldId="578"/>
            <ac:spMk id="456" creationId="{53F6BA4B-58F7-43A6-0D4A-DB7E2B73F07D}"/>
          </ac:spMkLst>
        </pc:spChg>
        <pc:spChg chg="replST delST">
          <ac:chgData name="Bullinger, Marvin" userId="5b54ce5a-dc89-476f-af33-5abd75d5b1e8" providerId="ADAL" clId="{43B71669-8A80-4333-9349-B258A9296B49}" dt="2024-02-27T16:53:48.887" v="2955"/>
          <ac:spMkLst>
            <pc:docMk/>
            <pc:sldMk cId="1341913498" sldId="578"/>
            <ac:spMk id="456" creationId="{6C8AFB78-E727-E93B-3FA8-68FAC824BD2C}"/>
          </ac:spMkLst>
        </pc:spChg>
        <pc:spChg chg="del">
          <ac:chgData name="Bullinger, Marvin" userId="5b54ce5a-dc89-476f-af33-5abd75d5b1e8" providerId="ADAL" clId="{43B71669-8A80-4333-9349-B258A9296B49}" dt="2024-02-27T17:26:23.097" v="4481" actId="478"/>
          <ac:spMkLst>
            <pc:docMk/>
            <pc:sldMk cId="1341913498" sldId="578"/>
            <ac:spMk id="457" creationId="{5A0BB7FA-2337-A236-048B-DFA0DC360172}"/>
          </ac:spMkLst>
        </pc:spChg>
        <pc:spChg chg="replST delST">
          <ac:chgData name="Bullinger, Marvin" userId="5b54ce5a-dc89-476f-af33-5abd75d5b1e8" providerId="ADAL" clId="{43B71669-8A80-4333-9349-B258A9296B49}" dt="2024-02-27T16:53:48.887" v="2952"/>
          <ac:spMkLst>
            <pc:docMk/>
            <pc:sldMk cId="1341913498" sldId="578"/>
            <ac:spMk id="457" creationId="{795C296D-F03D-8503-19E0-83933872BDC0}"/>
          </ac:spMkLst>
        </pc:spChg>
        <pc:spChg chg="del">
          <ac:chgData name="Bullinger, Marvin" userId="5b54ce5a-dc89-476f-af33-5abd75d5b1e8" providerId="ADAL" clId="{43B71669-8A80-4333-9349-B258A9296B49}" dt="2024-02-27T17:26:23.097" v="4480" actId="478"/>
          <ac:spMkLst>
            <pc:docMk/>
            <pc:sldMk cId="1341913498" sldId="578"/>
            <ac:spMk id="458" creationId="{0720C53E-4FEA-56CF-815D-E0F88B993415}"/>
          </ac:spMkLst>
        </pc:spChg>
        <pc:spChg chg="replST delST">
          <ac:chgData name="Bullinger, Marvin" userId="5b54ce5a-dc89-476f-af33-5abd75d5b1e8" providerId="ADAL" clId="{43B71669-8A80-4333-9349-B258A9296B49}" dt="2024-02-27T16:53:48.887" v="2948"/>
          <ac:spMkLst>
            <pc:docMk/>
            <pc:sldMk cId="1341913498" sldId="578"/>
            <ac:spMk id="459" creationId="{EC6B9DB1-BB39-6FDF-3444-24BB51D757AD}"/>
          </ac:spMkLst>
        </pc:spChg>
        <pc:spChg chg="del">
          <ac:chgData name="Bullinger, Marvin" userId="5b54ce5a-dc89-476f-af33-5abd75d5b1e8" providerId="ADAL" clId="{43B71669-8A80-4333-9349-B258A9296B49}" dt="2024-02-27T17:26:23.097" v="4479" actId="478"/>
          <ac:spMkLst>
            <pc:docMk/>
            <pc:sldMk cId="1341913498" sldId="578"/>
            <ac:spMk id="459" creationId="{F363AC47-6F16-1B85-04E4-1148F1D238FF}"/>
          </ac:spMkLst>
        </pc:spChg>
        <pc:spChg chg="replST delST">
          <ac:chgData name="Bullinger, Marvin" userId="5b54ce5a-dc89-476f-af33-5abd75d5b1e8" providerId="ADAL" clId="{43B71669-8A80-4333-9349-B258A9296B49}" dt="2024-02-27T16:53:48.887" v="2945"/>
          <ac:spMkLst>
            <pc:docMk/>
            <pc:sldMk cId="1341913498" sldId="578"/>
            <ac:spMk id="460" creationId="{3A80B0A1-6BFC-F81E-BDAE-2BA92532CBAB}"/>
          </ac:spMkLst>
        </pc:spChg>
        <pc:spChg chg="del">
          <ac:chgData name="Bullinger, Marvin" userId="5b54ce5a-dc89-476f-af33-5abd75d5b1e8" providerId="ADAL" clId="{43B71669-8A80-4333-9349-B258A9296B49}" dt="2024-02-27T17:26:23.097" v="4478" actId="478"/>
          <ac:spMkLst>
            <pc:docMk/>
            <pc:sldMk cId="1341913498" sldId="578"/>
            <ac:spMk id="460" creationId="{D94B3497-99D7-3D2D-E76A-60BFB3AA5DE5}"/>
          </ac:spMkLst>
        </pc:spChg>
        <pc:spChg chg="del">
          <ac:chgData name="Bullinger, Marvin" userId="5b54ce5a-dc89-476f-af33-5abd75d5b1e8" providerId="ADAL" clId="{43B71669-8A80-4333-9349-B258A9296B49}" dt="2024-02-27T17:26:23.097" v="4477" actId="478"/>
          <ac:spMkLst>
            <pc:docMk/>
            <pc:sldMk cId="1341913498" sldId="578"/>
            <ac:spMk id="461" creationId="{CF9F27F5-3336-BCB2-5329-56906B4FB280}"/>
          </ac:spMkLst>
        </pc:spChg>
        <pc:spChg chg="del">
          <ac:chgData name="Bullinger, Marvin" userId="5b54ce5a-dc89-476f-af33-5abd75d5b1e8" providerId="ADAL" clId="{43B71669-8A80-4333-9349-B258A9296B49}" dt="2024-02-27T17:26:23.097" v="4476" actId="478"/>
          <ac:spMkLst>
            <pc:docMk/>
            <pc:sldMk cId="1341913498" sldId="578"/>
            <ac:spMk id="462" creationId="{4990B352-A05E-7594-B661-65A4668407E7}"/>
          </ac:spMkLst>
        </pc:spChg>
        <pc:spChg chg="replST delST">
          <ac:chgData name="Bullinger, Marvin" userId="5b54ce5a-dc89-476f-af33-5abd75d5b1e8" providerId="ADAL" clId="{43B71669-8A80-4333-9349-B258A9296B49}" dt="2024-02-27T16:53:48.887" v="2941"/>
          <ac:spMkLst>
            <pc:docMk/>
            <pc:sldMk cId="1341913498" sldId="578"/>
            <ac:spMk id="462" creationId="{7DB7DC7C-220C-0B34-3E0C-BA5BED99E900}"/>
          </ac:spMkLst>
        </pc:spChg>
        <pc:spChg chg="replST delST">
          <ac:chgData name="Bullinger, Marvin" userId="5b54ce5a-dc89-476f-af33-5abd75d5b1e8" providerId="ADAL" clId="{43B71669-8A80-4333-9349-B258A9296B49}" dt="2024-02-27T16:53:48.887" v="2938"/>
          <ac:spMkLst>
            <pc:docMk/>
            <pc:sldMk cId="1341913498" sldId="578"/>
            <ac:spMk id="463" creationId="{B95640A3-AE5A-9532-53F2-117F01470EBF}"/>
          </ac:spMkLst>
        </pc:spChg>
        <pc:spChg chg="del">
          <ac:chgData name="Bullinger, Marvin" userId="5b54ce5a-dc89-476f-af33-5abd75d5b1e8" providerId="ADAL" clId="{43B71669-8A80-4333-9349-B258A9296B49}" dt="2024-02-27T17:26:23.114" v="4497" actId="478"/>
          <ac:spMkLst>
            <pc:docMk/>
            <pc:sldMk cId="1341913498" sldId="578"/>
            <ac:spMk id="463" creationId="{CE2C1B95-B95E-9D01-971B-16350EDE53A4}"/>
          </ac:spMkLst>
        </pc:spChg>
        <pc:spChg chg="del">
          <ac:chgData name="Bullinger, Marvin" userId="5b54ce5a-dc89-476f-af33-5abd75d5b1e8" providerId="ADAL" clId="{43B71669-8A80-4333-9349-B258A9296B49}" dt="2024-02-27T17:26:23.114" v="4496" actId="478"/>
          <ac:spMkLst>
            <pc:docMk/>
            <pc:sldMk cId="1341913498" sldId="578"/>
            <ac:spMk id="464" creationId="{A0C05787-BB56-E51D-3AB3-9555EA84F145}"/>
          </ac:spMkLst>
        </pc:spChg>
        <pc:spChg chg="replST delST">
          <ac:chgData name="Bullinger, Marvin" userId="5b54ce5a-dc89-476f-af33-5abd75d5b1e8" providerId="ADAL" clId="{43B71669-8A80-4333-9349-B258A9296B49}" dt="2024-02-27T16:53:48.887" v="2934"/>
          <ac:spMkLst>
            <pc:docMk/>
            <pc:sldMk cId="1341913498" sldId="578"/>
            <ac:spMk id="465" creationId="{3EC81087-F594-D82C-D3DB-C48FDF1B4C1B}"/>
          </ac:spMkLst>
        </pc:spChg>
        <pc:spChg chg="del">
          <ac:chgData name="Bullinger, Marvin" userId="5b54ce5a-dc89-476f-af33-5abd75d5b1e8" providerId="ADAL" clId="{43B71669-8A80-4333-9349-B258A9296B49}" dt="2024-02-27T17:26:23.114" v="4495" actId="478"/>
          <ac:spMkLst>
            <pc:docMk/>
            <pc:sldMk cId="1341913498" sldId="578"/>
            <ac:spMk id="465" creationId="{8AB1652B-5498-4577-9401-BBA7C1773EE0}"/>
          </ac:spMkLst>
        </pc:spChg>
        <pc:spChg chg="del">
          <ac:chgData name="Bullinger, Marvin" userId="5b54ce5a-dc89-476f-af33-5abd75d5b1e8" providerId="ADAL" clId="{43B71669-8A80-4333-9349-B258A9296B49}" dt="2024-02-27T17:26:23.114" v="4494" actId="478"/>
          <ac:spMkLst>
            <pc:docMk/>
            <pc:sldMk cId="1341913498" sldId="578"/>
            <ac:spMk id="466" creationId="{595A658F-E470-19B9-CC58-4A81FC6B2516}"/>
          </ac:spMkLst>
        </pc:spChg>
        <pc:spChg chg="replST delST">
          <ac:chgData name="Bullinger, Marvin" userId="5b54ce5a-dc89-476f-af33-5abd75d5b1e8" providerId="ADAL" clId="{43B71669-8A80-4333-9349-B258A9296B49}" dt="2024-02-27T16:53:48.887" v="2931"/>
          <ac:spMkLst>
            <pc:docMk/>
            <pc:sldMk cId="1341913498" sldId="578"/>
            <ac:spMk id="466" creationId="{E28DCB1F-BC31-1827-489A-80F773BC3EB6}"/>
          </ac:spMkLst>
        </pc:spChg>
        <pc:spChg chg="del">
          <ac:chgData name="Bullinger, Marvin" userId="5b54ce5a-dc89-476f-af33-5abd75d5b1e8" providerId="ADAL" clId="{43B71669-8A80-4333-9349-B258A9296B49}" dt="2024-02-27T17:26:23.114" v="4493" actId="478"/>
          <ac:spMkLst>
            <pc:docMk/>
            <pc:sldMk cId="1341913498" sldId="578"/>
            <ac:spMk id="467" creationId="{00B8AFC4-8AB1-FD89-371A-EE40B039CE89}"/>
          </ac:spMkLst>
        </pc:spChg>
        <pc:spChg chg="del">
          <ac:chgData name="Bullinger, Marvin" userId="5b54ce5a-dc89-476f-af33-5abd75d5b1e8" providerId="ADAL" clId="{43B71669-8A80-4333-9349-B258A9296B49}" dt="2024-02-27T17:26:23.114" v="4492" actId="478"/>
          <ac:spMkLst>
            <pc:docMk/>
            <pc:sldMk cId="1341913498" sldId="578"/>
            <ac:spMk id="468" creationId="{460872EE-591A-BD75-C713-FA155518B02E}"/>
          </ac:spMkLst>
        </pc:spChg>
        <pc:spChg chg="replST delST">
          <ac:chgData name="Bullinger, Marvin" userId="5b54ce5a-dc89-476f-af33-5abd75d5b1e8" providerId="ADAL" clId="{43B71669-8A80-4333-9349-B258A9296B49}" dt="2024-02-27T16:53:48.887" v="2927"/>
          <ac:spMkLst>
            <pc:docMk/>
            <pc:sldMk cId="1341913498" sldId="578"/>
            <ac:spMk id="468" creationId="{6EE4B979-96BD-336B-6C71-1CA675E05EB8}"/>
          </ac:spMkLst>
        </pc:spChg>
        <pc:spChg chg="del">
          <ac:chgData name="Bullinger, Marvin" userId="5b54ce5a-dc89-476f-af33-5abd75d5b1e8" providerId="ADAL" clId="{43B71669-8A80-4333-9349-B258A9296B49}" dt="2024-02-27T17:26:23.114" v="4491" actId="478"/>
          <ac:spMkLst>
            <pc:docMk/>
            <pc:sldMk cId="1341913498" sldId="578"/>
            <ac:spMk id="469" creationId="{5B4EC485-F842-C587-8E45-DC9962825087}"/>
          </ac:spMkLst>
        </pc:spChg>
        <pc:spChg chg="replST delST">
          <ac:chgData name="Bullinger, Marvin" userId="5b54ce5a-dc89-476f-af33-5abd75d5b1e8" providerId="ADAL" clId="{43B71669-8A80-4333-9349-B258A9296B49}" dt="2024-02-27T16:53:48.887" v="2924"/>
          <ac:spMkLst>
            <pc:docMk/>
            <pc:sldMk cId="1341913498" sldId="578"/>
            <ac:spMk id="469" creationId="{8D80B524-CD84-CBF8-4637-F3CFEFB5121A}"/>
          </ac:spMkLst>
        </pc:spChg>
        <pc:spChg chg="del">
          <ac:chgData name="Bullinger, Marvin" userId="5b54ce5a-dc89-476f-af33-5abd75d5b1e8" providerId="ADAL" clId="{43B71669-8A80-4333-9349-B258A9296B49}" dt="2024-02-27T17:26:23.114" v="4490" actId="478"/>
          <ac:spMkLst>
            <pc:docMk/>
            <pc:sldMk cId="1341913498" sldId="578"/>
            <ac:spMk id="470" creationId="{167CCC35-CC4A-5F9D-EF2E-7B6BCD894DC7}"/>
          </ac:spMkLst>
        </pc:spChg>
        <pc:spChg chg="del">
          <ac:chgData name="Bullinger, Marvin" userId="5b54ce5a-dc89-476f-af33-5abd75d5b1e8" providerId="ADAL" clId="{43B71669-8A80-4333-9349-B258A9296B49}" dt="2024-02-27T17:26:23.097" v="4482" actId="478"/>
          <ac:spMkLst>
            <pc:docMk/>
            <pc:sldMk cId="1341913498" sldId="578"/>
            <ac:spMk id="471" creationId="{85AEB903-6AD4-1912-7C4F-46D432A1EDEE}"/>
          </ac:spMkLst>
        </pc:spChg>
        <pc:spChg chg="del">
          <ac:chgData name="Bullinger, Marvin" userId="5b54ce5a-dc89-476f-af33-5abd75d5b1e8" providerId="ADAL" clId="{43B71669-8A80-4333-9349-B258A9296B49}" dt="2024-02-27T17:26:23.097" v="4475" actId="478"/>
          <ac:spMkLst>
            <pc:docMk/>
            <pc:sldMk cId="1341913498" sldId="578"/>
            <ac:spMk id="472" creationId="{7FDFEB8C-F6EF-1043-0267-67F3541F093C}"/>
          </ac:spMkLst>
        </pc:spChg>
        <pc:spChg chg="del">
          <ac:chgData name="Bullinger, Marvin" userId="5b54ce5a-dc89-476f-af33-5abd75d5b1e8" providerId="ADAL" clId="{43B71669-8A80-4333-9349-B258A9296B49}" dt="2024-02-27T17:26:23.097" v="4483" actId="478"/>
          <ac:spMkLst>
            <pc:docMk/>
            <pc:sldMk cId="1341913498" sldId="578"/>
            <ac:spMk id="473" creationId="{67AE9598-4F3B-E578-4C04-92857A4BDD6E}"/>
          </ac:spMkLst>
        </pc:spChg>
        <pc:spChg chg="del">
          <ac:chgData name="Bullinger, Marvin" userId="5b54ce5a-dc89-476f-af33-5abd75d5b1e8" providerId="ADAL" clId="{43B71669-8A80-4333-9349-B258A9296B49}" dt="2024-02-27T17:26:23.097" v="4474" actId="478"/>
          <ac:spMkLst>
            <pc:docMk/>
            <pc:sldMk cId="1341913498" sldId="578"/>
            <ac:spMk id="474" creationId="{5FB53483-7F23-7DC7-5AD0-DDC3A5D74DB2}"/>
          </ac:spMkLst>
        </pc:spChg>
        <pc:spChg chg="del">
          <ac:chgData name="Bullinger, Marvin" userId="5b54ce5a-dc89-476f-af33-5abd75d5b1e8" providerId="ADAL" clId="{43B71669-8A80-4333-9349-B258A9296B49}" dt="2024-02-27T17:26:23.097" v="4473" actId="478"/>
          <ac:spMkLst>
            <pc:docMk/>
            <pc:sldMk cId="1341913498" sldId="578"/>
            <ac:spMk id="475" creationId="{18048E1E-A2A4-93A4-8623-FA0A69C4BF21}"/>
          </ac:spMkLst>
        </pc:spChg>
        <pc:spChg chg="del">
          <ac:chgData name="Bullinger, Marvin" userId="5b54ce5a-dc89-476f-af33-5abd75d5b1e8" providerId="ADAL" clId="{43B71669-8A80-4333-9349-B258A9296B49}" dt="2024-02-27T17:26:23.097" v="4472" actId="478"/>
          <ac:spMkLst>
            <pc:docMk/>
            <pc:sldMk cId="1341913498" sldId="578"/>
            <ac:spMk id="476" creationId="{E7B459DE-AD16-E942-FA67-E17EB95DCA84}"/>
          </ac:spMkLst>
        </pc:spChg>
        <pc:spChg chg="del">
          <ac:chgData name="Bullinger, Marvin" userId="5b54ce5a-dc89-476f-af33-5abd75d5b1e8" providerId="ADAL" clId="{43B71669-8A80-4333-9349-B258A9296B49}" dt="2024-02-27T17:26:23.097" v="4471" actId="478"/>
          <ac:spMkLst>
            <pc:docMk/>
            <pc:sldMk cId="1341913498" sldId="578"/>
            <ac:spMk id="477" creationId="{3EA08833-F506-27B8-D0AA-E37033A4A598}"/>
          </ac:spMkLst>
        </pc:spChg>
        <pc:spChg chg="del">
          <ac:chgData name="Bullinger, Marvin" userId="5b54ce5a-dc89-476f-af33-5abd75d5b1e8" providerId="ADAL" clId="{43B71669-8A80-4333-9349-B258A9296B49}" dt="2024-02-27T17:26:23.097" v="4470" actId="478"/>
          <ac:spMkLst>
            <pc:docMk/>
            <pc:sldMk cId="1341913498" sldId="578"/>
            <ac:spMk id="478" creationId="{73D681C2-543E-80FE-88FD-B7D55279AE7D}"/>
          </ac:spMkLst>
        </pc:spChg>
        <pc:spChg chg="del">
          <ac:chgData name="Bullinger, Marvin" userId="5b54ce5a-dc89-476f-af33-5abd75d5b1e8" providerId="ADAL" clId="{43B71669-8A80-4333-9349-B258A9296B49}" dt="2024-02-27T17:26:23.097" v="4469" actId="478"/>
          <ac:spMkLst>
            <pc:docMk/>
            <pc:sldMk cId="1341913498" sldId="578"/>
            <ac:spMk id="479" creationId="{AFD90A8E-D19B-50BB-A5F7-285EF731D762}"/>
          </ac:spMkLst>
        </pc:spChg>
        <pc:spChg chg="del">
          <ac:chgData name="Bullinger, Marvin" userId="5b54ce5a-dc89-476f-af33-5abd75d5b1e8" providerId="ADAL" clId="{43B71669-8A80-4333-9349-B258A9296B49}" dt="2024-02-27T17:26:23.097" v="4468" actId="478"/>
          <ac:spMkLst>
            <pc:docMk/>
            <pc:sldMk cId="1341913498" sldId="578"/>
            <ac:spMk id="480" creationId="{9F8095DE-DF1A-0025-DFA3-0C1B3F4EDBD4}"/>
          </ac:spMkLst>
        </pc:spChg>
        <pc:spChg chg="del">
          <ac:chgData name="Bullinger, Marvin" userId="5b54ce5a-dc89-476f-af33-5abd75d5b1e8" providerId="ADAL" clId="{43B71669-8A80-4333-9349-B258A9296B49}" dt="2024-02-27T17:26:23.097" v="4467" actId="478"/>
          <ac:spMkLst>
            <pc:docMk/>
            <pc:sldMk cId="1341913498" sldId="578"/>
            <ac:spMk id="481" creationId="{003C0F4E-20D3-EA9C-5FDC-6D67EC4E22FD}"/>
          </ac:spMkLst>
        </pc:spChg>
        <pc:spChg chg="del">
          <ac:chgData name="Bullinger, Marvin" userId="5b54ce5a-dc89-476f-af33-5abd75d5b1e8" providerId="ADAL" clId="{43B71669-8A80-4333-9349-B258A9296B49}" dt="2024-02-27T17:26:23.097" v="4466" actId="478"/>
          <ac:spMkLst>
            <pc:docMk/>
            <pc:sldMk cId="1341913498" sldId="578"/>
            <ac:spMk id="482" creationId="{21C79906-D307-5873-F187-3348B581E6AF}"/>
          </ac:spMkLst>
        </pc:spChg>
        <pc:spChg chg="del">
          <ac:chgData name="Bullinger, Marvin" userId="5b54ce5a-dc89-476f-af33-5abd75d5b1e8" providerId="ADAL" clId="{43B71669-8A80-4333-9349-B258A9296B49}" dt="2024-02-27T17:26:23.097" v="4465" actId="478"/>
          <ac:spMkLst>
            <pc:docMk/>
            <pc:sldMk cId="1341913498" sldId="578"/>
            <ac:spMk id="483" creationId="{FFDD8A44-39C2-350A-4264-3385098BCEA7}"/>
          </ac:spMkLst>
        </pc:spChg>
        <pc:spChg chg="del">
          <ac:chgData name="Bullinger, Marvin" userId="5b54ce5a-dc89-476f-af33-5abd75d5b1e8" providerId="ADAL" clId="{43B71669-8A80-4333-9349-B258A9296B49}" dt="2024-02-27T17:26:23.097" v="4464" actId="478"/>
          <ac:spMkLst>
            <pc:docMk/>
            <pc:sldMk cId="1341913498" sldId="578"/>
            <ac:spMk id="484" creationId="{D0F7B0ED-FC5B-B4E4-0B47-A7C1622837BB}"/>
          </ac:spMkLst>
        </pc:spChg>
        <pc:spChg chg="del">
          <ac:chgData name="Bullinger, Marvin" userId="5b54ce5a-dc89-476f-af33-5abd75d5b1e8" providerId="ADAL" clId="{43B71669-8A80-4333-9349-B258A9296B49}" dt="2024-02-27T17:26:23.097" v="4463" actId="478"/>
          <ac:spMkLst>
            <pc:docMk/>
            <pc:sldMk cId="1341913498" sldId="578"/>
            <ac:spMk id="485" creationId="{E7C38A73-33B6-4A52-5CAB-CF18F31EE317}"/>
          </ac:spMkLst>
        </pc:spChg>
        <pc:spChg chg="del">
          <ac:chgData name="Bullinger, Marvin" userId="5b54ce5a-dc89-476f-af33-5abd75d5b1e8" providerId="ADAL" clId="{43B71669-8A80-4333-9349-B258A9296B49}" dt="2024-02-27T17:26:23.097" v="4462" actId="478"/>
          <ac:spMkLst>
            <pc:docMk/>
            <pc:sldMk cId="1341913498" sldId="578"/>
            <ac:spMk id="486" creationId="{1BE89346-8010-F381-F895-6B43398AA38F}"/>
          </ac:spMkLst>
        </pc:spChg>
        <pc:spChg chg="del">
          <ac:chgData name="Bullinger, Marvin" userId="5b54ce5a-dc89-476f-af33-5abd75d5b1e8" providerId="ADAL" clId="{43B71669-8A80-4333-9349-B258A9296B49}" dt="2024-02-27T17:26:23.097" v="4461" actId="478"/>
          <ac:spMkLst>
            <pc:docMk/>
            <pc:sldMk cId="1341913498" sldId="578"/>
            <ac:spMk id="487" creationId="{8D9040E7-8A34-F120-33D7-D2CA452392C7}"/>
          </ac:spMkLst>
        </pc:spChg>
        <pc:spChg chg="replST">
          <ac:chgData name="Bullinger, Marvin" userId="5b54ce5a-dc89-476f-af33-5abd75d5b1e8" providerId="ADAL" clId="{43B71669-8A80-4333-9349-B258A9296B49}" dt="2024-02-27T17:26:23.766" v="4930"/>
          <ac:spMkLst>
            <pc:docMk/>
            <pc:sldMk cId="1341913498" sldId="578"/>
            <ac:spMk id="488" creationId="{1D2642A2-776F-67BB-D62D-FBB7E3C77F13}"/>
          </ac:spMkLst>
        </pc:spChg>
        <pc:spChg chg="replST">
          <ac:chgData name="Bullinger, Marvin" userId="5b54ce5a-dc89-476f-af33-5abd75d5b1e8" providerId="ADAL" clId="{43B71669-8A80-4333-9349-B258A9296B49}" dt="2024-02-27T17:26:23.766" v="4933"/>
          <ac:spMkLst>
            <pc:docMk/>
            <pc:sldMk cId="1341913498" sldId="578"/>
            <ac:spMk id="489" creationId="{604511D2-29AD-D966-CDC4-107B4274907E}"/>
          </ac:spMkLst>
        </pc:spChg>
        <pc:spChg chg="del ord replST">
          <ac:chgData name="Bullinger, Marvin" userId="5b54ce5a-dc89-476f-af33-5abd75d5b1e8" providerId="ADAL" clId="{43B71669-8A80-4333-9349-B258A9296B49}" dt="2024-02-27T17:26:59.070" v="5779" actId="478"/>
          <ac:spMkLst>
            <pc:docMk/>
            <pc:sldMk cId="1341913498" sldId="578"/>
            <ac:spMk id="490" creationId="{627E0616-0B13-EE99-7372-76EC831D6799}"/>
          </ac:spMkLst>
        </pc:spChg>
        <pc:spChg chg="replST">
          <ac:chgData name="Bullinger, Marvin" userId="5b54ce5a-dc89-476f-af33-5abd75d5b1e8" providerId="ADAL" clId="{43B71669-8A80-4333-9349-B258A9296B49}" dt="2024-02-27T17:26:23.774" v="4937"/>
          <ac:spMkLst>
            <pc:docMk/>
            <pc:sldMk cId="1341913498" sldId="578"/>
            <ac:spMk id="491" creationId="{04DC294D-F6A2-79DA-46D2-969544489EAD}"/>
          </ac:spMkLst>
        </pc:spChg>
        <pc:spChg chg="replST">
          <ac:chgData name="Bullinger, Marvin" userId="5b54ce5a-dc89-476f-af33-5abd75d5b1e8" providerId="ADAL" clId="{43B71669-8A80-4333-9349-B258A9296B49}" dt="2024-02-27T17:26:23.774" v="4940"/>
          <ac:spMkLst>
            <pc:docMk/>
            <pc:sldMk cId="1341913498" sldId="578"/>
            <ac:spMk id="492" creationId="{ACDD9A90-06C8-21E5-CD25-0F7974B0D6C5}"/>
          </ac:spMkLst>
        </pc:spChg>
        <pc:spChg chg="replST">
          <ac:chgData name="Bullinger, Marvin" userId="5b54ce5a-dc89-476f-af33-5abd75d5b1e8" providerId="ADAL" clId="{43B71669-8A80-4333-9349-B258A9296B49}" dt="2024-02-27T17:26:23.792" v="4944"/>
          <ac:spMkLst>
            <pc:docMk/>
            <pc:sldMk cId="1341913498" sldId="578"/>
            <ac:spMk id="494" creationId="{3B1C6BCA-3ADE-22B3-486D-3E65DFB775FC}"/>
          </ac:spMkLst>
        </pc:spChg>
        <pc:spChg chg="replST">
          <ac:chgData name="Bullinger, Marvin" userId="5b54ce5a-dc89-476f-af33-5abd75d5b1e8" providerId="ADAL" clId="{43B71669-8A80-4333-9349-B258A9296B49}" dt="2024-02-27T17:26:23.793" v="4947"/>
          <ac:spMkLst>
            <pc:docMk/>
            <pc:sldMk cId="1341913498" sldId="578"/>
            <ac:spMk id="495" creationId="{507E3FC7-D99D-CE7E-7E6B-39D5ABA43F89}"/>
          </ac:spMkLst>
        </pc:spChg>
        <pc:spChg chg="replST">
          <ac:chgData name="Bullinger, Marvin" userId="5b54ce5a-dc89-476f-af33-5abd75d5b1e8" providerId="ADAL" clId="{43B71669-8A80-4333-9349-B258A9296B49}" dt="2024-02-27T17:26:23.793" v="4951"/>
          <ac:spMkLst>
            <pc:docMk/>
            <pc:sldMk cId="1341913498" sldId="578"/>
            <ac:spMk id="497" creationId="{5985ABA8-271F-CDAA-9668-AF47E85647AD}"/>
          </ac:spMkLst>
        </pc:spChg>
        <pc:spChg chg="replST">
          <ac:chgData name="Bullinger, Marvin" userId="5b54ce5a-dc89-476f-af33-5abd75d5b1e8" providerId="ADAL" clId="{43B71669-8A80-4333-9349-B258A9296B49}" dt="2024-02-27T17:26:23.808" v="4954"/>
          <ac:spMkLst>
            <pc:docMk/>
            <pc:sldMk cId="1341913498" sldId="578"/>
            <ac:spMk id="498" creationId="{92D7DCCA-436F-694B-0919-CBB20C9C928B}"/>
          </ac:spMkLst>
        </pc:spChg>
        <pc:spChg chg="replST">
          <ac:chgData name="Bullinger, Marvin" userId="5b54ce5a-dc89-476f-af33-5abd75d5b1e8" providerId="ADAL" clId="{43B71669-8A80-4333-9349-B258A9296B49}" dt="2024-02-27T17:26:23.808" v="4958"/>
          <ac:spMkLst>
            <pc:docMk/>
            <pc:sldMk cId="1341913498" sldId="578"/>
            <ac:spMk id="500" creationId="{DD3884AE-E6A2-C38D-CD9E-0ED1C35A9F85}"/>
          </ac:spMkLst>
        </pc:spChg>
        <pc:spChg chg="replST">
          <ac:chgData name="Bullinger, Marvin" userId="5b54ce5a-dc89-476f-af33-5abd75d5b1e8" providerId="ADAL" clId="{43B71669-8A80-4333-9349-B258A9296B49}" dt="2024-02-27T17:26:23.808" v="4961"/>
          <ac:spMkLst>
            <pc:docMk/>
            <pc:sldMk cId="1341913498" sldId="578"/>
            <ac:spMk id="501" creationId="{FE26A6AE-C14E-11BE-94D0-607D3A78C785}"/>
          </ac:spMkLst>
        </pc:spChg>
        <pc:spChg chg="replST">
          <ac:chgData name="Bullinger, Marvin" userId="5b54ce5a-dc89-476f-af33-5abd75d5b1e8" providerId="ADAL" clId="{43B71669-8A80-4333-9349-B258A9296B49}" dt="2024-02-27T17:26:23.824" v="4965"/>
          <ac:spMkLst>
            <pc:docMk/>
            <pc:sldMk cId="1341913498" sldId="578"/>
            <ac:spMk id="503" creationId="{579F8C14-24B6-FF8E-4AA4-E3D54C6125F6}"/>
          </ac:spMkLst>
        </pc:spChg>
        <pc:spChg chg="replST">
          <ac:chgData name="Bullinger, Marvin" userId="5b54ce5a-dc89-476f-af33-5abd75d5b1e8" providerId="ADAL" clId="{43B71669-8A80-4333-9349-B258A9296B49}" dt="2024-02-27T17:26:23.824" v="4968"/>
          <ac:spMkLst>
            <pc:docMk/>
            <pc:sldMk cId="1341913498" sldId="578"/>
            <ac:spMk id="504" creationId="{D3FA6D28-A142-CED1-1EA8-7843648D7378}"/>
          </ac:spMkLst>
        </pc:spChg>
        <pc:spChg chg="replST">
          <ac:chgData name="Bullinger, Marvin" userId="5b54ce5a-dc89-476f-af33-5abd75d5b1e8" providerId="ADAL" clId="{43B71669-8A80-4333-9349-B258A9296B49}" dt="2024-02-27T17:26:23.840" v="4972"/>
          <ac:spMkLst>
            <pc:docMk/>
            <pc:sldMk cId="1341913498" sldId="578"/>
            <ac:spMk id="506" creationId="{ECB8B5FA-FEE3-CDEC-E2B6-36D281BFAED9}"/>
          </ac:spMkLst>
        </pc:spChg>
        <pc:spChg chg="replST">
          <ac:chgData name="Bullinger, Marvin" userId="5b54ce5a-dc89-476f-af33-5abd75d5b1e8" providerId="ADAL" clId="{43B71669-8A80-4333-9349-B258A9296B49}" dt="2024-02-27T17:26:23.840" v="4975"/>
          <ac:spMkLst>
            <pc:docMk/>
            <pc:sldMk cId="1341913498" sldId="578"/>
            <ac:spMk id="507" creationId="{2EB5BD94-14E0-F18F-B790-8F879061A0FA}"/>
          </ac:spMkLst>
        </pc:spChg>
        <pc:spChg chg="replST">
          <ac:chgData name="Bullinger, Marvin" userId="5b54ce5a-dc89-476f-af33-5abd75d5b1e8" providerId="ADAL" clId="{43B71669-8A80-4333-9349-B258A9296B49}" dt="2024-02-27T17:26:23.849" v="4979"/>
          <ac:spMkLst>
            <pc:docMk/>
            <pc:sldMk cId="1341913498" sldId="578"/>
            <ac:spMk id="509" creationId="{30386044-3AB9-7C9A-CF87-06B528564C20}"/>
          </ac:spMkLst>
        </pc:spChg>
        <pc:spChg chg="replST">
          <ac:chgData name="Bullinger, Marvin" userId="5b54ce5a-dc89-476f-af33-5abd75d5b1e8" providerId="ADAL" clId="{43B71669-8A80-4333-9349-B258A9296B49}" dt="2024-02-27T17:26:23.849" v="4982"/>
          <ac:spMkLst>
            <pc:docMk/>
            <pc:sldMk cId="1341913498" sldId="578"/>
            <ac:spMk id="510" creationId="{ABFC3E97-AE5A-75CD-B28B-374351C7751B}"/>
          </ac:spMkLst>
        </pc:spChg>
        <pc:spChg chg="replST">
          <ac:chgData name="Bullinger, Marvin" userId="5b54ce5a-dc89-476f-af33-5abd75d5b1e8" providerId="ADAL" clId="{43B71669-8A80-4333-9349-B258A9296B49}" dt="2024-02-27T17:26:23.865" v="4986"/>
          <ac:spMkLst>
            <pc:docMk/>
            <pc:sldMk cId="1341913498" sldId="578"/>
            <ac:spMk id="512" creationId="{3FDCB556-5A35-60C8-AD65-DEDD1406C34D}"/>
          </ac:spMkLst>
        </pc:spChg>
        <pc:spChg chg="replST">
          <ac:chgData name="Bullinger, Marvin" userId="5b54ce5a-dc89-476f-af33-5abd75d5b1e8" providerId="ADAL" clId="{43B71669-8A80-4333-9349-B258A9296B49}" dt="2024-02-27T17:26:23.865" v="4989"/>
          <ac:spMkLst>
            <pc:docMk/>
            <pc:sldMk cId="1341913498" sldId="578"/>
            <ac:spMk id="513" creationId="{276A6239-B6FB-B0F2-327E-0C2A75B6F4E4}"/>
          </ac:spMkLst>
        </pc:spChg>
        <pc:spChg chg="add mod">
          <ac:chgData name="Bullinger, Marvin" userId="5b54ce5a-dc89-476f-af33-5abd75d5b1e8" providerId="ADAL" clId="{43B71669-8A80-4333-9349-B258A9296B49}" dt="2024-02-27T17:26:59.070" v="5778" actId="478"/>
          <ac:spMkLst>
            <pc:docMk/>
            <pc:sldMk cId="1341913498" sldId="578"/>
            <ac:spMk id="554" creationId="{3D73C11B-8709-AFC9-1889-B7513CB3A289}"/>
          </ac:spMkLst>
        </pc:spChg>
        <pc:spChg chg="mod ord replST">
          <ac:chgData name="Bullinger, Marvin" userId="5b54ce5a-dc89-476f-af33-5abd75d5b1e8" providerId="ADAL" clId="{43B71669-8A80-4333-9349-B258A9296B49}" dt="2024-02-27T17:26:59.824" v="6289"/>
          <ac:spMkLst>
            <pc:docMk/>
            <pc:sldMk cId="1341913498" sldId="578"/>
            <ac:spMk id="555" creationId="{DC0ECB4B-7E4D-BDF1-04D9-DF355E1EB054}"/>
          </ac:spMkLst>
        </pc:spChg>
        <pc:spChg chg="del">
          <ac:chgData name="Bullinger, Marvin" userId="5b54ce5a-dc89-476f-af33-5abd75d5b1e8" providerId="ADAL" clId="{43B71669-8A80-4333-9349-B258A9296B49}" dt="2024-02-27T17:26:59.108" v="5817" actId="478"/>
          <ac:spMkLst>
            <pc:docMk/>
            <pc:sldMk cId="1341913498" sldId="578"/>
            <ac:spMk id="556" creationId="{7D4A2148-329E-955A-72AF-5E8E7E237932}"/>
          </ac:spMkLst>
        </pc:spChg>
        <pc:spChg chg="del">
          <ac:chgData name="Bullinger, Marvin" userId="5b54ce5a-dc89-476f-af33-5abd75d5b1e8" providerId="ADAL" clId="{43B71669-8A80-4333-9349-B258A9296B49}" dt="2024-02-27T17:26:59.108" v="5816" actId="478"/>
          <ac:spMkLst>
            <pc:docMk/>
            <pc:sldMk cId="1341913498" sldId="578"/>
            <ac:spMk id="557" creationId="{0CD63343-EA58-447D-5570-84D1251F03B8}"/>
          </ac:spMkLst>
        </pc:spChg>
        <pc:spChg chg="del">
          <ac:chgData name="Bullinger, Marvin" userId="5b54ce5a-dc89-476f-af33-5abd75d5b1e8" providerId="ADAL" clId="{43B71669-8A80-4333-9349-B258A9296B49}" dt="2024-02-27T17:26:59.108" v="5815" actId="478"/>
          <ac:spMkLst>
            <pc:docMk/>
            <pc:sldMk cId="1341913498" sldId="578"/>
            <ac:spMk id="558" creationId="{F8A714D5-0E1B-54C7-E81A-37DF7B06DE33}"/>
          </ac:spMkLst>
        </pc:spChg>
        <pc:spChg chg="del">
          <ac:chgData name="Bullinger, Marvin" userId="5b54ce5a-dc89-476f-af33-5abd75d5b1e8" providerId="ADAL" clId="{43B71669-8A80-4333-9349-B258A9296B49}" dt="2024-02-27T17:26:59.108" v="5814" actId="478"/>
          <ac:spMkLst>
            <pc:docMk/>
            <pc:sldMk cId="1341913498" sldId="578"/>
            <ac:spMk id="559" creationId="{A570CD82-6580-81FF-70AB-4567C97B006C}"/>
          </ac:spMkLst>
        </pc:spChg>
        <pc:spChg chg="del">
          <ac:chgData name="Bullinger, Marvin" userId="5b54ce5a-dc89-476f-af33-5abd75d5b1e8" providerId="ADAL" clId="{43B71669-8A80-4333-9349-B258A9296B49}" dt="2024-02-27T17:26:59.108" v="5813" actId="478"/>
          <ac:spMkLst>
            <pc:docMk/>
            <pc:sldMk cId="1341913498" sldId="578"/>
            <ac:spMk id="560" creationId="{97FA3612-2590-8A62-0493-067E65536115}"/>
          </ac:spMkLst>
        </pc:spChg>
        <pc:spChg chg="del">
          <ac:chgData name="Bullinger, Marvin" userId="5b54ce5a-dc89-476f-af33-5abd75d5b1e8" providerId="ADAL" clId="{43B71669-8A80-4333-9349-B258A9296B49}" dt="2024-02-27T17:26:59.108" v="5812" actId="478"/>
          <ac:spMkLst>
            <pc:docMk/>
            <pc:sldMk cId="1341913498" sldId="578"/>
            <ac:spMk id="561" creationId="{81EE3FC2-80CD-BDAC-2075-89586116D7FD}"/>
          </ac:spMkLst>
        </pc:spChg>
        <pc:spChg chg="del">
          <ac:chgData name="Bullinger, Marvin" userId="5b54ce5a-dc89-476f-af33-5abd75d5b1e8" providerId="ADAL" clId="{43B71669-8A80-4333-9349-B258A9296B49}" dt="2024-02-27T17:26:59.105" v="5809" actId="478"/>
          <ac:spMkLst>
            <pc:docMk/>
            <pc:sldMk cId="1341913498" sldId="578"/>
            <ac:spMk id="562" creationId="{4592CFA9-7979-C376-A1D4-A3A8B0F5E0DF}"/>
          </ac:spMkLst>
        </pc:spChg>
        <pc:spChg chg="del">
          <ac:chgData name="Bullinger, Marvin" userId="5b54ce5a-dc89-476f-af33-5abd75d5b1e8" providerId="ADAL" clId="{43B71669-8A80-4333-9349-B258A9296B49}" dt="2024-02-27T17:26:59.105" v="5808" actId="478"/>
          <ac:spMkLst>
            <pc:docMk/>
            <pc:sldMk cId="1341913498" sldId="578"/>
            <ac:spMk id="563" creationId="{90FA7B47-3BEA-8616-AB75-12B934B2FAA8}"/>
          </ac:spMkLst>
        </pc:spChg>
        <pc:spChg chg="del">
          <ac:chgData name="Bullinger, Marvin" userId="5b54ce5a-dc89-476f-af33-5abd75d5b1e8" providerId="ADAL" clId="{43B71669-8A80-4333-9349-B258A9296B49}" dt="2024-02-27T17:26:59.090" v="5807" actId="478"/>
          <ac:spMkLst>
            <pc:docMk/>
            <pc:sldMk cId="1341913498" sldId="578"/>
            <ac:spMk id="564" creationId="{ACC7CD1F-86D4-EF42-930A-02EDE435DB8A}"/>
          </ac:spMkLst>
        </pc:spChg>
        <pc:spChg chg="del">
          <ac:chgData name="Bullinger, Marvin" userId="5b54ce5a-dc89-476f-af33-5abd75d5b1e8" providerId="ADAL" clId="{43B71669-8A80-4333-9349-B258A9296B49}" dt="2024-02-27T17:26:59.090" v="5806" actId="478"/>
          <ac:spMkLst>
            <pc:docMk/>
            <pc:sldMk cId="1341913498" sldId="578"/>
            <ac:spMk id="565" creationId="{5A678942-6B02-3DB4-17F7-8682F7A29B0D}"/>
          </ac:spMkLst>
        </pc:spChg>
        <pc:spChg chg="del">
          <ac:chgData name="Bullinger, Marvin" userId="5b54ce5a-dc89-476f-af33-5abd75d5b1e8" providerId="ADAL" clId="{43B71669-8A80-4333-9349-B258A9296B49}" dt="2024-02-27T17:26:59.090" v="5805" actId="478"/>
          <ac:spMkLst>
            <pc:docMk/>
            <pc:sldMk cId="1341913498" sldId="578"/>
            <ac:spMk id="566" creationId="{B2E4C594-4FED-3113-7564-B68B181DB67B}"/>
          </ac:spMkLst>
        </pc:spChg>
        <pc:spChg chg="del">
          <ac:chgData name="Bullinger, Marvin" userId="5b54ce5a-dc89-476f-af33-5abd75d5b1e8" providerId="ADAL" clId="{43B71669-8A80-4333-9349-B258A9296B49}" dt="2024-02-27T17:26:59.090" v="5804" actId="478"/>
          <ac:spMkLst>
            <pc:docMk/>
            <pc:sldMk cId="1341913498" sldId="578"/>
            <ac:spMk id="567" creationId="{D2B4E9F2-93D3-0F7C-CCFE-B194199E30B1}"/>
          </ac:spMkLst>
        </pc:spChg>
        <pc:spChg chg="del">
          <ac:chgData name="Bullinger, Marvin" userId="5b54ce5a-dc89-476f-af33-5abd75d5b1e8" providerId="ADAL" clId="{43B71669-8A80-4333-9349-B258A9296B49}" dt="2024-02-27T17:26:59.108" v="5825" actId="478"/>
          <ac:spMkLst>
            <pc:docMk/>
            <pc:sldMk cId="1341913498" sldId="578"/>
            <ac:spMk id="568" creationId="{BBDCB9EB-1CDE-AAD2-EE51-85A4F208AF96}"/>
          </ac:spMkLst>
        </pc:spChg>
        <pc:spChg chg="del">
          <ac:chgData name="Bullinger, Marvin" userId="5b54ce5a-dc89-476f-af33-5abd75d5b1e8" providerId="ADAL" clId="{43B71669-8A80-4333-9349-B258A9296B49}" dt="2024-02-27T17:26:59.108" v="5824" actId="478"/>
          <ac:spMkLst>
            <pc:docMk/>
            <pc:sldMk cId="1341913498" sldId="578"/>
            <ac:spMk id="569" creationId="{CCB19291-F2BD-0F52-87B7-79BDD040B32C}"/>
          </ac:spMkLst>
        </pc:spChg>
        <pc:spChg chg="del">
          <ac:chgData name="Bullinger, Marvin" userId="5b54ce5a-dc89-476f-af33-5abd75d5b1e8" providerId="ADAL" clId="{43B71669-8A80-4333-9349-B258A9296B49}" dt="2024-02-27T17:26:59.108" v="5823" actId="478"/>
          <ac:spMkLst>
            <pc:docMk/>
            <pc:sldMk cId="1341913498" sldId="578"/>
            <ac:spMk id="570" creationId="{A3AF49CF-D474-92C6-9278-BFDAAD385A9C}"/>
          </ac:spMkLst>
        </pc:spChg>
        <pc:spChg chg="del">
          <ac:chgData name="Bullinger, Marvin" userId="5b54ce5a-dc89-476f-af33-5abd75d5b1e8" providerId="ADAL" clId="{43B71669-8A80-4333-9349-B258A9296B49}" dt="2024-02-27T17:26:59.108" v="5822" actId="478"/>
          <ac:spMkLst>
            <pc:docMk/>
            <pc:sldMk cId="1341913498" sldId="578"/>
            <ac:spMk id="571" creationId="{CE8D73E5-B3E7-BFF1-B448-26DFFD223699}"/>
          </ac:spMkLst>
        </pc:spChg>
        <pc:spChg chg="del">
          <ac:chgData name="Bullinger, Marvin" userId="5b54ce5a-dc89-476f-af33-5abd75d5b1e8" providerId="ADAL" clId="{43B71669-8A80-4333-9349-B258A9296B49}" dt="2024-02-27T17:26:59.108" v="5821" actId="478"/>
          <ac:spMkLst>
            <pc:docMk/>
            <pc:sldMk cId="1341913498" sldId="578"/>
            <ac:spMk id="572" creationId="{C82BD629-2C0C-9D6A-E5E5-8905C8920EEA}"/>
          </ac:spMkLst>
        </pc:spChg>
        <pc:spChg chg="del">
          <ac:chgData name="Bullinger, Marvin" userId="5b54ce5a-dc89-476f-af33-5abd75d5b1e8" providerId="ADAL" clId="{43B71669-8A80-4333-9349-B258A9296B49}" dt="2024-02-27T17:26:59.108" v="5820" actId="478"/>
          <ac:spMkLst>
            <pc:docMk/>
            <pc:sldMk cId="1341913498" sldId="578"/>
            <ac:spMk id="573" creationId="{9C414CDC-24E3-2345-E73D-5A1ADC598252}"/>
          </ac:spMkLst>
        </pc:spChg>
        <pc:spChg chg="del">
          <ac:chgData name="Bullinger, Marvin" userId="5b54ce5a-dc89-476f-af33-5abd75d5b1e8" providerId="ADAL" clId="{43B71669-8A80-4333-9349-B258A9296B49}" dt="2024-02-27T17:26:59.108" v="5819" actId="478"/>
          <ac:spMkLst>
            <pc:docMk/>
            <pc:sldMk cId="1341913498" sldId="578"/>
            <ac:spMk id="574" creationId="{2AD1B746-B375-DE80-EBC8-0AB7728B9570}"/>
          </ac:spMkLst>
        </pc:spChg>
        <pc:spChg chg="del">
          <ac:chgData name="Bullinger, Marvin" userId="5b54ce5a-dc89-476f-af33-5abd75d5b1e8" providerId="ADAL" clId="{43B71669-8A80-4333-9349-B258A9296B49}" dt="2024-02-27T17:26:59.108" v="5818" actId="478"/>
          <ac:spMkLst>
            <pc:docMk/>
            <pc:sldMk cId="1341913498" sldId="578"/>
            <ac:spMk id="575" creationId="{A399D144-C08E-89FC-30D2-FAAF0C18CC8A}"/>
          </ac:spMkLst>
        </pc:spChg>
        <pc:spChg chg="del">
          <ac:chgData name="Bullinger, Marvin" userId="5b54ce5a-dc89-476f-af33-5abd75d5b1e8" providerId="ADAL" clId="{43B71669-8A80-4333-9349-B258A9296B49}" dt="2024-02-27T17:26:59.105" v="5810" actId="478"/>
          <ac:spMkLst>
            <pc:docMk/>
            <pc:sldMk cId="1341913498" sldId="578"/>
            <ac:spMk id="576" creationId="{D1CEC82A-21B4-B515-FD6C-C69BE9EAACAB}"/>
          </ac:spMkLst>
        </pc:spChg>
        <pc:spChg chg="del">
          <ac:chgData name="Bullinger, Marvin" userId="5b54ce5a-dc89-476f-af33-5abd75d5b1e8" providerId="ADAL" clId="{43B71669-8A80-4333-9349-B258A9296B49}" dt="2024-02-27T17:26:59.090" v="5803" actId="478"/>
          <ac:spMkLst>
            <pc:docMk/>
            <pc:sldMk cId="1341913498" sldId="578"/>
            <ac:spMk id="577" creationId="{E42841CF-E289-E9C6-5B23-188DBDF20D7A}"/>
          </ac:spMkLst>
        </pc:spChg>
        <pc:spChg chg="del">
          <ac:chgData name="Bullinger, Marvin" userId="5b54ce5a-dc89-476f-af33-5abd75d5b1e8" providerId="ADAL" clId="{43B71669-8A80-4333-9349-B258A9296B49}" dt="2024-02-27T17:26:59.105" v="5811" actId="478"/>
          <ac:spMkLst>
            <pc:docMk/>
            <pc:sldMk cId="1341913498" sldId="578"/>
            <ac:spMk id="578" creationId="{31F97A0F-A6F0-1144-CA44-619883FD814A}"/>
          </ac:spMkLst>
        </pc:spChg>
        <pc:spChg chg="del">
          <ac:chgData name="Bullinger, Marvin" userId="5b54ce5a-dc89-476f-af33-5abd75d5b1e8" providerId="ADAL" clId="{43B71669-8A80-4333-9349-B258A9296B49}" dt="2024-02-27T17:26:59.090" v="5802" actId="478"/>
          <ac:spMkLst>
            <pc:docMk/>
            <pc:sldMk cId="1341913498" sldId="578"/>
            <ac:spMk id="579" creationId="{D43DE131-0D2A-BC3A-D2F0-4FDB86A41F55}"/>
          </ac:spMkLst>
        </pc:spChg>
        <pc:spChg chg="del">
          <ac:chgData name="Bullinger, Marvin" userId="5b54ce5a-dc89-476f-af33-5abd75d5b1e8" providerId="ADAL" clId="{43B71669-8A80-4333-9349-B258A9296B49}" dt="2024-02-27T17:26:59.090" v="5801" actId="478"/>
          <ac:spMkLst>
            <pc:docMk/>
            <pc:sldMk cId="1341913498" sldId="578"/>
            <ac:spMk id="580" creationId="{AC1C93FA-8C40-9684-710A-000CB853BCBE}"/>
          </ac:spMkLst>
        </pc:spChg>
        <pc:spChg chg="del">
          <ac:chgData name="Bullinger, Marvin" userId="5b54ce5a-dc89-476f-af33-5abd75d5b1e8" providerId="ADAL" clId="{43B71669-8A80-4333-9349-B258A9296B49}" dt="2024-02-27T17:26:59.090" v="5800" actId="478"/>
          <ac:spMkLst>
            <pc:docMk/>
            <pc:sldMk cId="1341913498" sldId="578"/>
            <ac:spMk id="581" creationId="{4B0550B9-884B-822C-51DD-D1CBD78FDF99}"/>
          </ac:spMkLst>
        </pc:spChg>
        <pc:spChg chg="del">
          <ac:chgData name="Bullinger, Marvin" userId="5b54ce5a-dc89-476f-af33-5abd75d5b1e8" providerId="ADAL" clId="{43B71669-8A80-4333-9349-B258A9296B49}" dt="2024-02-27T17:26:59.090" v="5799" actId="478"/>
          <ac:spMkLst>
            <pc:docMk/>
            <pc:sldMk cId="1341913498" sldId="578"/>
            <ac:spMk id="582" creationId="{E807B94A-FFBE-F9D7-40CA-7A316B6DCD34}"/>
          </ac:spMkLst>
        </pc:spChg>
        <pc:spChg chg="del">
          <ac:chgData name="Bullinger, Marvin" userId="5b54ce5a-dc89-476f-af33-5abd75d5b1e8" providerId="ADAL" clId="{43B71669-8A80-4333-9349-B258A9296B49}" dt="2024-02-27T17:26:59.090" v="5798" actId="478"/>
          <ac:spMkLst>
            <pc:docMk/>
            <pc:sldMk cId="1341913498" sldId="578"/>
            <ac:spMk id="583" creationId="{A1D842B7-3BB4-32D2-0652-BFE70C5EA2B2}"/>
          </ac:spMkLst>
        </pc:spChg>
        <pc:spChg chg="del">
          <ac:chgData name="Bullinger, Marvin" userId="5b54ce5a-dc89-476f-af33-5abd75d5b1e8" providerId="ADAL" clId="{43B71669-8A80-4333-9349-B258A9296B49}" dt="2024-02-27T17:26:59.090" v="5797" actId="478"/>
          <ac:spMkLst>
            <pc:docMk/>
            <pc:sldMk cId="1341913498" sldId="578"/>
            <ac:spMk id="584" creationId="{A4509851-ECE5-948A-654F-EC2FD1C9CDE2}"/>
          </ac:spMkLst>
        </pc:spChg>
        <pc:spChg chg="del">
          <ac:chgData name="Bullinger, Marvin" userId="5b54ce5a-dc89-476f-af33-5abd75d5b1e8" providerId="ADAL" clId="{43B71669-8A80-4333-9349-B258A9296B49}" dt="2024-02-27T17:26:59.090" v="5796" actId="478"/>
          <ac:spMkLst>
            <pc:docMk/>
            <pc:sldMk cId="1341913498" sldId="578"/>
            <ac:spMk id="585" creationId="{9C8A2FA3-5E9D-0085-6ED7-B63591A7183B}"/>
          </ac:spMkLst>
        </pc:spChg>
        <pc:spChg chg="del">
          <ac:chgData name="Bullinger, Marvin" userId="5b54ce5a-dc89-476f-af33-5abd75d5b1e8" providerId="ADAL" clId="{43B71669-8A80-4333-9349-B258A9296B49}" dt="2024-02-27T17:26:59.090" v="5795" actId="478"/>
          <ac:spMkLst>
            <pc:docMk/>
            <pc:sldMk cId="1341913498" sldId="578"/>
            <ac:spMk id="586" creationId="{8AA79EFC-D2A4-AC59-438A-F35036975794}"/>
          </ac:spMkLst>
        </pc:spChg>
        <pc:spChg chg="del">
          <ac:chgData name="Bullinger, Marvin" userId="5b54ce5a-dc89-476f-af33-5abd75d5b1e8" providerId="ADAL" clId="{43B71669-8A80-4333-9349-B258A9296B49}" dt="2024-02-27T17:26:59.090" v="5794" actId="478"/>
          <ac:spMkLst>
            <pc:docMk/>
            <pc:sldMk cId="1341913498" sldId="578"/>
            <ac:spMk id="587" creationId="{FE81714A-4ACF-02B7-CC0C-7BC4D8FB072F}"/>
          </ac:spMkLst>
        </pc:spChg>
        <pc:spChg chg="del">
          <ac:chgData name="Bullinger, Marvin" userId="5b54ce5a-dc89-476f-af33-5abd75d5b1e8" providerId="ADAL" clId="{43B71669-8A80-4333-9349-B258A9296B49}" dt="2024-02-27T17:26:59.090" v="5793" actId="478"/>
          <ac:spMkLst>
            <pc:docMk/>
            <pc:sldMk cId="1341913498" sldId="578"/>
            <ac:spMk id="588" creationId="{A0A05DB3-152E-BFA4-098A-0F6DEDE15A89}"/>
          </ac:spMkLst>
        </pc:spChg>
        <pc:spChg chg="del">
          <ac:chgData name="Bullinger, Marvin" userId="5b54ce5a-dc89-476f-af33-5abd75d5b1e8" providerId="ADAL" clId="{43B71669-8A80-4333-9349-B258A9296B49}" dt="2024-02-27T17:26:59.090" v="5792" actId="478"/>
          <ac:spMkLst>
            <pc:docMk/>
            <pc:sldMk cId="1341913498" sldId="578"/>
            <ac:spMk id="589" creationId="{5F4442A9-F25D-3B7C-3028-C6D585CCDC17}"/>
          </ac:spMkLst>
        </pc:spChg>
        <pc:spChg chg="del">
          <ac:chgData name="Bullinger, Marvin" userId="5b54ce5a-dc89-476f-af33-5abd75d5b1e8" providerId="ADAL" clId="{43B71669-8A80-4333-9349-B258A9296B49}" dt="2024-02-27T17:26:59.090" v="5791" actId="478"/>
          <ac:spMkLst>
            <pc:docMk/>
            <pc:sldMk cId="1341913498" sldId="578"/>
            <ac:spMk id="590" creationId="{2B9D8106-75B3-76F2-91D6-A9D62DE84F45}"/>
          </ac:spMkLst>
        </pc:spChg>
        <pc:spChg chg="del">
          <ac:chgData name="Bullinger, Marvin" userId="5b54ce5a-dc89-476f-af33-5abd75d5b1e8" providerId="ADAL" clId="{43B71669-8A80-4333-9349-B258A9296B49}" dt="2024-02-27T17:26:59.090" v="5790" actId="478"/>
          <ac:spMkLst>
            <pc:docMk/>
            <pc:sldMk cId="1341913498" sldId="578"/>
            <ac:spMk id="591" creationId="{FA56DC45-FDA1-F43C-ADE3-A690E66EB9F3}"/>
          </ac:spMkLst>
        </pc:spChg>
        <pc:spChg chg="del">
          <ac:chgData name="Bullinger, Marvin" userId="5b54ce5a-dc89-476f-af33-5abd75d5b1e8" providerId="ADAL" clId="{43B71669-8A80-4333-9349-B258A9296B49}" dt="2024-02-27T17:26:59.090" v="5789" actId="478"/>
          <ac:spMkLst>
            <pc:docMk/>
            <pc:sldMk cId="1341913498" sldId="578"/>
            <ac:spMk id="592" creationId="{4CC26C83-4ECC-9CF5-A840-2B4FBB10BE2D}"/>
          </ac:spMkLst>
        </pc:spChg>
        <pc:spChg chg="replST">
          <ac:chgData name="Bullinger, Marvin" userId="5b54ce5a-dc89-476f-af33-5abd75d5b1e8" providerId="ADAL" clId="{43B71669-8A80-4333-9349-B258A9296B49}" dt="2024-02-27T17:26:59.724" v="6234"/>
          <ac:spMkLst>
            <pc:docMk/>
            <pc:sldMk cId="1341913498" sldId="578"/>
            <ac:spMk id="593" creationId="{A38C46C4-382A-3AA2-1F78-A3B76182656E}"/>
          </ac:spMkLst>
        </pc:spChg>
        <pc:spChg chg="replST">
          <ac:chgData name="Bullinger, Marvin" userId="5b54ce5a-dc89-476f-af33-5abd75d5b1e8" providerId="ADAL" clId="{43B71669-8A80-4333-9349-B258A9296B49}" dt="2024-02-27T17:26:59.724" v="6237"/>
          <ac:spMkLst>
            <pc:docMk/>
            <pc:sldMk cId="1341913498" sldId="578"/>
            <ac:spMk id="594" creationId="{19D039C7-0760-C77A-178E-AC2A9ED7D124}"/>
          </ac:spMkLst>
        </pc:spChg>
        <pc:spChg chg="ord replST">
          <ac:chgData name="Bullinger, Marvin" userId="5b54ce5a-dc89-476f-af33-5abd75d5b1e8" providerId="ADAL" clId="{43B71669-8A80-4333-9349-B258A9296B49}" dt="2024-02-27T17:26:59.824" v="6290"/>
          <ac:spMkLst>
            <pc:docMk/>
            <pc:sldMk cId="1341913498" sldId="578"/>
            <ac:spMk id="595" creationId="{7460AEDE-37EC-7891-9041-5974350AF0E0}"/>
          </ac:spMkLst>
        </pc:spChg>
        <pc:spChg chg="replST">
          <ac:chgData name="Bullinger, Marvin" userId="5b54ce5a-dc89-476f-af33-5abd75d5b1e8" providerId="ADAL" clId="{43B71669-8A80-4333-9349-B258A9296B49}" dt="2024-02-27T17:26:59.724" v="6241"/>
          <ac:spMkLst>
            <pc:docMk/>
            <pc:sldMk cId="1341913498" sldId="578"/>
            <ac:spMk id="596" creationId="{83F2373C-5419-882E-374A-2799FC2BD603}"/>
          </ac:spMkLst>
        </pc:spChg>
        <pc:spChg chg="replST">
          <ac:chgData name="Bullinger, Marvin" userId="5b54ce5a-dc89-476f-af33-5abd75d5b1e8" providerId="ADAL" clId="{43B71669-8A80-4333-9349-B258A9296B49}" dt="2024-02-27T17:26:59.740" v="6244"/>
          <ac:spMkLst>
            <pc:docMk/>
            <pc:sldMk cId="1341913498" sldId="578"/>
            <ac:spMk id="597" creationId="{B86D96E5-E7AB-D7E8-450D-E64BCBB7B1F2}"/>
          </ac:spMkLst>
        </pc:spChg>
        <pc:spChg chg="replST">
          <ac:chgData name="Bullinger, Marvin" userId="5b54ce5a-dc89-476f-af33-5abd75d5b1e8" providerId="ADAL" clId="{43B71669-8A80-4333-9349-B258A9296B49}" dt="2024-02-27T17:26:59.740" v="6248"/>
          <ac:spMkLst>
            <pc:docMk/>
            <pc:sldMk cId="1341913498" sldId="578"/>
            <ac:spMk id="599" creationId="{AE0147CF-D059-6F2D-2C4B-4D6976A64D92}"/>
          </ac:spMkLst>
        </pc:spChg>
        <pc:spChg chg="replST">
          <ac:chgData name="Bullinger, Marvin" userId="5b54ce5a-dc89-476f-af33-5abd75d5b1e8" providerId="ADAL" clId="{43B71669-8A80-4333-9349-B258A9296B49}" dt="2024-02-27T17:26:59.756" v="6251"/>
          <ac:spMkLst>
            <pc:docMk/>
            <pc:sldMk cId="1341913498" sldId="578"/>
            <ac:spMk id="600" creationId="{7F2AD87D-BD48-B712-C577-A2BE18EB300C}"/>
          </ac:spMkLst>
        </pc:spChg>
        <pc:spChg chg="replST">
          <ac:chgData name="Bullinger, Marvin" userId="5b54ce5a-dc89-476f-af33-5abd75d5b1e8" providerId="ADAL" clId="{43B71669-8A80-4333-9349-B258A9296B49}" dt="2024-02-27T17:26:59.756" v="6255"/>
          <ac:spMkLst>
            <pc:docMk/>
            <pc:sldMk cId="1341913498" sldId="578"/>
            <ac:spMk id="602" creationId="{178EAEE3-599D-8033-9E6A-97CA0570B3FB}"/>
          </ac:spMkLst>
        </pc:spChg>
        <pc:spChg chg="replST">
          <ac:chgData name="Bullinger, Marvin" userId="5b54ce5a-dc89-476f-af33-5abd75d5b1e8" providerId="ADAL" clId="{43B71669-8A80-4333-9349-B258A9296B49}" dt="2024-02-27T17:26:59.756" v="6258"/>
          <ac:spMkLst>
            <pc:docMk/>
            <pc:sldMk cId="1341913498" sldId="578"/>
            <ac:spMk id="603" creationId="{22019881-0F55-40A4-FDCC-BD16B90384FE}"/>
          </ac:spMkLst>
        </pc:spChg>
        <pc:spChg chg="replST">
          <ac:chgData name="Bullinger, Marvin" userId="5b54ce5a-dc89-476f-af33-5abd75d5b1e8" providerId="ADAL" clId="{43B71669-8A80-4333-9349-B258A9296B49}" dt="2024-02-27T17:26:59.772" v="6262"/>
          <ac:spMkLst>
            <pc:docMk/>
            <pc:sldMk cId="1341913498" sldId="578"/>
            <ac:spMk id="605" creationId="{4165A8C4-8837-8130-D3AD-0AA694612EA5}"/>
          </ac:spMkLst>
        </pc:spChg>
        <pc:spChg chg="replST">
          <ac:chgData name="Bullinger, Marvin" userId="5b54ce5a-dc89-476f-af33-5abd75d5b1e8" providerId="ADAL" clId="{43B71669-8A80-4333-9349-B258A9296B49}" dt="2024-02-27T17:26:59.772" v="6265"/>
          <ac:spMkLst>
            <pc:docMk/>
            <pc:sldMk cId="1341913498" sldId="578"/>
            <ac:spMk id="606" creationId="{DA89C91B-1F0B-2DDB-1FC5-E9CE8DB06D5E}"/>
          </ac:spMkLst>
        </pc:spChg>
        <pc:spChg chg="replST">
          <ac:chgData name="Bullinger, Marvin" userId="5b54ce5a-dc89-476f-af33-5abd75d5b1e8" providerId="ADAL" clId="{43B71669-8A80-4333-9349-B258A9296B49}" dt="2024-02-27T17:26:59.787" v="6269"/>
          <ac:spMkLst>
            <pc:docMk/>
            <pc:sldMk cId="1341913498" sldId="578"/>
            <ac:spMk id="608" creationId="{93E9384D-DE29-1FE7-062A-E933A034248B}"/>
          </ac:spMkLst>
        </pc:spChg>
        <pc:spChg chg="replST">
          <ac:chgData name="Bullinger, Marvin" userId="5b54ce5a-dc89-476f-af33-5abd75d5b1e8" providerId="ADAL" clId="{43B71669-8A80-4333-9349-B258A9296B49}" dt="2024-02-27T17:26:59.787" v="6272"/>
          <ac:spMkLst>
            <pc:docMk/>
            <pc:sldMk cId="1341913498" sldId="578"/>
            <ac:spMk id="609" creationId="{39168954-5F92-4084-7369-D61D52D9E37F}"/>
          </ac:spMkLst>
        </pc:spChg>
        <pc:spChg chg="replST">
          <ac:chgData name="Bullinger, Marvin" userId="5b54ce5a-dc89-476f-af33-5abd75d5b1e8" providerId="ADAL" clId="{43B71669-8A80-4333-9349-B258A9296B49}" dt="2024-02-27T17:26:59.787" v="6276"/>
          <ac:spMkLst>
            <pc:docMk/>
            <pc:sldMk cId="1341913498" sldId="578"/>
            <ac:spMk id="611" creationId="{64BE330B-B94B-6137-084B-F77F821DBF77}"/>
          </ac:spMkLst>
        </pc:spChg>
        <pc:spChg chg="replST">
          <ac:chgData name="Bullinger, Marvin" userId="5b54ce5a-dc89-476f-af33-5abd75d5b1e8" providerId="ADAL" clId="{43B71669-8A80-4333-9349-B258A9296B49}" dt="2024-02-27T17:26:59.803" v="6279"/>
          <ac:spMkLst>
            <pc:docMk/>
            <pc:sldMk cId="1341913498" sldId="578"/>
            <ac:spMk id="612" creationId="{918E48F5-1575-0763-9EFC-C33FFEE695E7}"/>
          </ac:spMkLst>
        </pc:spChg>
        <pc:spChg chg="replST">
          <ac:chgData name="Bullinger, Marvin" userId="5b54ce5a-dc89-476f-af33-5abd75d5b1e8" providerId="ADAL" clId="{43B71669-8A80-4333-9349-B258A9296B49}" dt="2024-02-27T17:26:59.803" v="6283"/>
          <ac:spMkLst>
            <pc:docMk/>
            <pc:sldMk cId="1341913498" sldId="578"/>
            <ac:spMk id="614" creationId="{6FB71CA9-F883-A57A-51A5-C34AF5E254B3}"/>
          </ac:spMkLst>
        </pc:spChg>
        <pc:spChg chg="replST">
          <ac:chgData name="Bullinger, Marvin" userId="5b54ce5a-dc89-476f-af33-5abd75d5b1e8" providerId="ADAL" clId="{43B71669-8A80-4333-9349-B258A9296B49}" dt="2024-02-27T17:26:59.820" v="6286"/>
          <ac:spMkLst>
            <pc:docMk/>
            <pc:sldMk cId="1341913498" sldId="578"/>
            <ac:spMk id="615" creationId="{DC955020-8784-F8DC-4729-D796331DC18C}"/>
          </ac:spMkLst>
        </pc:spChg>
        <pc:cxnChg chg="del">
          <ac:chgData name="Bullinger, Marvin" userId="5b54ce5a-dc89-476f-af33-5abd75d5b1e8" providerId="ADAL" clId="{43B71669-8A80-4333-9349-B258A9296B49}" dt="2024-02-27T16:45:49.958" v="340" actId="478"/>
          <ac:cxnSpMkLst>
            <pc:docMk/>
            <pc:sldMk cId="1341913498" sldId="578"/>
            <ac:cxnSpMk id="242" creationId="{4B8B6974-EAF4-76A3-7C63-1EB4C8A06845}"/>
          </ac:cxnSpMkLst>
        </pc:cxnChg>
        <pc:cxnChg chg="del">
          <ac:chgData name="Bullinger, Marvin" userId="5b54ce5a-dc89-476f-af33-5abd75d5b1e8" providerId="ADAL" clId="{43B71669-8A80-4333-9349-B258A9296B49}" dt="2024-02-27T16:45:49.959" v="341" actId="478"/>
          <ac:cxnSpMkLst>
            <pc:docMk/>
            <pc:sldMk cId="1341913498" sldId="578"/>
            <ac:cxnSpMk id="245" creationId="{47C591AA-80CD-B326-95BC-64375708DDE8}"/>
          </ac:cxnSpMkLst>
        </pc:cxnChg>
        <pc:cxnChg chg="del">
          <ac:chgData name="Bullinger, Marvin" userId="5b54ce5a-dc89-476f-af33-5abd75d5b1e8" providerId="ADAL" clId="{43B71669-8A80-4333-9349-B258A9296B49}" dt="2024-02-27T16:45:49.960" v="342" actId="478"/>
          <ac:cxnSpMkLst>
            <pc:docMk/>
            <pc:sldMk cId="1341913498" sldId="578"/>
            <ac:cxnSpMk id="248" creationId="{71FD28A4-7E37-BA76-BA5D-2F89C2BA9443}"/>
          </ac:cxnSpMkLst>
        </pc:cxnChg>
        <pc:cxnChg chg="del">
          <ac:chgData name="Bullinger, Marvin" userId="5b54ce5a-dc89-476f-af33-5abd75d5b1e8" providerId="ADAL" clId="{43B71669-8A80-4333-9349-B258A9296B49}" dt="2024-02-27T16:45:49.960" v="343" actId="478"/>
          <ac:cxnSpMkLst>
            <pc:docMk/>
            <pc:sldMk cId="1341913498" sldId="578"/>
            <ac:cxnSpMk id="251" creationId="{79651428-4443-4606-61CA-DC4918FAEACB}"/>
          </ac:cxnSpMkLst>
        </pc:cxnChg>
        <pc:cxnChg chg="del">
          <ac:chgData name="Bullinger, Marvin" userId="5b54ce5a-dc89-476f-af33-5abd75d5b1e8" providerId="ADAL" clId="{43B71669-8A80-4333-9349-B258A9296B49}" dt="2024-02-27T16:45:49.961" v="344" actId="478"/>
          <ac:cxnSpMkLst>
            <pc:docMk/>
            <pc:sldMk cId="1341913498" sldId="578"/>
            <ac:cxnSpMk id="254" creationId="{2D369C8C-D527-131E-6951-AA297F4FA67E}"/>
          </ac:cxnSpMkLst>
        </pc:cxnChg>
        <pc:cxnChg chg="del">
          <ac:chgData name="Bullinger, Marvin" userId="5b54ce5a-dc89-476f-af33-5abd75d5b1e8" providerId="ADAL" clId="{43B71669-8A80-4333-9349-B258A9296B49}" dt="2024-02-27T16:45:49.962" v="345" actId="478"/>
          <ac:cxnSpMkLst>
            <pc:docMk/>
            <pc:sldMk cId="1341913498" sldId="578"/>
            <ac:cxnSpMk id="255" creationId="{E86C7BDC-BEC2-9AEB-16B1-D03C01D3A522}"/>
          </ac:cxnSpMkLst>
        </pc:cxnChg>
        <pc:cxnChg chg="del ord replST">
          <ac:chgData name="Bullinger, Marvin" userId="5b54ce5a-dc89-476f-af33-5abd75d5b1e8" providerId="ADAL" clId="{43B71669-8A80-4333-9349-B258A9296B49}" dt="2024-02-27T16:46:20.214" v="1118" actId="478"/>
          <ac:cxnSpMkLst>
            <pc:docMk/>
            <pc:sldMk cId="1341913498" sldId="578"/>
            <ac:cxnSpMk id="266" creationId="{7E77B7A4-EF71-5EF6-1F91-6933888CF607}"/>
          </ac:cxnSpMkLst>
        </pc:cxnChg>
        <pc:cxnChg chg="del ord replST">
          <ac:chgData name="Bullinger, Marvin" userId="5b54ce5a-dc89-476f-af33-5abd75d5b1e8" providerId="ADAL" clId="{43B71669-8A80-4333-9349-B258A9296B49}" dt="2024-02-27T16:46:20.214" v="1119" actId="478"/>
          <ac:cxnSpMkLst>
            <pc:docMk/>
            <pc:sldMk cId="1341913498" sldId="578"/>
            <ac:cxnSpMk id="269" creationId="{3885B3B2-1040-0AB6-9F70-E94B8C0BC6AB}"/>
          </ac:cxnSpMkLst>
        </pc:cxnChg>
        <pc:cxnChg chg="del ord replST">
          <ac:chgData name="Bullinger, Marvin" userId="5b54ce5a-dc89-476f-af33-5abd75d5b1e8" providerId="ADAL" clId="{43B71669-8A80-4333-9349-B258A9296B49}" dt="2024-02-27T16:46:20.214" v="1120" actId="478"/>
          <ac:cxnSpMkLst>
            <pc:docMk/>
            <pc:sldMk cId="1341913498" sldId="578"/>
            <ac:cxnSpMk id="272" creationId="{6BED94C5-B85D-CE51-A5D2-FD07395E8696}"/>
          </ac:cxnSpMkLst>
        </pc:cxnChg>
        <pc:cxnChg chg="del ord replST">
          <ac:chgData name="Bullinger, Marvin" userId="5b54ce5a-dc89-476f-af33-5abd75d5b1e8" providerId="ADAL" clId="{43B71669-8A80-4333-9349-B258A9296B49}" dt="2024-02-27T16:46:20.214" v="1121" actId="478"/>
          <ac:cxnSpMkLst>
            <pc:docMk/>
            <pc:sldMk cId="1341913498" sldId="578"/>
            <ac:cxnSpMk id="275" creationId="{2356518D-7D26-5F1B-C66E-E5CDA4609846}"/>
          </ac:cxnSpMkLst>
        </pc:cxnChg>
        <pc:cxnChg chg="del ord replST">
          <ac:chgData name="Bullinger, Marvin" userId="5b54ce5a-dc89-476f-af33-5abd75d5b1e8" providerId="ADAL" clId="{43B71669-8A80-4333-9349-B258A9296B49}" dt="2024-02-27T16:46:20.214" v="1122" actId="478"/>
          <ac:cxnSpMkLst>
            <pc:docMk/>
            <pc:sldMk cId="1341913498" sldId="578"/>
            <ac:cxnSpMk id="278" creationId="{CE7146B0-4120-5A82-190A-8F6CD8BF3D1C}"/>
          </ac:cxnSpMkLst>
        </pc:cxnChg>
        <pc:cxnChg chg="del ord replST">
          <ac:chgData name="Bullinger, Marvin" userId="5b54ce5a-dc89-476f-af33-5abd75d5b1e8" providerId="ADAL" clId="{43B71669-8A80-4333-9349-B258A9296B49}" dt="2024-02-27T16:46:20.214" v="1123" actId="478"/>
          <ac:cxnSpMkLst>
            <pc:docMk/>
            <pc:sldMk cId="1341913498" sldId="578"/>
            <ac:cxnSpMk id="279" creationId="{D887A7A0-B7CD-4455-B54D-4F8B37D3F640}"/>
          </ac:cxnSpMkLst>
        </pc:cxnChg>
        <pc:cxnChg chg="add del ord replST">
          <ac:chgData name="Bullinger, Marvin" userId="5b54ce5a-dc89-476f-af33-5abd75d5b1e8" providerId="ADAL" clId="{43B71669-8A80-4333-9349-B258A9296B49}" dt="2024-02-27T17:21:07.209" v="3495" actId="478"/>
          <ac:cxnSpMkLst>
            <pc:docMk/>
            <pc:sldMk cId="1341913498" sldId="578"/>
            <ac:cxnSpMk id="362" creationId="{EF19C9C7-EA83-6138-E60D-B556FE46A038}"/>
          </ac:cxnSpMkLst>
        </pc:cxnChg>
        <pc:cxnChg chg="add del ord replST">
          <ac:chgData name="Bullinger, Marvin" userId="5b54ce5a-dc89-476f-af33-5abd75d5b1e8" providerId="ADAL" clId="{43B71669-8A80-4333-9349-B258A9296B49}" dt="2024-02-27T17:21:07.209" v="3496" actId="478"/>
          <ac:cxnSpMkLst>
            <pc:docMk/>
            <pc:sldMk cId="1341913498" sldId="578"/>
            <ac:cxnSpMk id="365" creationId="{33150C33-6A6C-D46F-CEFC-BFA8B7F28D75}"/>
          </ac:cxnSpMkLst>
        </pc:cxnChg>
        <pc:cxnChg chg="add del ord replST">
          <ac:chgData name="Bullinger, Marvin" userId="5b54ce5a-dc89-476f-af33-5abd75d5b1e8" providerId="ADAL" clId="{43B71669-8A80-4333-9349-B258A9296B49}" dt="2024-02-27T17:21:07.209" v="3497" actId="478"/>
          <ac:cxnSpMkLst>
            <pc:docMk/>
            <pc:sldMk cId="1341913498" sldId="578"/>
            <ac:cxnSpMk id="368" creationId="{FD14EB62-364B-240F-7E55-18583183FE5C}"/>
          </ac:cxnSpMkLst>
        </pc:cxnChg>
        <pc:cxnChg chg="add del ord replST">
          <ac:chgData name="Bullinger, Marvin" userId="5b54ce5a-dc89-476f-af33-5abd75d5b1e8" providerId="ADAL" clId="{43B71669-8A80-4333-9349-B258A9296B49}" dt="2024-02-27T17:21:07.209" v="3498" actId="478"/>
          <ac:cxnSpMkLst>
            <pc:docMk/>
            <pc:sldMk cId="1341913498" sldId="578"/>
            <ac:cxnSpMk id="371" creationId="{5017FB45-6B21-CA23-AA1C-FD245C0C8F01}"/>
          </ac:cxnSpMkLst>
        </pc:cxnChg>
        <pc:cxnChg chg="add del ord replST">
          <ac:chgData name="Bullinger, Marvin" userId="5b54ce5a-dc89-476f-af33-5abd75d5b1e8" providerId="ADAL" clId="{43B71669-8A80-4333-9349-B258A9296B49}" dt="2024-02-27T17:21:07.209" v="3499" actId="478"/>
          <ac:cxnSpMkLst>
            <pc:docMk/>
            <pc:sldMk cId="1341913498" sldId="578"/>
            <ac:cxnSpMk id="374" creationId="{EC7FC58D-7920-237B-AA4F-D358B9FEA3F9}"/>
          </ac:cxnSpMkLst>
        </pc:cxnChg>
        <pc:cxnChg chg="add del ord replST">
          <ac:chgData name="Bullinger, Marvin" userId="5b54ce5a-dc89-476f-af33-5abd75d5b1e8" providerId="ADAL" clId="{43B71669-8A80-4333-9349-B258A9296B49}" dt="2024-02-27T17:21:07.224" v="3500" actId="478"/>
          <ac:cxnSpMkLst>
            <pc:docMk/>
            <pc:sldMk cId="1341913498" sldId="578"/>
            <ac:cxnSpMk id="375" creationId="{74EF208D-2F16-BAF8-A903-DBE138ECA88F}"/>
          </ac:cxnSpMkLst>
        </pc:cxnChg>
        <pc:cxnChg chg="del ord replST">
          <ac:chgData name="Bullinger, Marvin" userId="5b54ce5a-dc89-476f-af33-5abd75d5b1e8" providerId="ADAL" clId="{43B71669-8A80-4333-9349-B258A9296B49}" dt="2024-02-27T17:26:23.064" v="4454" actId="478"/>
          <ac:cxnSpMkLst>
            <pc:docMk/>
            <pc:sldMk cId="1341913498" sldId="578"/>
            <ac:cxnSpMk id="394" creationId="{CB4D9563-534B-572B-19BD-C623BC8C9349}"/>
          </ac:cxnSpMkLst>
        </pc:cxnChg>
        <pc:cxnChg chg="del ord replST">
          <ac:chgData name="Bullinger, Marvin" userId="5b54ce5a-dc89-476f-af33-5abd75d5b1e8" providerId="ADAL" clId="{43B71669-8A80-4333-9349-B258A9296B49}" dt="2024-02-27T17:26:23.064" v="4455" actId="478"/>
          <ac:cxnSpMkLst>
            <pc:docMk/>
            <pc:sldMk cId="1341913498" sldId="578"/>
            <ac:cxnSpMk id="397" creationId="{5307C3C3-3394-8008-1D4C-3FF71C454062}"/>
          </ac:cxnSpMkLst>
        </pc:cxnChg>
        <pc:cxnChg chg="del ord replST">
          <ac:chgData name="Bullinger, Marvin" userId="5b54ce5a-dc89-476f-af33-5abd75d5b1e8" providerId="ADAL" clId="{43B71669-8A80-4333-9349-B258A9296B49}" dt="2024-02-27T17:26:23.080" v="4456" actId="478"/>
          <ac:cxnSpMkLst>
            <pc:docMk/>
            <pc:sldMk cId="1341913498" sldId="578"/>
            <ac:cxnSpMk id="400" creationId="{3265C18D-053B-537C-5C0E-00B840A91A8E}"/>
          </ac:cxnSpMkLst>
        </pc:cxnChg>
        <pc:cxnChg chg="del ord replST">
          <ac:chgData name="Bullinger, Marvin" userId="5b54ce5a-dc89-476f-af33-5abd75d5b1e8" providerId="ADAL" clId="{43B71669-8A80-4333-9349-B258A9296B49}" dt="2024-02-27T17:26:23.081" v="4457" actId="478"/>
          <ac:cxnSpMkLst>
            <pc:docMk/>
            <pc:sldMk cId="1341913498" sldId="578"/>
            <ac:cxnSpMk id="403" creationId="{33114CDB-4107-862F-137F-A27FEC801481}"/>
          </ac:cxnSpMkLst>
        </pc:cxnChg>
        <pc:cxnChg chg="del ord replST">
          <ac:chgData name="Bullinger, Marvin" userId="5b54ce5a-dc89-476f-af33-5abd75d5b1e8" providerId="ADAL" clId="{43B71669-8A80-4333-9349-B258A9296B49}" dt="2024-02-27T17:26:23.081" v="4458" actId="478"/>
          <ac:cxnSpMkLst>
            <pc:docMk/>
            <pc:sldMk cId="1341913498" sldId="578"/>
            <ac:cxnSpMk id="406" creationId="{6EC1B026-4581-C93B-837F-7416674E5EE6}"/>
          </ac:cxnSpMkLst>
        </pc:cxnChg>
        <pc:cxnChg chg="del ord replST">
          <ac:chgData name="Bullinger, Marvin" userId="5b54ce5a-dc89-476f-af33-5abd75d5b1e8" providerId="ADAL" clId="{43B71669-8A80-4333-9349-B258A9296B49}" dt="2024-02-27T17:26:23.081" v="4459" actId="478"/>
          <ac:cxnSpMkLst>
            <pc:docMk/>
            <pc:sldMk cId="1341913498" sldId="578"/>
            <ac:cxnSpMk id="409" creationId="{6D87E1D6-D275-F462-F5C3-2D7BC02EB93B}"/>
          </ac:cxnSpMkLst>
        </pc:cxnChg>
        <pc:cxnChg chg="del ord replST">
          <ac:chgData name="Bullinger, Marvin" userId="5b54ce5a-dc89-476f-af33-5abd75d5b1e8" providerId="ADAL" clId="{43B71669-8A80-4333-9349-B258A9296B49}" dt="2024-02-27T17:26:23.081" v="4460" actId="478"/>
          <ac:cxnSpMkLst>
            <pc:docMk/>
            <pc:sldMk cId="1341913498" sldId="578"/>
            <ac:cxnSpMk id="410" creationId="{3F14CFFB-27F5-5545-C08A-3034F86C9525}"/>
          </ac:cxnSpMkLst>
        </pc:cxnChg>
        <pc:cxnChg chg="mod ord replST delST">
          <ac:chgData name="Bullinger, Marvin" userId="5b54ce5a-dc89-476f-af33-5abd75d5b1e8" providerId="ADAL" clId="{43B71669-8A80-4333-9349-B258A9296B49}" dt="2024-02-27T16:53:49.050" v="3382"/>
          <ac:cxnSpMkLst>
            <pc:docMk/>
            <pc:sldMk cId="1341913498" sldId="578"/>
            <ac:cxnSpMk id="458" creationId="{CE18AC90-8415-1864-F28C-8B4A7856C321}"/>
          </ac:cxnSpMkLst>
        </pc:cxnChg>
        <pc:cxnChg chg="mod ord replST delST">
          <ac:chgData name="Bullinger, Marvin" userId="5b54ce5a-dc89-476f-af33-5abd75d5b1e8" providerId="ADAL" clId="{43B71669-8A80-4333-9349-B258A9296B49}" dt="2024-02-27T16:53:49.050" v="3382"/>
          <ac:cxnSpMkLst>
            <pc:docMk/>
            <pc:sldMk cId="1341913498" sldId="578"/>
            <ac:cxnSpMk id="461" creationId="{669E1535-123E-9F24-DF9C-2C3D0C46DE75}"/>
          </ac:cxnSpMkLst>
        </pc:cxnChg>
        <pc:cxnChg chg="mod ord replST delST">
          <ac:chgData name="Bullinger, Marvin" userId="5b54ce5a-dc89-476f-af33-5abd75d5b1e8" providerId="ADAL" clId="{43B71669-8A80-4333-9349-B258A9296B49}" dt="2024-02-27T16:53:49.050" v="3382"/>
          <ac:cxnSpMkLst>
            <pc:docMk/>
            <pc:sldMk cId="1341913498" sldId="578"/>
            <ac:cxnSpMk id="464" creationId="{49A2BA71-4076-1407-C023-F4B1D88F37ED}"/>
          </ac:cxnSpMkLst>
        </pc:cxnChg>
        <pc:cxnChg chg="mod ord replST delST">
          <ac:chgData name="Bullinger, Marvin" userId="5b54ce5a-dc89-476f-af33-5abd75d5b1e8" providerId="ADAL" clId="{43B71669-8A80-4333-9349-B258A9296B49}" dt="2024-02-27T16:53:49.050" v="3382"/>
          <ac:cxnSpMkLst>
            <pc:docMk/>
            <pc:sldMk cId="1341913498" sldId="578"/>
            <ac:cxnSpMk id="467" creationId="{A8B40F26-1F66-F8DA-D080-8CDDBE8A6F38}"/>
          </ac:cxnSpMkLst>
        </pc:cxnChg>
        <pc:cxnChg chg="mod ord replST delST">
          <ac:chgData name="Bullinger, Marvin" userId="5b54ce5a-dc89-476f-af33-5abd75d5b1e8" providerId="ADAL" clId="{43B71669-8A80-4333-9349-B258A9296B49}" dt="2024-02-27T16:53:49.050" v="3382"/>
          <ac:cxnSpMkLst>
            <pc:docMk/>
            <pc:sldMk cId="1341913498" sldId="578"/>
            <ac:cxnSpMk id="470" creationId="{60B7F2C9-D9BD-9BA5-3B32-F93B3028D026}"/>
          </ac:cxnSpMkLst>
        </pc:cxnChg>
        <pc:cxnChg chg="mod ord replST delST">
          <ac:chgData name="Bullinger, Marvin" userId="5b54ce5a-dc89-476f-af33-5abd75d5b1e8" providerId="ADAL" clId="{43B71669-8A80-4333-9349-B258A9296B49}" dt="2024-02-27T16:53:49.050" v="3382"/>
          <ac:cxnSpMkLst>
            <pc:docMk/>
            <pc:sldMk cId="1341913498" sldId="578"/>
            <ac:cxnSpMk id="471" creationId="{7DBB2860-D8B5-66E9-37E6-820E026E67D8}"/>
          </ac:cxnSpMkLst>
        </pc:cxnChg>
        <pc:cxnChg chg="del ord replST">
          <ac:chgData name="Bullinger, Marvin" userId="5b54ce5a-dc89-476f-af33-5abd75d5b1e8" providerId="ADAL" clId="{43B71669-8A80-4333-9349-B258A9296B49}" dt="2024-02-27T17:26:59.073" v="5780" actId="478"/>
          <ac:cxnSpMkLst>
            <pc:docMk/>
            <pc:sldMk cId="1341913498" sldId="578"/>
            <ac:cxnSpMk id="493" creationId="{814B953A-F19D-415F-FC23-83DDC0C2206F}"/>
          </ac:cxnSpMkLst>
        </pc:cxnChg>
        <pc:cxnChg chg="del ord replST">
          <ac:chgData name="Bullinger, Marvin" userId="5b54ce5a-dc89-476f-af33-5abd75d5b1e8" providerId="ADAL" clId="{43B71669-8A80-4333-9349-B258A9296B49}" dt="2024-02-27T17:26:59.073" v="5781" actId="478"/>
          <ac:cxnSpMkLst>
            <pc:docMk/>
            <pc:sldMk cId="1341913498" sldId="578"/>
            <ac:cxnSpMk id="496" creationId="{09DD9D74-AE18-C390-7434-4CE65C95A933}"/>
          </ac:cxnSpMkLst>
        </pc:cxnChg>
        <pc:cxnChg chg="del ord replST">
          <ac:chgData name="Bullinger, Marvin" userId="5b54ce5a-dc89-476f-af33-5abd75d5b1e8" providerId="ADAL" clId="{43B71669-8A80-4333-9349-B258A9296B49}" dt="2024-02-27T17:26:59.073" v="5782" actId="478"/>
          <ac:cxnSpMkLst>
            <pc:docMk/>
            <pc:sldMk cId="1341913498" sldId="578"/>
            <ac:cxnSpMk id="499" creationId="{3930E19B-F48D-CBF1-C679-480539F4956D}"/>
          </ac:cxnSpMkLst>
        </pc:cxnChg>
        <pc:cxnChg chg="del ord replST">
          <ac:chgData name="Bullinger, Marvin" userId="5b54ce5a-dc89-476f-af33-5abd75d5b1e8" providerId="ADAL" clId="{43B71669-8A80-4333-9349-B258A9296B49}" dt="2024-02-27T17:26:59.073" v="5783" actId="478"/>
          <ac:cxnSpMkLst>
            <pc:docMk/>
            <pc:sldMk cId="1341913498" sldId="578"/>
            <ac:cxnSpMk id="502" creationId="{9F8359A7-F70C-5823-9F34-9F5517441A36}"/>
          </ac:cxnSpMkLst>
        </pc:cxnChg>
        <pc:cxnChg chg="del ord replST">
          <ac:chgData name="Bullinger, Marvin" userId="5b54ce5a-dc89-476f-af33-5abd75d5b1e8" providerId="ADAL" clId="{43B71669-8A80-4333-9349-B258A9296B49}" dt="2024-02-27T17:26:59.073" v="5784" actId="478"/>
          <ac:cxnSpMkLst>
            <pc:docMk/>
            <pc:sldMk cId="1341913498" sldId="578"/>
            <ac:cxnSpMk id="505" creationId="{E3AA7FE3-D218-0F5A-1969-F9C46516F200}"/>
          </ac:cxnSpMkLst>
        </pc:cxnChg>
        <pc:cxnChg chg="del ord replST">
          <ac:chgData name="Bullinger, Marvin" userId="5b54ce5a-dc89-476f-af33-5abd75d5b1e8" providerId="ADAL" clId="{43B71669-8A80-4333-9349-B258A9296B49}" dt="2024-02-27T17:26:59.073" v="5785" actId="478"/>
          <ac:cxnSpMkLst>
            <pc:docMk/>
            <pc:sldMk cId="1341913498" sldId="578"/>
            <ac:cxnSpMk id="508" creationId="{FA1620F1-BEB1-E4D3-E88C-23B0224E4634}"/>
          </ac:cxnSpMkLst>
        </pc:cxnChg>
        <pc:cxnChg chg="del ord replST">
          <ac:chgData name="Bullinger, Marvin" userId="5b54ce5a-dc89-476f-af33-5abd75d5b1e8" providerId="ADAL" clId="{43B71669-8A80-4333-9349-B258A9296B49}" dt="2024-02-27T17:26:59.073" v="5786" actId="478"/>
          <ac:cxnSpMkLst>
            <pc:docMk/>
            <pc:sldMk cId="1341913498" sldId="578"/>
            <ac:cxnSpMk id="511" creationId="{D949AB4A-6B53-9A12-D3B7-43933C37EEC0}"/>
          </ac:cxnSpMkLst>
        </pc:cxnChg>
        <pc:cxnChg chg="del ord replST">
          <ac:chgData name="Bullinger, Marvin" userId="5b54ce5a-dc89-476f-af33-5abd75d5b1e8" providerId="ADAL" clId="{43B71669-8A80-4333-9349-B258A9296B49}" dt="2024-02-27T17:26:59.082" v="5787" actId="478"/>
          <ac:cxnSpMkLst>
            <pc:docMk/>
            <pc:sldMk cId="1341913498" sldId="578"/>
            <ac:cxnSpMk id="514" creationId="{59099010-4DB9-4CAD-3803-1E5771D420D9}"/>
          </ac:cxnSpMkLst>
        </pc:cxnChg>
        <pc:cxnChg chg="del ord replST">
          <ac:chgData name="Bullinger, Marvin" userId="5b54ce5a-dc89-476f-af33-5abd75d5b1e8" providerId="ADAL" clId="{43B71669-8A80-4333-9349-B258A9296B49}" dt="2024-02-27T17:26:59.082" v="5788" actId="478"/>
          <ac:cxnSpMkLst>
            <pc:docMk/>
            <pc:sldMk cId="1341913498" sldId="578"/>
            <ac:cxnSpMk id="515" creationId="{5745374C-4D44-75FB-E069-470A77303B80}"/>
          </ac:cxnSpMkLst>
        </pc:cxnChg>
        <pc:cxnChg chg="ord replST">
          <ac:chgData name="Bullinger, Marvin" userId="5b54ce5a-dc89-476f-af33-5abd75d5b1e8" providerId="ADAL" clId="{43B71669-8A80-4333-9349-B258A9296B49}" dt="2024-02-27T17:26:59.824" v="6291"/>
          <ac:cxnSpMkLst>
            <pc:docMk/>
            <pc:sldMk cId="1341913498" sldId="578"/>
            <ac:cxnSpMk id="598" creationId="{498809F6-7E7C-087A-B9F1-AFF149366B43}"/>
          </ac:cxnSpMkLst>
        </pc:cxnChg>
        <pc:cxnChg chg="ord replST">
          <ac:chgData name="Bullinger, Marvin" userId="5b54ce5a-dc89-476f-af33-5abd75d5b1e8" providerId="ADAL" clId="{43B71669-8A80-4333-9349-B258A9296B49}" dt="2024-02-27T17:26:59.824" v="6292"/>
          <ac:cxnSpMkLst>
            <pc:docMk/>
            <pc:sldMk cId="1341913498" sldId="578"/>
            <ac:cxnSpMk id="601" creationId="{2817C37A-664A-AE9D-77BE-9B2343A8F9F4}"/>
          </ac:cxnSpMkLst>
        </pc:cxnChg>
        <pc:cxnChg chg="ord replST">
          <ac:chgData name="Bullinger, Marvin" userId="5b54ce5a-dc89-476f-af33-5abd75d5b1e8" providerId="ADAL" clId="{43B71669-8A80-4333-9349-B258A9296B49}" dt="2024-02-27T17:26:59.824" v="6293"/>
          <ac:cxnSpMkLst>
            <pc:docMk/>
            <pc:sldMk cId="1341913498" sldId="578"/>
            <ac:cxnSpMk id="604" creationId="{F32C81A1-25B9-351B-DD0B-AB2B6E45A3A8}"/>
          </ac:cxnSpMkLst>
        </pc:cxnChg>
        <pc:cxnChg chg="ord replST">
          <ac:chgData name="Bullinger, Marvin" userId="5b54ce5a-dc89-476f-af33-5abd75d5b1e8" providerId="ADAL" clId="{43B71669-8A80-4333-9349-B258A9296B49}" dt="2024-02-27T17:26:59.824" v="6294"/>
          <ac:cxnSpMkLst>
            <pc:docMk/>
            <pc:sldMk cId="1341913498" sldId="578"/>
            <ac:cxnSpMk id="607" creationId="{818F3EEC-4639-0121-2988-136E1ECDCFA6}"/>
          </ac:cxnSpMkLst>
        </pc:cxnChg>
        <pc:cxnChg chg="ord replST">
          <ac:chgData name="Bullinger, Marvin" userId="5b54ce5a-dc89-476f-af33-5abd75d5b1e8" providerId="ADAL" clId="{43B71669-8A80-4333-9349-B258A9296B49}" dt="2024-02-27T17:26:59.824" v="6295"/>
          <ac:cxnSpMkLst>
            <pc:docMk/>
            <pc:sldMk cId="1341913498" sldId="578"/>
            <ac:cxnSpMk id="610" creationId="{5B0B085D-1A90-B519-44CA-0826CCE0896E}"/>
          </ac:cxnSpMkLst>
        </pc:cxnChg>
        <pc:cxnChg chg="ord replST">
          <ac:chgData name="Bullinger, Marvin" userId="5b54ce5a-dc89-476f-af33-5abd75d5b1e8" providerId="ADAL" clId="{43B71669-8A80-4333-9349-B258A9296B49}" dt="2024-02-27T17:26:59.824" v="6296"/>
          <ac:cxnSpMkLst>
            <pc:docMk/>
            <pc:sldMk cId="1341913498" sldId="578"/>
            <ac:cxnSpMk id="613" creationId="{3AAB7ACE-D39F-23BB-AB5D-930CB1A0C926}"/>
          </ac:cxnSpMkLst>
        </pc:cxnChg>
        <pc:cxnChg chg="ord replST">
          <ac:chgData name="Bullinger, Marvin" userId="5b54ce5a-dc89-476f-af33-5abd75d5b1e8" providerId="ADAL" clId="{43B71669-8A80-4333-9349-B258A9296B49}" dt="2024-02-27T17:26:59.824" v="6297"/>
          <ac:cxnSpMkLst>
            <pc:docMk/>
            <pc:sldMk cId="1341913498" sldId="578"/>
            <ac:cxnSpMk id="616" creationId="{A2E997D8-36EB-A210-D980-598302AF3B9F}"/>
          </ac:cxnSpMkLst>
        </pc:cxnChg>
        <pc:cxnChg chg="ord replST">
          <ac:chgData name="Bullinger, Marvin" userId="5b54ce5a-dc89-476f-af33-5abd75d5b1e8" providerId="ADAL" clId="{43B71669-8A80-4333-9349-B258A9296B49}" dt="2024-02-27T17:26:59.824" v="6298"/>
          <ac:cxnSpMkLst>
            <pc:docMk/>
            <pc:sldMk cId="1341913498" sldId="578"/>
            <ac:cxnSpMk id="617" creationId="{8ABF1670-1375-B79C-7C98-FC471EB6BF84}"/>
          </ac:cxnSpMkLst>
        </pc:cxnChg>
      </pc:sldChg>
      <pc:sldChg chg="addSp delSp modSp mod ord modTransition">
        <pc:chgData name="Bullinger, Marvin" userId="5b54ce5a-dc89-476f-af33-5abd75d5b1e8" providerId="ADAL" clId="{43B71669-8A80-4333-9349-B258A9296B49}" dt="2024-02-27T17:30:34.388" v="7805" actId="478"/>
        <pc:sldMkLst>
          <pc:docMk/>
          <pc:sldMk cId="326362598" sldId="579"/>
        </pc:sldMkLst>
        <pc:spChg chg="del mod">
          <ac:chgData name="Bullinger, Marvin" userId="5b54ce5a-dc89-476f-af33-5abd75d5b1e8" providerId="ADAL" clId="{43B71669-8A80-4333-9349-B258A9296B49}" dt="2024-02-27T17:30:34.388" v="7805" actId="478"/>
          <ac:spMkLst>
            <pc:docMk/>
            <pc:sldMk cId="326362598" sldId="579"/>
            <ac:spMk id="26" creationId="{AE575219-F839-84D8-64BC-BC3CB939C2DB}"/>
          </ac:spMkLst>
        </pc:spChg>
        <pc:spChg chg="mod">
          <ac:chgData name="Bullinger, Marvin" userId="5b54ce5a-dc89-476f-af33-5abd75d5b1e8" providerId="ADAL" clId="{43B71669-8A80-4333-9349-B258A9296B49}" dt="2024-02-27T16:53:49.050" v="3382"/>
          <ac:spMkLst>
            <pc:docMk/>
            <pc:sldMk cId="326362598" sldId="579"/>
            <ac:spMk id="27" creationId="{90020BF2-9CA2-6D75-6CE7-45F18A5DEA4E}"/>
          </ac:spMkLst>
        </pc:spChg>
        <pc:spChg chg="del">
          <ac:chgData name="Bullinger, Marvin" userId="5b54ce5a-dc89-476f-af33-5abd75d5b1e8" providerId="ADAL" clId="{43B71669-8A80-4333-9349-B258A9296B49}" dt="2024-02-27T16:45:50.012" v="418" actId="478"/>
          <ac:spMkLst>
            <pc:docMk/>
            <pc:sldMk cId="326362598" sldId="579"/>
            <ac:spMk id="192" creationId="{D524324B-96C5-320E-F432-5997649D22DE}"/>
          </ac:spMkLst>
        </pc:spChg>
        <pc:spChg chg="del">
          <ac:chgData name="Bullinger, Marvin" userId="5b54ce5a-dc89-476f-af33-5abd75d5b1e8" providerId="ADAL" clId="{43B71669-8A80-4333-9349-B258A9296B49}" dt="2024-02-27T16:45:50.012" v="417" actId="478"/>
          <ac:spMkLst>
            <pc:docMk/>
            <pc:sldMk cId="326362598" sldId="579"/>
            <ac:spMk id="193" creationId="{08FEDBEB-5529-59A8-CE00-2A9285340564}"/>
          </ac:spMkLst>
        </pc:spChg>
        <pc:spChg chg="del">
          <ac:chgData name="Bullinger, Marvin" userId="5b54ce5a-dc89-476f-af33-5abd75d5b1e8" providerId="ADAL" clId="{43B71669-8A80-4333-9349-B258A9296B49}" dt="2024-02-27T16:45:50.012" v="416" actId="478"/>
          <ac:spMkLst>
            <pc:docMk/>
            <pc:sldMk cId="326362598" sldId="579"/>
            <ac:spMk id="194" creationId="{B5AF7572-17A2-5D87-C95E-D5252C3EA278}"/>
          </ac:spMkLst>
        </pc:spChg>
        <pc:spChg chg="del">
          <ac:chgData name="Bullinger, Marvin" userId="5b54ce5a-dc89-476f-af33-5abd75d5b1e8" providerId="ADAL" clId="{43B71669-8A80-4333-9349-B258A9296B49}" dt="2024-02-27T16:45:50.012" v="415" actId="478"/>
          <ac:spMkLst>
            <pc:docMk/>
            <pc:sldMk cId="326362598" sldId="579"/>
            <ac:spMk id="195" creationId="{DCB77215-E1F9-1576-9512-3B595722A7B5}"/>
          </ac:spMkLst>
        </pc:spChg>
        <pc:spChg chg="del">
          <ac:chgData name="Bullinger, Marvin" userId="5b54ce5a-dc89-476f-af33-5abd75d5b1e8" providerId="ADAL" clId="{43B71669-8A80-4333-9349-B258A9296B49}" dt="2024-02-27T16:45:50.012" v="414" actId="478"/>
          <ac:spMkLst>
            <pc:docMk/>
            <pc:sldMk cId="326362598" sldId="579"/>
            <ac:spMk id="196" creationId="{A7DE67DE-58CC-0D84-2502-B55E9C1EF8F7}"/>
          </ac:spMkLst>
        </pc:spChg>
        <pc:spChg chg="del">
          <ac:chgData name="Bullinger, Marvin" userId="5b54ce5a-dc89-476f-af33-5abd75d5b1e8" providerId="ADAL" clId="{43B71669-8A80-4333-9349-B258A9296B49}" dt="2024-02-27T16:45:50.012" v="411" actId="478"/>
          <ac:spMkLst>
            <pc:docMk/>
            <pc:sldMk cId="326362598" sldId="579"/>
            <ac:spMk id="197" creationId="{0D82ADC4-F0E3-E5DC-CA12-3F5B341EFEAE}"/>
          </ac:spMkLst>
        </pc:spChg>
        <pc:spChg chg="del">
          <ac:chgData name="Bullinger, Marvin" userId="5b54ce5a-dc89-476f-af33-5abd75d5b1e8" providerId="ADAL" clId="{43B71669-8A80-4333-9349-B258A9296B49}" dt="2024-02-27T16:45:50.012" v="410" actId="478"/>
          <ac:spMkLst>
            <pc:docMk/>
            <pc:sldMk cId="326362598" sldId="579"/>
            <ac:spMk id="198" creationId="{58D13679-0A59-3E52-7D7A-CCA4CE74CE25}"/>
          </ac:spMkLst>
        </pc:spChg>
        <pc:spChg chg="del">
          <ac:chgData name="Bullinger, Marvin" userId="5b54ce5a-dc89-476f-af33-5abd75d5b1e8" providerId="ADAL" clId="{43B71669-8A80-4333-9349-B258A9296B49}" dt="2024-02-27T16:45:49.981" v="383" actId="478"/>
          <ac:spMkLst>
            <pc:docMk/>
            <pc:sldMk cId="326362598" sldId="579"/>
            <ac:spMk id="199" creationId="{BFAC44D8-B4DC-02CE-B1BF-F7E668A5C271}"/>
          </ac:spMkLst>
        </pc:spChg>
        <pc:spChg chg="del">
          <ac:chgData name="Bullinger, Marvin" userId="5b54ce5a-dc89-476f-af33-5abd75d5b1e8" providerId="ADAL" clId="{43B71669-8A80-4333-9349-B258A9296B49}" dt="2024-02-27T16:45:50.012" v="409" actId="478"/>
          <ac:spMkLst>
            <pc:docMk/>
            <pc:sldMk cId="326362598" sldId="579"/>
            <ac:spMk id="200" creationId="{3CF5B6C7-B38E-C5CA-11E4-C21A149E6710}"/>
          </ac:spMkLst>
        </pc:spChg>
        <pc:spChg chg="del">
          <ac:chgData name="Bullinger, Marvin" userId="5b54ce5a-dc89-476f-af33-5abd75d5b1e8" providerId="ADAL" clId="{43B71669-8A80-4333-9349-B258A9296B49}" dt="2024-02-27T16:45:50.012" v="408" actId="478"/>
          <ac:spMkLst>
            <pc:docMk/>
            <pc:sldMk cId="326362598" sldId="579"/>
            <ac:spMk id="201" creationId="{EC59E493-AD5D-B82B-AF39-0095D65AD673}"/>
          </ac:spMkLst>
        </pc:spChg>
        <pc:spChg chg="del">
          <ac:chgData name="Bullinger, Marvin" userId="5b54ce5a-dc89-476f-af33-5abd75d5b1e8" providerId="ADAL" clId="{43B71669-8A80-4333-9349-B258A9296B49}" dt="2024-02-27T16:45:50.012" v="407" actId="478"/>
          <ac:spMkLst>
            <pc:docMk/>
            <pc:sldMk cId="326362598" sldId="579"/>
            <ac:spMk id="202" creationId="{C84E42FF-E29F-D2EA-202A-23633A87BD54}"/>
          </ac:spMkLst>
        </pc:spChg>
        <pc:spChg chg="del">
          <ac:chgData name="Bullinger, Marvin" userId="5b54ce5a-dc89-476f-af33-5abd75d5b1e8" providerId="ADAL" clId="{43B71669-8A80-4333-9349-B258A9296B49}" dt="2024-02-27T16:45:50.012" v="406" actId="478"/>
          <ac:spMkLst>
            <pc:docMk/>
            <pc:sldMk cId="326362598" sldId="579"/>
            <ac:spMk id="203" creationId="{87114639-361E-FF16-15AA-70BF504548F7}"/>
          </ac:spMkLst>
        </pc:spChg>
        <pc:spChg chg="del">
          <ac:chgData name="Bullinger, Marvin" userId="5b54ce5a-dc89-476f-af33-5abd75d5b1e8" providerId="ADAL" clId="{43B71669-8A80-4333-9349-B258A9296B49}" dt="2024-02-27T16:45:50.012" v="427" actId="478"/>
          <ac:spMkLst>
            <pc:docMk/>
            <pc:sldMk cId="326362598" sldId="579"/>
            <ac:spMk id="204" creationId="{C3F050FF-15EE-D5C8-E946-91EF52044C53}"/>
          </ac:spMkLst>
        </pc:spChg>
        <pc:spChg chg="del">
          <ac:chgData name="Bullinger, Marvin" userId="5b54ce5a-dc89-476f-af33-5abd75d5b1e8" providerId="ADAL" clId="{43B71669-8A80-4333-9349-B258A9296B49}" dt="2024-02-27T16:45:50.012" v="426" actId="478"/>
          <ac:spMkLst>
            <pc:docMk/>
            <pc:sldMk cId="326362598" sldId="579"/>
            <ac:spMk id="205" creationId="{A5534EC7-3879-57A5-414A-7EEBF752D586}"/>
          </ac:spMkLst>
        </pc:spChg>
        <pc:spChg chg="del">
          <ac:chgData name="Bullinger, Marvin" userId="5b54ce5a-dc89-476f-af33-5abd75d5b1e8" providerId="ADAL" clId="{43B71669-8A80-4333-9349-B258A9296B49}" dt="2024-02-27T16:45:50.012" v="425" actId="478"/>
          <ac:spMkLst>
            <pc:docMk/>
            <pc:sldMk cId="326362598" sldId="579"/>
            <ac:spMk id="206" creationId="{26C69E55-7BF3-21D9-9431-4F5EA7BFDA48}"/>
          </ac:spMkLst>
        </pc:spChg>
        <pc:spChg chg="del">
          <ac:chgData name="Bullinger, Marvin" userId="5b54ce5a-dc89-476f-af33-5abd75d5b1e8" providerId="ADAL" clId="{43B71669-8A80-4333-9349-B258A9296B49}" dt="2024-02-27T16:45:50.012" v="424" actId="478"/>
          <ac:spMkLst>
            <pc:docMk/>
            <pc:sldMk cId="326362598" sldId="579"/>
            <ac:spMk id="207" creationId="{82857D95-A804-839C-2681-297770C4A46E}"/>
          </ac:spMkLst>
        </pc:spChg>
        <pc:spChg chg="del">
          <ac:chgData name="Bullinger, Marvin" userId="5b54ce5a-dc89-476f-af33-5abd75d5b1e8" providerId="ADAL" clId="{43B71669-8A80-4333-9349-B258A9296B49}" dt="2024-02-27T16:45:50.012" v="423" actId="478"/>
          <ac:spMkLst>
            <pc:docMk/>
            <pc:sldMk cId="326362598" sldId="579"/>
            <ac:spMk id="208" creationId="{A185BC5F-BA03-C4D2-9888-2D8E598C2A2E}"/>
          </ac:spMkLst>
        </pc:spChg>
        <pc:spChg chg="del">
          <ac:chgData name="Bullinger, Marvin" userId="5b54ce5a-dc89-476f-af33-5abd75d5b1e8" providerId="ADAL" clId="{43B71669-8A80-4333-9349-B258A9296B49}" dt="2024-02-27T16:45:50.012" v="422" actId="478"/>
          <ac:spMkLst>
            <pc:docMk/>
            <pc:sldMk cId="326362598" sldId="579"/>
            <ac:spMk id="209" creationId="{B22FD50C-7C46-81A2-E91B-63F05BD6469B}"/>
          </ac:spMkLst>
        </pc:spChg>
        <pc:spChg chg="del">
          <ac:chgData name="Bullinger, Marvin" userId="5b54ce5a-dc89-476f-af33-5abd75d5b1e8" providerId="ADAL" clId="{43B71669-8A80-4333-9349-B258A9296B49}" dt="2024-02-27T16:45:50.012" v="421" actId="478"/>
          <ac:spMkLst>
            <pc:docMk/>
            <pc:sldMk cId="326362598" sldId="579"/>
            <ac:spMk id="210" creationId="{91A76A15-92AE-F723-1286-F1ACBDB534F4}"/>
          </ac:spMkLst>
        </pc:spChg>
        <pc:spChg chg="del">
          <ac:chgData name="Bullinger, Marvin" userId="5b54ce5a-dc89-476f-af33-5abd75d5b1e8" providerId="ADAL" clId="{43B71669-8A80-4333-9349-B258A9296B49}" dt="2024-02-27T16:45:50.012" v="420" actId="478"/>
          <ac:spMkLst>
            <pc:docMk/>
            <pc:sldMk cId="326362598" sldId="579"/>
            <ac:spMk id="211" creationId="{1472022C-1FE0-9A7D-0AEE-4640DADD2885}"/>
          </ac:spMkLst>
        </pc:spChg>
        <pc:spChg chg="del">
          <ac:chgData name="Bullinger, Marvin" userId="5b54ce5a-dc89-476f-af33-5abd75d5b1e8" providerId="ADAL" clId="{43B71669-8A80-4333-9349-B258A9296B49}" dt="2024-02-27T16:45:50.012" v="412" actId="478"/>
          <ac:spMkLst>
            <pc:docMk/>
            <pc:sldMk cId="326362598" sldId="579"/>
            <ac:spMk id="212" creationId="{AA7E99B0-61B8-5280-4221-D9411949C396}"/>
          </ac:spMkLst>
        </pc:spChg>
        <pc:spChg chg="del">
          <ac:chgData name="Bullinger, Marvin" userId="5b54ce5a-dc89-476f-af33-5abd75d5b1e8" providerId="ADAL" clId="{43B71669-8A80-4333-9349-B258A9296B49}" dt="2024-02-27T16:45:50.012" v="405" actId="478"/>
          <ac:spMkLst>
            <pc:docMk/>
            <pc:sldMk cId="326362598" sldId="579"/>
            <ac:spMk id="213" creationId="{C31B9209-48F4-DD45-E55B-6D2AA11520ED}"/>
          </ac:spMkLst>
        </pc:spChg>
        <pc:spChg chg="del">
          <ac:chgData name="Bullinger, Marvin" userId="5b54ce5a-dc89-476f-af33-5abd75d5b1e8" providerId="ADAL" clId="{43B71669-8A80-4333-9349-B258A9296B49}" dt="2024-02-27T16:45:50.012" v="413" actId="478"/>
          <ac:spMkLst>
            <pc:docMk/>
            <pc:sldMk cId="326362598" sldId="579"/>
            <ac:spMk id="214" creationId="{498AAE6A-1FB9-8315-2209-C919484BF734}"/>
          </ac:spMkLst>
        </pc:spChg>
        <pc:spChg chg="del">
          <ac:chgData name="Bullinger, Marvin" userId="5b54ce5a-dc89-476f-af33-5abd75d5b1e8" providerId="ADAL" clId="{43B71669-8A80-4333-9349-B258A9296B49}" dt="2024-02-27T16:45:50.012" v="404" actId="478"/>
          <ac:spMkLst>
            <pc:docMk/>
            <pc:sldMk cId="326362598" sldId="579"/>
            <ac:spMk id="215" creationId="{00A29DB1-1E2A-6798-3A24-01CF72F9DEB2}"/>
          </ac:spMkLst>
        </pc:spChg>
        <pc:spChg chg="del">
          <ac:chgData name="Bullinger, Marvin" userId="5b54ce5a-dc89-476f-af33-5abd75d5b1e8" providerId="ADAL" clId="{43B71669-8A80-4333-9349-B258A9296B49}" dt="2024-02-27T16:45:49.996" v="403" actId="478"/>
          <ac:spMkLst>
            <pc:docMk/>
            <pc:sldMk cId="326362598" sldId="579"/>
            <ac:spMk id="216" creationId="{4E979E2B-A51F-6A30-50D0-21E5669ABC0A}"/>
          </ac:spMkLst>
        </pc:spChg>
        <pc:spChg chg="del">
          <ac:chgData name="Bullinger, Marvin" userId="5b54ce5a-dc89-476f-af33-5abd75d5b1e8" providerId="ADAL" clId="{43B71669-8A80-4333-9349-B258A9296B49}" dt="2024-02-27T16:45:49.996" v="402" actId="478"/>
          <ac:spMkLst>
            <pc:docMk/>
            <pc:sldMk cId="326362598" sldId="579"/>
            <ac:spMk id="217" creationId="{E8880E11-8562-3C69-3E20-C2C67A08BD0B}"/>
          </ac:spMkLst>
        </pc:spChg>
        <pc:spChg chg="del">
          <ac:chgData name="Bullinger, Marvin" userId="5b54ce5a-dc89-476f-af33-5abd75d5b1e8" providerId="ADAL" clId="{43B71669-8A80-4333-9349-B258A9296B49}" dt="2024-02-27T16:45:49.996" v="401" actId="478"/>
          <ac:spMkLst>
            <pc:docMk/>
            <pc:sldMk cId="326362598" sldId="579"/>
            <ac:spMk id="218" creationId="{5266BE4C-396C-5548-BB06-6212574313A6}"/>
          </ac:spMkLst>
        </pc:spChg>
        <pc:spChg chg="del">
          <ac:chgData name="Bullinger, Marvin" userId="5b54ce5a-dc89-476f-af33-5abd75d5b1e8" providerId="ADAL" clId="{43B71669-8A80-4333-9349-B258A9296B49}" dt="2024-02-27T16:45:49.996" v="400" actId="478"/>
          <ac:spMkLst>
            <pc:docMk/>
            <pc:sldMk cId="326362598" sldId="579"/>
            <ac:spMk id="219" creationId="{1DAF3060-A846-FD65-87C1-4CABA99336DB}"/>
          </ac:spMkLst>
        </pc:spChg>
        <pc:spChg chg="del">
          <ac:chgData name="Bullinger, Marvin" userId="5b54ce5a-dc89-476f-af33-5abd75d5b1e8" providerId="ADAL" clId="{43B71669-8A80-4333-9349-B258A9296B49}" dt="2024-02-27T16:45:49.996" v="399" actId="478"/>
          <ac:spMkLst>
            <pc:docMk/>
            <pc:sldMk cId="326362598" sldId="579"/>
            <ac:spMk id="220" creationId="{0BCD7831-8C38-8D8E-4D61-6112F87D9B55}"/>
          </ac:spMkLst>
        </pc:spChg>
        <pc:spChg chg="del">
          <ac:chgData name="Bullinger, Marvin" userId="5b54ce5a-dc89-476f-af33-5abd75d5b1e8" providerId="ADAL" clId="{43B71669-8A80-4333-9349-B258A9296B49}" dt="2024-02-27T16:45:49.996" v="398" actId="478"/>
          <ac:spMkLst>
            <pc:docMk/>
            <pc:sldMk cId="326362598" sldId="579"/>
            <ac:spMk id="221" creationId="{CBC87DE0-E9D9-A77E-8D62-126DD5D2E726}"/>
          </ac:spMkLst>
        </pc:spChg>
        <pc:spChg chg="del">
          <ac:chgData name="Bullinger, Marvin" userId="5b54ce5a-dc89-476f-af33-5abd75d5b1e8" providerId="ADAL" clId="{43B71669-8A80-4333-9349-B258A9296B49}" dt="2024-02-27T16:45:49.996" v="397" actId="478"/>
          <ac:spMkLst>
            <pc:docMk/>
            <pc:sldMk cId="326362598" sldId="579"/>
            <ac:spMk id="222" creationId="{D585F774-63C9-8952-9B70-1D6420D26DFA}"/>
          </ac:spMkLst>
        </pc:spChg>
        <pc:spChg chg="del">
          <ac:chgData name="Bullinger, Marvin" userId="5b54ce5a-dc89-476f-af33-5abd75d5b1e8" providerId="ADAL" clId="{43B71669-8A80-4333-9349-B258A9296B49}" dt="2024-02-27T16:45:49.996" v="396" actId="478"/>
          <ac:spMkLst>
            <pc:docMk/>
            <pc:sldMk cId="326362598" sldId="579"/>
            <ac:spMk id="223" creationId="{3EDFCA14-3F35-3107-A4DE-E29A56109FF4}"/>
          </ac:spMkLst>
        </pc:spChg>
        <pc:spChg chg="add mod">
          <ac:chgData name="Bullinger, Marvin" userId="5b54ce5a-dc89-476f-af33-5abd75d5b1e8" providerId="ADAL" clId="{43B71669-8A80-4333-9349-B258A9296B49}" dt="2024-02-27T16:45:49.981" v="383" actId="478"/>
          <ac:spMkLst>
            <pc:docMk/>
            <pc:sldMk cId="326362598" sldId="579"/>
            <ac:spMk id="234" creationId="{2E77057C-1E9F-8987-8851-DD33FE468D36}"/>
          </ac:spMkLst>
        </pc:spChg>
        <pc:spChg chg="del mod ord replST">
          <ac:chgData name="Bullinger, Marvin" userId="5b54ce5a-dc89-476f-af33-5abd75d5b1e8" providerId="ADAL" clId="{43B71669-8A80-4333-9349-B258A9296B49}" dt="2024-02-27T16:46:20.238" v="1161" actId="478"/>
          <ac:spMkLst>
            <pc:docMk/>
            <pc:sldMk cId="326362598" sldId="579"/>
            <ac:spMk id="235" creationId="{96791AC7-71ED-6BB8-0D06-89C3BC448728}"/>
          </ac:spMkLst>
        </pc:spChg>
        <pc:spChg chg="del">
          <ac:chgData name="Bullinger, Marvin" userId="5b54ce5a-dc89-476f-af33-5abd75d5b1e8" providerId="ADAL" clId="{43B71669-8A80-4333-9349-B258A9296B49}" dt="2024-02-27T16:45:50.012" v="419" actId="478"/>
          <ac:spMkLst>
            <pc:docMk/>
            <pc:sldMk cId="326362598" sldId="579"/>
            <ac:spMk id="236" creationId="{EE5B7BD5-5AB8-2C64-2408-66D81B71E55B}"/>
          </ac:spMkLst>
        </pc:spChg>
        <pc:spChg chg="del">
          <ac:chgData name="Bullinger, Marvin" userId="5b54ce5a-dc89-476f-af33-5abd75d5b1e8" providerId="ADAL" clId="{43B71669-8A80-4333-9349-B258A9296B49}" dt="2024-02-27T16:45:49.981" v="385" actId="478"/>
          <ac:spMkLst>
            <pc:docMk/>
            <pc:sldMk cId="326362598" sldId="579"/>
            <ac:spMk id="242" creationId="{FB49B3E2-7FA4-7071-4E29-5D3A1FC157FA}"/>
          </ac:spMkLst>
        </pc:spChg>
        <pc:spChg chg="del">
          <ac:chgData name="Bullinger, Marvin" userId="5b54ce5a-dc89-476f-af33-5abd75d5b1e8" providerId="ADAL" clId="{43B71669-8A80-4333-9349-B258A9296B49}" dt="2024-02-27T16:45:49.996" v="395" actId="478"/>
          <ac:spMkLst>
            <pc:docMk/>
            <pc:sldMk cId="326362598" sldId="579"/>
            <ac:spMk id="256" creationId="{CC47EF3B-EFA8-1E0D-2FDD-140F414C81A0}"/>
          </ac:spMkLst>
        </pc:spChg>
        <pc:spChg chg="del">
          <ac:chgData name="Bullinger, Marvin" userId="5b54ce5a-dc89-476f-af33-5abd75d5b1e8" providerId="ADAL" clId="{43B71669-8A80-4333-9349-B258A9296B49}" dt="2024-02-27T16:45:49.996" v="394" actId="478"/>
          <ac:spMkLst>
            <pc:docMk/>
            <pc:sldMk cId="326362598" sldId="579"/>
            <ac:spMk id="257" creationId="{7304E817-4E8C-DF55-D630-0274180E9A09}"/>
          </ac:spMkLst>
        </pc:spChg>
        <pc:spChg chg="del">
          <ac:chgData name="Bullinger, Marvin" userId="5b54ce5a-dc89-476f-af33-5abd75d5b1e8" providerId="ADAL" clId="{43B71669-8A80-4333-9349-B258A9296B49}" dt="2024-02-27T16:45:49.996" v="393" actId="478"/>
          <ac:spMkLst>
            <pc:docMk/>
            <pc:sldMk cId="326362598" sldId="579"/>
            <ac:spMk id="258" creationId="{7BFE75FE-6D59-A9A3-F591-E696DDDB6FEA}"/>
          </ac:spMkLst>
        </pc:spChg>
        <pc:spChg chg="del">
          <ac:chgData name="Bullinger, Marvin" userId="5b54ce5a-dc89-476f-af33-5abd75d5b1e8" providerId="ADAL" clId="{43B71669-8A80-4333-9349-B258A9296B49}" dt="2024-02-27T16:45:49.996" v="392" actId="478"/>
          <ac:spMkLst>
            <pc:docMk/>
            <pc:sldMk cId="326362598" sldId="579"/>
            <ac:spMk id="259" creationId="{8DCC457A-9553-018B-3D2D-26AFBFADB429}"/>
          </ac:spMkLst>
        </pc:spChg>
        <pc:spChg chg="del">
          <ac:chgData name="Bullinger, Marvin" userId="5b54ce5a-dc89-476f-af33-5abd75d5b1e8" providerId="ADAL" clId="{43B71669-8A80-4333-9349-B258A9296B49}" dt="2024-02-27T16:45:49.996" v="391" actId="478"/>
          <ac:spMkLst>
            <pc:docMk/>
            <pc:sldMk cId="326362598" sldId="579"/>
            <ac:spMk id="260" creationId="{9C5E6D28-E52F-E209-0D20-C11609CEE5A8}"/>
          </ac:spMkLst>
        </pc:spChg>
        <pc:spChg chg="replST">
          <ac:chgData name="Bullinger, Marvin" userId="5b54ce5a-dc89-476f-af33-5abd75d5b1e8" providerId="ADAL" clId="{43B71669-8A80-4333-9349-B258A9296B49}" dt="2024-02-27T16:45:50.360" v="717"/>
          <ac:spMkLst>
            <pc:docMk/>
            <pc:sldMk cId="326362598" sldId="579"/>
            <ac:spMk id="261" creationId="{E57DE3FB-70DE-227B-9410-80E40D3C8D33}"/>
          </ac:spMkLst>
        </pc:spChg>
        <pc:spChg chg="replST">
          <ac:chgData name="Bullinger, Marvin" userId="5b54ce5a-dc89-476f-af33-5abd75d5b1e8" providerId="ADAL" clId="{43B71669-8A80-4333-9349-B258A9296B49}" dt="2024-02-27T16:45:50.360" v="720"/>
          <ac:spMkLst>
            <pc:docMk/>
            <pc:sldMk cId="326362598" sldId="579"/>
            <ac:spMk id="262" creationId="{866E32A6-425F-2EA6-688A-7A1557AD178C}"/>
          </ac:spMkLst>
        </pc:spChg>
        <pc:spChg chg="replST">
          <ac:chgData name="Bullinger, Marvin" userId="5b54ce5a-dc89-476f-af33-5abd75d5b1e8" providerId="ADAL" clId="{43B71669-8A80-4333-9349-B258A9296B49}" dt="2024-02-27T16:45:50.375" v="724"/>
          <ac:spMkLst>
            <pc:docMk/>
            <pc:sldMk cId="326362598" sldId="579"/>
            <ac:spMk id="264" creationId="{7B4F0AAC-DD03-4973-10B5-FD8B24C8FB52}"/>
          </ac:spMkLst>
        </pc:spChg>
        <pc:spChg chg="replST">
          <ac:chgData name="Bullinger, Marvin" userId="5b54ce5a-dc89-476f-af33-5abd75d5b1e8" providerId="ADAL" clId="{43B71669-8A80-4333-9349-B258A9296B49}" dt="2024-02-27T16:45:50.375" v="727"/>
          <ac:spMkLst>
            <pc:docMk/>
            <pc:sldMk cId="326362598" sldId="579"/>
            <ac:spMk id="265" creationId="{69838E74-110F-F7F1-1B49-E1B142BA674B}"/>
          </ac:spMkLst>
        </pc:spChg>
        <pc:spChg chg="del ord replST">
          <ac:chgData name="Bullinger, Marvin" userId="5b54ce5a-dc89-476f-af33-5abd75d5b1e8" providerId="ADAL" clId="{43B71669-8A80-4333-9349-B258A9296B49}" dt="2024-02-27T16:46:20.238" v="1163" actId="478"/>
          <ac:spMkLst>
            <pc:docMk/>
            <pc:sldMk cId="326362598" sldId="579"/>
            <ac:spMk id="266" creationId="{B43F7B69-F243-AD6A-E560-D9D70D468565}"/>
          </ac:spMkLst>
        </pc:spChg>
        <pc:spChg chg="replST">
          <ac:chgData name="Bullinger, Marvin" userId="5b54ce5a-dc89-476f-af33-5abd75d5b1e8" providerId="ADAL" clId="{43B71669-8A80-4333-9349-B258A9296B49}" dt="2024-02-27T16:45:50.375" v="731"/>
          <ac:spMkLst>
            <pc:docMk/>
            <pc:sldMk cId="326362598" sldId="579"/>
            <ac:spMk id="267" creationId="{892C222E-BCDE-8462-81B5-FFEEFCF2E685}"/>
          </ac:spMkLst>
        </pc:spChg>
        <pc:spChg chg="replST">
          <ac:chgData name="Bullinger, Marvin" userId="5b54ce5a-dc89-476f-af33-5abd75d5b1e8" providerId="ADAL" clId="{43B71669-8A80-4333-9349-B258A9296B49}" dt="2024-02-27T16:45:50.375" v="734"/>
          <ac:spMkLst>
            <pc:docMk/>
            <pc:sldMk cId="326362598" sldId="579"/>
            <ac:spMk id="268" creationId="{D0479A4A-B688-BADC-6137-E5E316DB27C0}"/>
          </ac:spMkLst>
        </pc:spChg>
        <pc:spChg chg="replST">
          <ac:chgData name="Bullinger, Marvin" userId="5b54ce5a-dc89-476f-af33-5abd75d5b1e8" providerId="ADAL" clId="{43B71669-8A80-4333-9349-B258A9296B49}" dt="2024-02-27T16:45:50.391" v="738"/>
          <ac:spMkLst>
            <pc:docMk/>
            <pc:sldMk cId="326362598" sldId="579"/>
            <ac:spMk id="270" creationId="{F5033970-57F4-1196-4C90-8E9B6F98E5EE}"/>
          </ac:spMkLst>
        </pc:spChg>
        <pc:spChg chg="replST">
          <ac:chgData name="Bullinger, Marvin" userId="5b54ce5a-dc89-476f-af33-5abd75d5b1e8" providerId="ADAL" clId="{43B71669-8A80-4333-9349-B258A9296B49}" dt="2024-02-27T16:45:50.391" v="741"/>
          <ac:spMkLst>
            <pc:docMk/>
            <pc:sldMk cId="326362598" sldId="579"/>
            <ac:spMk id="271" creationId="{2ED5517F-FC41-413F-9107-07356ECAD6C4}"/>
          </ac:spMkLst>
        </pc:spChg>
        <pc:spChg chg="replST">
          <ac:chgData name="Bullinger, Marvin" userId="5b54ce5a-dc89-476f-af33-5abd75d5b1e8" providerId="ADAL" clId="{43B71669-8A80-4333-9349-B258A9296B49}" dt="2024-02-27T16:45:50.391" v="745"/>
          <ac:spMkLst>
            <pc:docMk/>
            <pc:sldMk cId="326362598" sldId="579"/>
            <ac:spMk id="273" creationId="{D69C341E-F926-078F-F1F8-C7D5330A4409}"/>
          </ac:spMkLst>
        </pc:spChg>
        <pc:spChg chg="replST">
          <ac:chgData name="Bullinger, Marvin" userId="5b54ce5a-dc89-476f-af33-5abd75d5b1e8" providerId="ADAL" clId="{43B71669-8A80-4333-9349-B258A9296B49}" dt="2024-02-27T16:45:50.391" v="748"/>
          <ac:spMkLst>
            <pc:docMk/>
            <pc:sldMk cId="326362598" sldId="579"/>
            <ac:spMk id="274" creationId="{9A56510B-51A2-7BF7-DA14-93EF4EE2A225}"/>
          </ac:spMkLst>
        </pc:spChg>
        <pc:spChg chg="replST">
          <ac:chgData name="Bullinger, Marvin" userId="5b54ce5a-dc89-476f-af33-5abd75d5b1e8" providerId="ADAL" clId="{43B71669-8A80-4333-9349-B258A9296B49}" dt="2024-02-27T16:45:50.406" v="752"/>
          <ac:spMkLst>
            <pc:docMk/>
            <pc:sldMk cId="326362598" sldId="579"/>
            <ac:spMk id="276" creationId="{11D34DCF-89DE-CF03-9529-91F0BA943776}"/>
          </ac:spMkLst>
        </pc:spChg>
        <pc:spChg chg="replST">
          <ac:chgData name="Bullinger, Marvin" userId="5b54ce5a-dc89-476f-af33-5abd75d5b1e8" providerId="ADAL" clId="{43B71669-8A80-4333-9349-B258A9296B49}" dt="2024-02-27T16:45:50.406" v="755"/>
          <ac:spMkLst>
            <pc:docMk/>
            <pc:sldMk cId="326362598" sldId="579"/>
            <ac:spMk id="277" creationId="{48E698A1-D0A4-9552-BDCB-AEB337E474E0}"/>
          </ac:spMkLst>
        </pc:spChg>
        <pc:spChg chg="add mod">
          <ac:chgData name="Bullinger, Marvin" userId="5b54ce5a-dc89-476f-af33-5abd75d5b1e8" providerId="ADAL" clId="{43B71669-8A80-4333-9349-B258A9296B49}" dt="2024-02-27T17:21:07.277" v="3538" actId="478"/>
          <ac:spMkLst>
            <pc:docMk/>
            <pc:sldMk cId="326362598" sldId="579"/>
            <ac:spMk id="298" creationId="{854484E5-4C5F-4F95-F803-84F9F17DE3A6}"/>
          </ac:spMkLst>
        </pc:spChg>
        <pc:spChg chg="del mod ord replST">
          <ac:chgData name="Bullinger, Marvin" userId="5b54ce5a-dc89-476f-af33-5abd75d5b1e8" providerId="ADAL" clId="{43B71669-8A80-4333-9349-B258A9296B49}" dt="2024-02-27T17:26:23.130" v="4498" actId="478"/>
          <ac:spMkLst>
            <pc:docMk/>
            <pc:sldMk cId="326362598" sldId="579"/>
            <ac:spMk id="299" creationId="{D61E5CD9-D9D6-7661-0B3E-B2222756E238}"/>
          </ac:spMkLst>
        </pc:spChg>
        <pc:spChg chg="del">
          <ac:chgData name="Bullinger, Marvin" userId="5b54ce5a-dc89-476f-af33-5abd75d5b1e8" providerId="ADAL" clId="{43B71669-8A80-4333-9349-B258A9296B49}" dt="2024-02-27T17:21:07.310" v="3574" actId="478"/>
          <ac:spMkLst>
            <pc:docMk/>
            <pc:sldMk cId="326362598" sldId="579"/>
            <ac:spMk id="300" creationId="{B1953C45-AA42-D740-CEA1-D105DEE787B2}"/>
          </ac:spMkLst>
        </pc:spChg>
        <pc:spChg chg="del">
          <ac:chgData name="Bullinger, Marvin" userId="5b54ce5a-dc89-476f-af33-5abd75d5b1e8" providerId="ADAL" clId="{43B71669-8A80-4333-9349-B258A9296B49}" dt="2024-02-27T17:21:07.310" v="3573" actId="478"/>
          <ac:spMkLst>
            <pc:docMk/>
            <pc:sldMk cId="326362598" sldId="579"/>
            <ac:spMk id="301" creationId="{F69B58D2-8A2C-893B-7E6C-701C7F3C0FC0}"/>
          </ac:spMkLst>
        </pc:spChg>
        <pc:spChg chg="del">
          <ac:chgData name="Bullinger, Marvin" userId="5b54ce5a-dc89-476f-af33-5abd75d5b1e8" providerId="ADAL" clId="{43B71669-8A80-4333-9349-B258A9296B49}" dt="2024-02-27T17:21:07.310" v="3572" actId="478"/>
          <ac:spMkLst>
            <pc:docMk/>
            <pc:sldMk cId="326362598" sldId="579"/>
            <ac:spMk id="302" creationId="{07E46DB0-3FAA-E46A-2058-141085F9CD65}"/>
          </ac:spMkLst>
        </pc:spChg>
        <pc:spChg chg="del">
          <ac:chgData name="Bullinger, Marvin" userId="5b54ce5a-dc89-476f-af33-5abd75d5b1e8" providerId="ADAL" clId="{43B71669-8A80-4333-9349-B258A9296B49}" dt="2024-02-27T17:21:07.310" v="3571" actId="478"/>
          <ac:spMkLst>
            <pc:docMk/>
            <pc:sldMk cId="326362598" sldId="579"/>
            <ac:spMk id="303" creationId="{7C8DEC6C-25FC-25D4-B498-90756291C18E}"/>
          </ac:spMkLst>
        </pc:spChg>
        <pc:spChg chg="del">
          <ac:chgData name="Bullinger, Marvin" userId="5b54ce5a-dc89-476f-af33-5abd75d5b1e8" providerId="ADAL" clId="{43B71669-8A80-4333-9349-B258A9296B49}" dt="2024-02-27T17:21:07.310" v="3570" actId="478"/>
          <ac:spMkLst>
            <pc:docMk/>
            <pc:sldMk cId="326362598" sldId="579"/>
            <ac:spMk id="304" creationId="{C7848686-15CB-A2DB-8FEC-924CC29112FD}"/>
          </ac:spMkLst>
        </pc:spChg>
        <pc:spChg chg="del">
          <ac:chgData name="Bullinger, Marvin" userId="5b54ce5a-dc89-476f-af33-5abd75d5b1e8" providerId="ADAL" clId="{43B71669-8A80-4333-9349-B258A9296B49}" dt="2024-02-27T17:21:07.310" v="3569" actId="478"/>
          <ac:spMkLst>
            <pc:docMk/>
            <pc:sldMk cId="326362598" sldId="579"/>
            <ac:spMk id="305" creationId="{AE7412FB-1BFE-5577-4BB1-6A34AFC94989}"/>
          </ac:spMkLst>
        </pc:spChg>
        <pc:spChg chg="del">
          <ac:chgData name="Bullinger, Marvin" userId="5b54ce5a-dc89-476f-af33-5abd75d5b1e8" providerId="ADAL" clId="{43B71669-8A80-4333-9349-B258A9296B49}" dt="2024-02-27T17:21:07.310" v="3566" actId="478"/>
          <ac:spMkLst>
            <pc:docMk/>
            <pc:sldMk cId="326362598" sldId="579"/>
            <ac:spMk id="306" creationId="{E88FE626-FEB5-CDED-F31F-E6FE7F0C33B4}"/>
          </ac:spMkLst>
        </pc:spChg>
        <pc:spChg chg="del">
          <ac:chgData name="Bullinger, Marvin" userId="5b54ce5a-dc89-476f-af33-5abd75d5b1e8" providerId="ADAL" clId="{43B71669-8A80-4333-9349-B258A9296B49}" dt="2024-02-27T17:21:07.310" v="3565" actId="478"/>
          <ac:spMkLst>
            <pc:docMk/>
            <pc:sldMk cId="326362598" sldId="579"/>
            <ac:spMk id="307" creationId="{6807FE61-CE64-3560-5BD8-C6165DF7F3B5}"/>
          </ac:spMkLst>
        </pc:spChg>
        <pc:spChg chg="del">
          <ac:chgData name="Bullinger, Marvin" userId="5b54ce5a-dc89-476f-af33-5abd75d5b1e8" providerId="ADAL" clId="{43B71669-8A80-4333-9349-B258A9296B49}" dt="2024-02-27T17:21:07.310" v="3564" actId="478"/>
          <ac:spMkLst>
            <pc:docMk/>
            <pc:sldMk cId="326362598" sldId="579"/>
            <ac:spMk id="308" creationId="{4100BEAB-2631-A175-3073-17C68E5F48BF}"/>
          </ac:spMkLst>
        </pc:spChg>
        <pc:spChg chg="del">
          <ac:chgData name="Bullinger, Marvin" userId="5b54ce5a-dc89-476f-af33-5abd75d5b1e8" providerId="ADAL" clId="{43B71669-8A80-4333-9349-B258A9296B49}" dt="2024-02-27T17:21:07.310" v="3563" actId="478"/>
          <ac:spMkLst>
            <pc:docMk/>
            <pc:sldMk cId="326362598" sldId="579"/>
            <ac:spMk id="309" creationId="{AB9E92C3-3D84-970C-19C2-183ECB47FC9D}"/>
          </ac:spMkLst>
        </pc:spChg>
        <pc:spChg chg="del">
          <ac:chgData name="Bullinger, Marvin" userId="5b54ce5a-dc89-476f-af33-5abd75d5b1e8" providerId="ADAL" clId="{43B71669-8A80-4333-9349-B258A9296B49}" dt="2024-02-27T17:21:07.310" v="3562" actId="478"/>
          <ac:spMkLst>
            <pc:docMk/>
            <pc:sldMk cId="326362598" sldId="579"/>
            <ac:spMk id="310" creationId="{A9176FEC-1A3B-281F-862B-F3A801136DAA}"/>
          </ac:spMkLst>
        </pc:spChg>
        <pc:spChg chg="del">
          <ac:chgData name="Bullinger, Marvin" userId="5b54ce5a-dc89-476f-af33-5abd75d5b1e8" providerId="ADAL" clId="{43B71669-8A80-4333-9349-B258A9296B49}" dt="2024-02-27T17:21:07.310" v="3561" actId="478"/>
          <ac:spMkLst>
            <pc:docMk/>
            <pc:sldMk cId="326362598" sldId="579"/>
            <ac:spMk id="311" creationId="{85641D39-1376-891F-26F5-040715D469D7}"/>
          </ac:spMkLst>
        </pc:spChg>
        <pc:spChg chg="del">
          <ac:chgData name="Bullinger, Marvin" userId="5b54ce5a-dc89-476f-af33-5abd75d5b1e8" providerId="ADAL" clId="{43B71669-8A80-4333-9349-B258A9296B49}" dt="2024-02-27T17:21:07.310" v="3582" actId="478"/>
          <ac:spMkLst>
            <pc:docMk/>
            <pc:sldMk cId="326362598" sldId="579"/>
            <ac:spMk id="312" creationId="{FBE68FE0-EBCF-7BA0-B0C6-E3B60AEF8137}"/>
          </ac:spMkLst>
        </pc:spChg>
        <pc:spChg chg="del">
          <ac:chgData name="Bullinger, Marvin" userId="5b54ce5a-dc89-476f-af33-5abd75d5b1e8" providerId="ADAL" clId="{43B71669-8A80-4333-9349-B258A9296B49}" dt="2024-02-27T17:21:07.310" v="3581" actId="478"/>
          <ac:spMkLst>
            <pc:docMk/>
            <pc:sldMk cId="326362598" sldId="579"/>
            <ac:spMk id="313" creationId="{3F37E513-AB08-FDA3-153B-CB8D5C0AF4C9}"/>
          </ac:spMkLst>
        </pc:spChg>
        <pc:spChg chg="del">
          <ac:chgData name="Bullinger, Marvin" userId="5b54ce5a-dc89-476f-af33-5abd75d5b1e8" providerId="ADAL" clId="{43B71669-8A80-4333-9349-B258A9296B49}" dt="2024-02-27T17:21:07.310" v="3580" actId="478"/>
          <ac:spMkLst>
            <pc:docMk/>
            <pc:sldMk cId="326362598" sldId="579"/>
            <ac:spMk id="314" creationId="{2F51F5C6-4DB7-E7F7-47FF-86FE8166F335}"/>
          </ac:spMkLst>
        </pc:spChg>
        <pc:spChg chg="del">
          <ac:chgData name="Bullinger, Marvin" userId="5b54ce5a-dc89-476f-af33-5abd75d5b1e8" providerId="ADAL" clId="{43B71669-8A80-4333-9349-B258A9296B49}" dt="2024-02-27T17:21:07.310" v="3579" actId="478"/>
          <ac:spMkLst>
            <pc:docMk/>
            <pc:sldMk cId="326362598" sldId="579"/>
            <ac:spMk id="315" creationId="{4F38F4E9-0432-EB2A-0126-E6B42DAD2E63}"/>
          </ac:spMkLst>
        </pc:spChg>
        <pc:spChg chg="del">
          <ac:chgData name="Bullinger, Marvin" userId="5b54ce5a-dc89-476f-af33-5abd75d5b1e8" providerId="ADAL" clId="{43B71669-8A80-4333-9349-B258A9296B49}" dt="2024-02-27T17:21:07.310" v="3578" actId="478"/>
          <ac:spMkLst>
            <pc:docMk/>
            <pc:sldMk cId="326362598" sldId="579"/>
            <ac:spMk id="316" creationId="{320959C7-F9A6-99CF-7239-2D1D1B27769C}"/>
          </ac:spMkLst>
        </pc:spChg>
        <pc:spChg chg="del">
          <ac:chgData name="Bullinger, Marvin" userId="5b54ce5a-dc89-476f-af33-5abd75d5b1e8" providerId="ADAL" clId="{43B71669-8A80-4333-9349-B258A9296B49}" dt="2024-02-27T17:21:07.310" v="3577" actId="478"/>
          <ac:spMkLst>
            <pc:docMk/>
            <pc:sldMk cId="326362598" sldId="579"/>
            <ac:spMk id="317" creationId="{569E86EB-DEE1-1796-CC32-210237BF831C}"/>
          </ac:spMkLst>
        </pc:spChg>
        <pc:spChg chg="add mod">
          <ac:chgData name="Bullinger, Marvin" userId="5b54ce5a-dc89-476f-af33-5abd75d5b1e8" providerId="ADAL" clId="{43B71669-8A80-4333-9349-B258A9296B49}" dt="2024-02-27T16:46:20.238" v="1161" actId="478"/>
          <ac:spMkLst>
            <pc:docMk/>
            <pc:sldMk cId="326362598" sldId="579"/>
            <ac:spMk id="318" creationId="{6CCC5F3A-7FB9-623A-764D-A05123C0568C}"/>
          </ac:spMkLst>
        </pc:spChg>
        <pc:spChg chg="del">
          <ac:chgData name="Bullinger, Marvin" userId="5b54ce5a-dc89-476f-af33-5abd75d5b1e8" providerId="ADAL" clId="{43B71669-8A80-4333-9349-B258A9296B49}" dt="2024-02-27T17:21:07.310" v="3576" actId="478"/>
          <ac:spMkLst>
            <pc:docMk/>
            <pc:sldMk cId="326362598" sldId="579"/>
            <ac:spMk id="318" creationId="{94622093-E928-BE42-9C50-271B2A772A77}"/>
          </ac:spMkLst>
        </pc:spChg>
        <pc:spChg chg="add del mod ord replST">
          <ac:chgData name="Bullinger, Marvin" userId="5b54ce5a-dc89-476f-af33-5abd75d5b1e8" providerId="ADAL" clId="{43B71669-8A80-4333-9349-B258A9296B49}" dt="2024-02-27T17:21:07.277" v="3538" actId="478"/>
          <ac:spMkLst>
            <pc:docMk/>
            <pc:sldMk cId="326362598" sldId="579"/>
            <ac:spMk id="319" creationId="{E2F9E57B-DDC9-A357-0C25-0189D83469F8}"/>
          </ac:spMkLst>
        </pc:spChg>
        <pc:spChg chg="del">
          <ac:chgData name="Bullinger, Marvin" userId="5b54ce5a-dc89-476f-af33-5abd75d5b1e8" providerId="ADAL" clId="{43B71669-8A80-4333-9349-B258A9296B49}" dt="2024-02-27T16:46:20.270" v="1197" actId="478"/>
          <ac:spMkLst>
            <pc:docMk/>
            <pc:sldMk cId="326362598" sldId="579"/>
            <ac:spMk id="320" creationId="{187DCA3A-772F-EB37-B71D-399A7AFB1947}"/>
          </ac:spMkLst>
        </pc:spChg>
        <pc:spChg chg="del">
          <ac:chgData name="Bullinger, Marvin" userId="5b54ce5a-dc89-476f-af33-5abd75d5b1e8" providerId="ADAL" clId="{43B71669-8A80-4333-9349-B258A9296B49}" dt="2024-02-27T16:46:20.270" v="1196" actId="478"/>
          <ac:spMkLst>
            <pc:docMk/>
            <pc:sldMk cId="326362598" sldId="579"/>
            <ac:spMk id="321" creationId="{F185BB0A-8D82-D24F-8A1A-3953E53EB467}"/>
          </ac:spMkLst>
        </pc:spChg>
        <pc:spChg chg="del">
          <ac:chgData name="Bullinger, Marvin" userId="5b54ce5a-dc89-476f-af33-5abd75d5b1e8" providerId="ADAL" clId="{43B71669-8A80-4333-9349-B258A9296B49}" dt="2024-02-27T16:46:20.254" v="1195" actId="478"/>
          <ac:spMkLst>
            <pc:docMk/>
            <pc:sldMk cId="326362598" sldId="579"/>
            <ac:spMk id="322" creationId="{5FF2303A-9178-97CF-19EB-E126F0C479DA}"/>
          </ac:spMkLst>
        </pc:spChg>
        <pc:spChg chg="del">
          <ac:chgData name="Bullinger, Marvin" userId="5b54ce5a-dc89-476f-af33-5abd75d5b1e8" providerId="ADAL" clId="{43B71669-8A80-4333-9349-B258A9296B49}" dt="2024-02-27T16:46:20.254" v="1194" actId="478"/>
          <ac:spMkLst>
            <pc:docMk/>
            <pc:sldMk cId="326362598" sldId="579"/>
            <ac:spMk id="323" creationId="{28282433-728F-35FD-196B-5BF58925CBE2}"/>
          </ac:spMkLst>
        </pc:spChg>
        <pc:spChg chg="del">
          <ac:chgData name="Bullinger, Marvin" userId="5b54ce5a-dc89-476f-af33-5abd75d5b1e8" providerId="ADAL" clId="{43B71669-8A80-4333-9349-B258A9296B49}" dt="2024-02-27T16:46:20.254" v="1193" actId="478"/>
          <ac:spMkLst>
            <pc:docMk/>
            <pc:sldMk cId="326362598" sldId="579"/>
            <ac:spMk id="324" creationId="{80B16EC3-B3F4-82EC-980F-844C453C94C6}"/>
          </ac:spMkLst>
        </pc:spChg>
        <pc:spChg chg="del">
          <ac:chgData name="Bullinger, Marvin" userId="5b54ce5a-dc89-476f-af33-5abd75d5b1e8" providerId="ADAL" clId="{43B71669-8A80-4333-9349-B258A9296B49}" dt="2024-02-27T16:46:20.254" v="1192" actId="478"/>
          <ac:spMkLst>
            <pc:docMk/>
            <pc:sldMk cId="326362598" sldId="579"/>
            <ac:spMk id="325" creationId="{BBC011A1-60BE-EECB-D340-B1451A01006D}"/>
          </ac:spMkLst>
        </pc:spChg>
        <pc:spChg chg="del">
          <ac:chgData name="Bullinger, Marvin" userId="5b54ce5a-dc89-476f-af33-5abd75d5b1e8" providerId="ADAL" clId="{43B71669-8A80-4333-9349-B258A9296B49}" dt="2024-02-27T16:46:20.254" v="1189" actId="478"/>
          <ac:spMkLst>
            <pc:docMk/>
            <pc:sldMk cId="326362598" sldId="579"/>
            <ac:spMk id="326" creationId="{C82ED278-278E-1AB9-A774-B41A2BE08EB0}"/>
          </ac:spMkLst>
        </pc:spChg>
        <pc:spChg chg="del">
          <ac:chgData name="Bullinger, Marvin" userId="5b54ce5a-dc89-476f-af33-5abd75d5b1e8" providerId="ADAL" clId="{43B71669-8A80-4333-9349-B258A9296B49}" dt="2024-02-27T16:46:20.254" v="1188" actId="478"/>
          <ac:spMkLst>
            <pc:docMk/>
            <pc:sldMk cId="326362598" sldId="579"/>
            <ac:spMk id="327" creationId="{D98DB23F-0709-B88B-29CF-692158E87DA8}"/>
          </ac:spMkLst>
        </pc:spChg>
        <pc:spChg chg="del">
          <ac:chgData name="Bullinger, Marvin" userId="5b54ce5a-dc89-476f-af33-5abd75d5b1e8" providerId="ADAL" clId="{43B71669-8A80-4333-9349-B258A9296B49}" dt="2024-02-27T16:46:20.254" v="1187" actId="478"/>
          <ac:spMkLst>
            <pc:docMk/>
            <pc:sldMk cId="326362598" sldId="579"/>
            <ac:spMk id="328" creationId="{B5172439-EEC6-92F0-5AF0-942D7BDBFB15}"/>
          </ac:spMkLst>
        </pc:spChg>
        <pc:spChg chg="del">
          <ac:chgData name="Bullinger, Marvin" userId="5b54ce5a-dc89-476f-af33-5abd75d5b1e8" providerId="ADAL" clId="{43B71669-8A80-4333-9349-B258A9296B49}" dt="2024-02-27T16:46:20.254" v="1186" actId="478"/>
          <ac:spMkLst>
            <pc:docMk/>
            <pc:sldMk cId="326362598" sldId="579"/>
            <ac:spMk id="329" creationId="{B54BC52B-1D72-2BB2-B35B-EF02F16C2E7C}"/>
          </ac:spMkLst>
        </pc:spChg>
        <pc:spChg chg="del">
          <ac:chgData name="Bullinger, Marvin" userId="5b54ce5a-dc89-476f-af33-5abd75d5b1e8" providerId="ADAL" clId="{43B71669-8A80-4333-9349-B258A9296B49}" dt="2024-02-27T16:46:20.254" v="1185" actId="478"/>
          <ac:spMkLst>
            <pc:docMk/>
            <pc:sldMk cId="326362598" sldId="579"/>
            <ac:spMk id="330" creationId="{911D4136-B2D9-BBB5-2154-5589D544647C}"/>
          </ac:spMkLst>
        </pc:spChg>
        <pc:spChg chg="del">
          <ac:chgData name="Bullinger, Marvin" userId="5b54ce5a-dc89-476f-af33-5abd75d5b1e8" providerId="ADAL" clId="{43B71669-8A80-4333-9349-B258A9296B49}" dt="2024-02-27T16:46:20.254" v="1184" actId="478"/>
          <ac:spMkLst>
            <pc:docMk/>
            <pc:sldMk cId="326362598" sldId="579"/>
            <ac:spMk id="331" creationId="{9757D4E7-2B34-939A-BF44-ABFE0EBD5CA2}"/>
          </ac:spMkLst>
        </pc:spChg>
        <pc:spChg chg="del">
          <ac:chgData name="Bullinger, Marvin" userId="5b54ce5a-dc89-476f-af33-5abd75d5b1e8" providerId="ADAL" clId="{43B71669-8A80-4333-9349-B258A9296B49}" dt="2024-02-27T16:46:20.270" v="1205" actId="478"/>
          <ac:spMkLst>
            <pc:docMk/>
            <pc:sldMk cId="326362598" sldId="579"/>
            <ac:spMk id="332" creationId="{2A4CAE01-84A8-9A06-6B6D-677F1ADCA3A1}"/>
          </ac:spMkLst>
        </pc:spChg>
        <pc:spChg chg="del">
          <ac:chgData name="Bullinger, Marvin" userId="5b54ce5a-dc89-476f-af33-5abd75d5b1e8" providerId="ADAL" clId="{43B71669-8A80-4333-9349-B258A9296B49}" dt="2024-02-27T16:46:20.270" v="1204" actId="478"/>
          <ac:spMkLst>
            <pc:docMk/>
            <pc:sldMk cId="326362598" sldId="579"/>
            <ac:spMk id="333" creationId="{A4FD29B0-B0D3-9004-E334-6F2C550F02C7}"/>
          </ac:spMkLst>
        </pc:spChg>
        <pc:spChg chg="del">
          <ac:chgData name="Bullinger, Marvin" userId="5b54ce5a-dc89-476f-af33-5abd75d5b1e8" providerId="ADAL" clId="{43B71669-8A80-4333-9349-B258A9296B49}" dt="2024-02-27T16:46:20.270" v="1203" actId="478"/>
          <ac:spMkLst>
            <pc:docMk/>
            <pc:sldMk cId="326362598" sldId="579"/>
            <ac:spMk id="334" creationId="{F97298D1-642D-C75B-EC9C-878A80DC1CCD}"/>
          </ac:spMkLst>
        </pc:spChg>
        <pc:spChg chg="del">
          <ac:chgData name="Bullinger, Marvin" userId="5b54ce5a-dc89-476f-af33-5abd75d5b1e8" providerId="ADAL" clId="{43B71669-8A80-4333-9349-B258A9296B49}" dt="2024-02-27T16:46:20.270" v="1202" actId="478"/>
          <ac:spMkLst>
            <pc:docMk/>
            <pc:sldMk cId="326362598" sldId="579"/>
            <ac:spMk id="335" creationId="{8BB63C09-836F-EF56-74D1-47737EEB4E7C}"/>
          </ac:spMkLst>
        </pc:spChg>
        <pc:spChg chg="del">
          <ac:chgData name="Bullinger, Marvin" userId="5b54ce5a-dc89-476f-af33-5abd75d5b1e8" providerId="ADAL" clId="{43B71669-8A80-4333-9349-B258A9296B49}" dt="2024-02-27T16:46:20.270" v="1201" actId="478"/>
          <ac:spMkLst>
            <pc:docMk/>
            <pc:sldMk cId="326362598" sldId="579"/>
            <ac:spMk id="336" creationId="{3CA04386-FCCF-ED86-8745-C7A08D1004A5}"/>
          </ac:spMkLst>
        </pc:spChg>
        <pc:spChg chg="del">
          <ac:chgData name="Bullinger, Marvin" userId="5b54ce5a-dc89-476f-af33-5abd75d5b1e8" providerId="ADAL" clId="{43B71669-8A80-4333-9349-B258A9296B49}" dt="2024-02-27T16:46:20.270" v="1200" actId="478"/>
          <ac:spMkLst>
            <pc:docMk/>
            <pc:sldMk cId="326362598" sldId="579"/>
            <ac:spMk id="337" creationId="{ADFD137D-941C-1BBD-7AA4-64E5B78DCFC4}"/>
          </ac:spMkLst>
        </pc:spChg>
        <pc:spChg chg="del">
          <ac:chgData name="Bullinger, Marvin" userId="5b54ce5a-dc89-476f-af33-5abd75d5b1e8" providerId="ADAL" clId="{43B71669-8A80-4333-9349-B258A9296B49}" dt="2024-02-27T16:46:20.270" v="1199" actId="478"/>
          <ac:spMkLst>
            <pc:docMk/>
            <pc:sldMk cId="326362598" sldId="579"/>
            <ac:spMk id="338" creationId="{2FDD2246-7817-7985-6DBD-3CC6CCA8EF9C}"/>
          </ac:spMkLst>
        </pc:spChg>
        <pc:spChg chg="del">
          <ac:chgData name="Bullinger, Marvin" userId="5b54ce5a-dc89-476f-af33-5abd75d5b1e8" providerId="ADAL" clId="{43B71669-8A80-4333-9349-B258A9296B49}" dt="2024-02-27T16:46:20.270" v="1198" actId="478"/>
          <ac:spMkLst>
            <pc:docMk/>
            <pc:sldMk cId="326362598" sldId="579"/>
            <ac:spMk id="339" creationId="{4CB90F9D-7742-60C7-3879-F8F3A09C89CA}"/>
          </ac:spMkLst>
        </pc:spChg>
        <pc:spChg chg="del">
          <ac:chgData name="Bullinger, Marvin" userId="5b54ce5a-dc89-476f-af33-5abd75d5b1e8" providerId="ADAL" clId="{43B71669-8A80-4333-9349-B258A9296B49}" dt="2024-02-27T16:46:20.254" v="1190" actId="478"/>
          <ac:spMkLst>
            <pc:docMk/>
            <pc:sldMk cId="326362598" sldId="579"/>
            <ac:spMk id="340" creationId="{5A6815E5-0AE8-E48A-33D5-DE6824A9B430}"/>
          </ac:spMkLst>
        </pc:spChg>
        <pc:spChg chg="del">
          <ac:chgData name="Bullinger, Marvin" userId="5b54ce5a-dc89-476f-af33-5abd75d5b1e8" providerId="ADAL" clId="{43B71669-8A80-4333-9349-B258A9296B49}" dt="2024-02-27T16:46:20.254" v="1183" actId="478"/>
          <ac:spMkLst>
            <pc:docMk/>
            <pc:sldMk cId="326362598" sldId="579"/>
            <ac:spMk id="341" creationId="{F7AE993A-440E-5E28-CB35-86ABC0CCA7A6}"/>
          </ac:spMkLst>
        </pc:spChg>
        <pc:spChg chg="del">
          <ac:chgData name="Bullinger, Marvin" userId="5b54ce5a-dc89-476f-af33-5abd75d5b1e8" providerId="ADAL" clId="{43B71669-8A80-4333-9349-B258A9296B49}" dt="2024-02-27T16:46:20.254" v="1191" actId="478"/>
          <ac:spMkLst>
            <pc:docMk/>
            <pc:sldMk cId="326362598" sldId="579"/>
            <ac:spMk id="342" creationId="{E85ED948-953E-81D2-9497-4BA512E32A56}"/>
          </ac:spMkLst>
        </pc:spChg>
        <pc:spChg chg="del">
          <ac:chgData name="Bullinger, Marvin" userId="5b54ce5a-dc89-476f-af33-5abd75d5b1e8" providerId="ADAL" clId="{43B71669-8A80-4333-9349-B258A9296B49}" dt="2024-02-27T16:46:20.254" v="1182" actId="478"/>
          <ac:spMkLst>
            <pc:docMk/>
            <pc:sldMk cId="326362598" sldId="579"/>
            <ac:spMk id="343" creationId="{66F5140A-53CF-2CCF-C2B8-440CBF75A0CB}"/>
          </ac:spMkLst>
        </pc:spChg>
        <pc:spChg chg="del">
          <ac:chgData name="Bullinger, Marvin" userId="5b54ce5a-dc89-476f-af33-5abd75d5b1e8" providerId="ADAL" clId="{43B71669-8A80-4333-9349-B258A9296B49}" dt="2024-02-27T16:46:20.254" v="1181" actId="478"/>
          <ac:spMkLst>
            <pc:docMk/>
            <pc:sldMk cId="326362598" sldId="579"/>
            <ac:spMk id="344" creationId="{CD6AB7F5-8419-0710-F889-8B0CDC225AA3}"/>
          </ac:spMkLst>
        </pc:spChg>
        <pc:spChg chg="del">
          <ac:chgData name="Bullinger, Marvin" userId="5b54ce5a-dc89-476f-af33-5abd75d5b1e8" providerId="ADAL" clId="{43B71669-8A80-4333-9349-B258A9296B49}" dt="2024-02-27T16:46:20.254" v="1180" actId="478"/>
          <ac:spMkLst>
            <pc:docMk/>
            <pc:sldMk cId="326362598" sldId="579"/>
            <ac:spMk id="345" creationId="{E5D77686-4858-CF36-1DF7-625F825FCE76}"/>
          </ac:spMkLst>
        </pc:spChg>
        <pc:spChg chg="del">
          <ac:chgData name="Bullinger, Marvin" userId="5b54ce5a-dc89-476f-af33-5abd75d5b1e8" providerId="ADAL" clId="{43B71669-8A80-4333-9349-B258A9296B49}" dt="2024-02-27T16:46:20.254" v="1179" actId="478"/>
          <ac:spMkLst>
            <pc:docMk/>
            <pc:sldMk cId="326362598" sldId="579"/>
            <ac:spMk id="346" creationId="{F0C34C01-3887-1504-BA5C-09C4716E5097}"/>
          </ac:spMkLst>
        </pc:spChg>
        <pc:spChg chg="del">
          <ac:chgData name="Bullinger, Marvin" userId="5b54ce5a-dc89-476f-af33-5abd75d5b1e8" providerId="ADAL" clId="{43B71669-8A80-4333-9349-B258A9296B49}" dt="2024-02-27T16:46:20.254" v="1178" actId="478"/>
          <ac:spMkLst>
            <pc:docMk/>
            <pc:sldMk cId="326362598" sldId="579"/>
            <ac:spMk id="347" creationId="{AF788074-52AC-1B03-9707-B7796BF832B9}"/>
          </ac:spMkLst>
        </pc:spChg>
        <pc:spChg chg="del">
          <ac:chgData name="Bullinger, Marvin" userId="5b54ce5a-dc89-476f-af33-5abd75d5b1e8" providerId="ADAL" clId="{43B71669-8A80-4333-9349-B258A9296B49}" dt="2024-02-27T16:46:20.254" v="1177" actId="478"/>
          <ac:spMkLst>
            <pc:docMk/>
            <pc:sldMk cId="326362598" sldId="579"/>
            <ac:spMk id="348" creationId="{0E8834D9-C89C-0B91-9351-BCE2A86E5BC5}"/>
          </ac:spMkLst>
        </pc:spChg>
        <pc:spChg chg="del">
          <ac:chgData name="Bullinger, Marvin" userId="5b54ce5a-dc89-476f-af33-5abd75d5b1e8" providerId="ADAL" clId="{43B71669-8A80-4333-9349-B258A9296B49}" dt="2024-02-27T16:46:20.254" v="1176" actId="478"/>
          <ac:spMkLst>
            <pc:docMk/>
            <pc:sldMk cId="326362598" sldId="579"/>
            <ac:spMk id="349" creationId="{A6E47CFB-8598-E2F3-41A7-93441C36C807}"/>
          </ac:spMkLst>
        </pc:spChg>
        <pc:spChg chg="del">
          <ac:chgData name="Bullinger, Marvin" userId="5b54ce5a-dc89-476f-af33-5abd75d5b1e8" providerId="ADAL" clId="{43B71669-8A80-4333-9349-B258A9296B49}" dt="2024-02-27T16:46:20.254" v="1175" actId="478"/>
          <ac:spMkLst>
            <pc:docMk/>
            <pc:sldMk cId="326362598" sldId="579"/>
            <ac:spMk id="350" creationId="{4D8258D6-C607-DC4C-48B8-DA006CBA51AE}"/>
          </ac:spMkLst>
        </pc:spChg>
        <pc:spChg chg="del">
          <ac:chgData name="Bullinger, Marvin" userId="5b54ce5a-dc89-476f-af33-5abd75d5b1e8" providerId="ADAL" clId="{43B71669-8A80-4333-9349-B258A9296B49}" dt="2024-02-27T16:46:20.254" v="1174" actId="478"/>
          <ac:spMkLst>
            <pc:docMk/>
            <pc:sldMk cId="326362598" sldId="579"/>
            <ac:spMk id="351" creationId="{09D47D77-65EA-1C11-3EB4-300866488900}"/>
          </ac:spMkLst>
        </pc:spChg>
        <pc:spChg chg="del">
          <ac:chgData name="Bullinger, Marvin" userId="5b54ce5a-dc89-476f-af33-5abd75d5b1e8" providerId="ADAL" clId="{43B71669-8A80-4333-9349-B258A9296B49}" dt="2024-02-27T16:46:20.254" v="1173" actId="478"/>
          <ac:spMkLst>
            <pc:docMk/>
            <pc:sldMk cId="326362598" sldId="579"/>
            <ac:spMk id="352" creationId="{2FE72FA1-AF71-601A-3064-82AFB49A542D}"/>
          </ac:spMkLst>
        </pc:spChg>
        <pc:spChg chg="del">
          <ac:chgData name="Bullinger, Marvin" userId="5b54ce5a-dc89-476f-af33-5abd75d5b1e8" providerId="ADAL" clId="{43B71669-8A80-4333-9349-B258A9296B49}" dt="2024-02-27T17:21:07.310" v="3575" actId="478"/>
          <ac:spMkLst>
            <pc:docMk/>
            <pc:sldMk cId="326362598" sldId="579"/>
            <ac:spMk id="352" creationId="{D37D522E-80FA-D7BD-30FB-F49FD37AB507}"/>
          </ac:spMkLst>
        </pc:spChg>
        <pc:spChg chg="del">
          <ac:chgData name="Bullinger, Marvin" userId="5b54ce5a-dc89-476f-af33-5abd75d5b1e8" providerId="ADAL" clId="{43B71669-8A80-4333-9349-B258A9296B49}" dt="2024-02-27T16:46:20.254" v="1172" actId="478"/>
          <ac:spMkLst>
            <pc:docMk/>
            <pc:sldMk cId="326362598" sldId="579"/>
            <ac:spMk id="353" creationId="{4FC7FE2A-009C-70F1-E919-A03F4621C99D}"/>
          </ac:spMkLst>
        </pc:spChg>
        <pc:spChg chg="del">
          <ac:chgData name="Bullinger, Marvin" userId="5b54ce5a-dc89-476f-af33-5abd75d5b1e8" providerId="ADAL" clId="{43B71669-8A80-4333-9349-B258A9296B49}" dt="2024-02-27T17:21:07.310" v="3567" actId="478"/>
          <ac:spMkLst>
            <pc:docMk/>
            <pc:sldMk cId="326362598" sldId="579"/>
            <ac:spMk id="353" creationId="{51AE1C62-480E-C8FD-EC9B-6ACA9BF0991D}"/>
          </ac:spMkLst>
        </pc:spChg>
        <pc:spChg chg="del">
          <ac:chgData name="Bullinger, Marvin" userId="5b54ce5a-dc89-476f-af33-5abd75d5b1e8" providerId="ADAL" clId="{43B71669-8A80-4333-9349-B258A9296B49}" dt="2024-02-27T16:46:20.254" v="1171" actId="478"/>
          <ac:spMkLst>
            <pc:docMk/>
            <pc:sldMk cId="326362598" sldId="579"/>
            <ac:spMk id="354" creationId="{3F27B35B-A3AC-5E29-3065-D9CEEF921F8B}"/>
          </ac:spMkLst>
        </pc:spChg>
        <pc:spChg chg="del">
          <ac:chgData name="Bullinger, Marvin" userId="5b54ce5a-dc89-476f-af33-5abd75d5b1e8" providerId="ADAL" clId="{43B71669-8A80-4333-9349-B258A9296B49}" dt="2024-02-27T17:21:07.310" v="3560" actId="478"/>
          <ac:spMkLst>
            <pc:docMk/>
            <pc:sldMk cId="326362598" sldId="579"/>
            <ac:spMk id="354" creationId="{5A91D64E-70B1-910A-1398-B0E5B8973BC8}"/>
          </ac:spMkLst>
        </pc:spChg>
        <pc:spChg chg="del">
          <ac:chgData name="Bullinger, Marvin" userId="5b54ce5a-dc89-476f-af33-5abd75d5b1e8" providerId="ADAL" clId="{43B71669-8A80-4333-9349-B258A9296B49}" dt="2024-02-27T17:21:07.310" v="3568" actId="478"/>
          <ac:spMkLst>
            <pc:docMk/>
            <pc:sldMk cId="326362598" sldId="579"/>
            <ac:spMk id="355" creationId="{B5ED3C7B-E4A9-5C24-1645-502463C8E4DD}"/>
          </ac:spMkLst>
        </pc:spChg>
        <pc:spChg chg="del">
          <ac:chgData name="Bullinger, Marvin" userId="5b54ce5a-dc89-476f-af33-5abd75d5b1e8" providerId="ADAL" clId="{43B71669-8A80-4333-9349-B258A9296B49}" dt="2024-02-27T16:46:20.254" v="1170" actId="478"/>
          <ac:spMkLst>
            <pc:docMk/>
            <pc:sldMk cId="326362598" sldId="579"/>
            <ac:spMk id="355" creationId="{E5B54459-60F3-3167-911F-F69F0DBA9F8D}"/>
          </ac:spMkLst>
        </pc:spChg>
        <pc:spChg chg="del">
          <ac:chgData name="Bullinger, Marvin" userId="5b54ce5a-dc89-476f-af33-5abd75d5b1e8" providerId="ADAL" clId="{43B71669-8A80-4333-9349-B258A9296B49}" dt="2024-02-27T17:21:07.310" v="3559" actId="478"/>
          <ac:spMkLst>
            <pc:docMk/>
            <pc:sldMk cId="326362598" sldId="579"/>
            <ac:spMk id="356" creationId="{6B7C323D-9AB1-D47D-D443-06C6F3F8463E}"/>
          </ac:spMkLst>
        </pc:spChg>
        <pc:spChg chg="del">
          <ac:chgData name="Bullinger, Marvin" userId="5b54ce5a-dc89-476f-af33-5abd75d5b1e8" providerId="ADAL" clId="{43B71669-8A80-4333-9349-B258A9296B49}" dt="2024-02-27T16:46:20.254" v="1169" actId="478"/>
          <ac:spMkLst>
            <pc:docMk/>
            <pc:sldMk cId="326362598" sldId="579"/>
            <ac:spMk id="356" creationId="{E9FB6947-AF76-8DD5-B37D-C9F6AD1F24AC}"/>
          </ac:spMkLst>
        </pc:spChg>
        <pc:spChg chg="add replST">
          <ac:chgData name="Bullinger, Marvin" userId="5b54ce5a-dc89-476f-af33-5abd75d5b1e8" providerId="ADAL" clId="{43B71669-8A80-4333-9349-B258A9296B49}" dt="2024-02-27T16:53:49.050" v="3382"/>
          <ac:spMkLst>
            <pc:docMk/>
            <pc:sldMk cId="326362598" sldId="579"/>
            <ac:spMk id="357" creationId="{C45F58FC-947F-7B55-2C25-67EB9C4CD039}"/>
          </ac:spMkLst>
        </pc:spChg>
        <pc:spChg chg="add replST">
          <ac:chgData name="Bullinger, Marvin" userId="5b54ce5a-dc89-476f-af33-5abd75d5b1e8" providerId="ADAL" clId="{43B71669-8A80-4333-9349-B258A9296B49}" dt="2024-02-27T16:53:49.050" v="3382"/>
          <ac:spMkLst>
            <pc:docMk/>
            <pc:sldMk cId="326362598" sldId="579"/>
            <ac:spMk id="358" creationId="{43FA6B81-A4BE-2127-4936-F72AAFE8063B}"/>
          </ac:spMkLst>
        </pc:spChg>
        <pc:spChg chg="add replST">
          <ac:chgData name="Bullinger, Marvin" userId="5b54ce5a-dc89-476f-af33-5abd75d5b1e8" providerId="ADAL" clId="{43B71669-8A80-4333-9349-B258A9296B49}" dt="2024-02-27T16:53:49.050" v="3382"/>
          <ac:spMkLst>
            <pc:docMk/>
            <pc:sldMk cId="326362598" sldId="579"/>
            <ac:spMk id="360" creationId="{C5C398D3-3EF2-C52D-7018-FB70E5932F6C}"/>
          </ac:spMkLst>
        </pc:spChg>
        <pc:spChg chg="add mod replST">
          <ac:chgData name="Bullinger, Marvin" userId="5b54ce5a-dc89-476f-af33-5abd75d5b1e8" providerId="ADAL" clId="{43B71669-8A80-4333-9349-B258A9296B49}" dt="2024-02-27T16:53:49.050" v="3382"/>
          <ac:spMkLst>
            <pc:docMk/>
            <pc:sldMk cId="326362598" sldId="579"/>
            <ac:spMk id="361" creationId="{F762FED0-3D9F-FF3C-F12A-C4600DD4DF1D}"/>
          </ac:spMkLst>
        </pc:spChg>
        <pc:spChg chg="add del mod ord replST">
          <ac:chgData name="Bullinger, Marvin" userId="5b54ce5a-dc89-476f-af33-5abd75d5b1e8" providerId="ADAL" clId="{43B71669-8A80-4333-9349-B258A9296B49}" dt="2024-02-27T17:21:07.277" v="3540" actId="478"/>
          <ac:spMkLst>
            <pc:docMk/>
            <pc:sldMk cId="326362598" sldId="579"/>
            <ac:spMk id="362" creationId="{447DD394-BD7F-4AC7-CC57-8647CE0CA5E6}"/>
          </ac:spMkLst>
        </pc:spChg>
        <pc:spChg chg="add replST">
          <ac:chgData name="Bullinger, Marvin" userId="5b54ce5a-dc89-476f-af33-5abd75d5b1e8" providerId="ADAL" clId="{43B71669-8A80-4333-9349-B258A9296B49}" dt="2024-02-27T16:53:49.050" v="3382"/>
          <ac:spMkLst>
            <pc:docMk/>
            <pc:sldMk cId="326362598" sldId="579"/>
            <ac:spMk id="363" creationId="{0D07D315-42D3-B507-2DCA-8D8ED6553C87}"/>
          </ac:spMkLst>
        </pc:spChg>
        <pc:spChg chg="add replST">
          <ac:chgData name="Bullinger, Marvin" userId="5b54ce5a-dc89-476f-af33-5abd75d5b1e8" providerId="ADAL" clId="{43B71669-8A80-4333-9349-B258A9296B49}" dt="2024-02-27T16:53:49.050" v="3382"/>
          <ac:spMkLst>
            <pc:docMk/>
            <pc:sldMk cId="326362598" sldId="579"/>
            <ac:spMk id="364" creationId="{D6B41ECE-FC17-B861-A191-11C4BAC5E357}"/>
          </ac:spMkLst>
        </pc:spChg>
        <pc:spChg chg="add replST">
          <ac:chgData name="Bullinger, Marvin" userId="5b54ce5a-dc89-476f-af33-5abd75d5b1e8" providerId="ADAL" clId="{43B71669-8A80-4333-9349-B258A9296B49}" dt="2024-02-27T16:53:49.050" v="3382"/>
          <ac:spMkLst>
            <pc:docMk/>
            <pc:sldMk cId="326362598" sldId="579"/>
            <ac:spMk id="366" creationId="{7BCB5ED6-3AD4-4B91-EDD5-7C3CFC7022A4}"/>
          </ac:spMkLst>
        </pc:spChg>
        <pc:spChg chg="add replST">
          <ac:chgData name="Bullinger, Marvin" userId="5b54ce5a-dc89-476f-af33-5abd75d5b1e8" providerId="ADAL" clId="{43B71669-8A80-4333-9349-B258A9296B49}" dt="2024-02-27T16:53:49.050" v="3382"/>
          <ac:spMkLst>
            <pc:docMk/>
            <pc:sldMk cId="326362598" sldId="579"/>
            <ac:spMk id="367" creationId="{3093B1F6-37B2-E081-5DC2-B84B34A35392}"/>
          </ac:spMkLst>
        </pc:spChg>
        <pc:spChg chg="add replST">
          <ac:chgData name="Bullinger, Marvin" userId="5b54ce5a-dc89-476f-af33-5abd75d5b1e8" providerId="ADAL" clId="{43B71669-8A80-4333-9349-B258A9296B49}" dt="2024-02-27T16:53:49.050" v="3382"/>
          <ac:spMkLst>
            <pc:docMk/>
            <pc:sldMk cId="326362598" sldId="579"/>
            <ac:spMk id="369" creationId="{733B0052-949D-237F-C67E-65E01E7AF83E}"/>
          </ac:spMkLst>
        </pc:spChg>
        <pc:spChg chg="add replST">
          <ac:chgData name="Bullinger, Marvin" userId="5b54ce5a-dc89-476f-af33-5abd75d5b1e8" providerId="ADAL" clId="{43B71669-8A80-4333-9349-B258A9296B49}" dt="2024-02-27T16:53:49.050" v="3382"/>
          <ac:spMkLst>
            <pc:docMk/>
            <pc:sldMk cId="326362598" sldId="579"/>
            <ac:spMk id="370" creationId="{D71B4C38-AB66-B576-0C45-87A0D3DC0782}"/>
          </ac:spMkLst>
        </pc:spChg>
        <pc:spChg chg="add replST">
          <ac:chgData name="Bullinger, Marvin" userId="5b54ce5a-dc89-476f-af33-5abd75d5b1e8" providerId="ADAL" clId="{43B71669-8A80-4333-9349-B258A9296B49}" dt="2024-02-27T16:53:49.050" v="3382"/>
          <ac:spMkLst>
            <pc:docMk/>
            <pc:sldMk cId="326362598" sldId="579"/>
            <ac:spMk id="372" creationId="{2361E155-E515-84E5-D117-4B81834EF325}"/>
          </ac:spMkLst>
        </pc:spChg>
        <pc:spChg chg="add replST">
          <ac:chgData name="Bullinger, Marvin" userId="5b54ce5a-dc89-476f-af33-5abd75d5b1e8" providerId="ADAL" clId="{43B71669-8A80-4333-9349-B258A9296B49}" dt="2024-02-27T16:53:49.050" v="3382"/>
          <ac:spMkLst>
            <pc:docMk/>
            <pc:sldMk cId="326362598" sldId="579"/>
            <ac:spMk id="373" creationId="{D984A050-676A-D19E-B5A8-B73FD9E12377}"/>
          </ac:spMkLst>
        </pc:spChg>
        <pc:spChg chg="del">
          <ac:chgData name="Bullinger, Marvin" userId="5b54ce5a-dc89-476f-af33-5abd75d5b1e8" providerId="ADAL" clId="{43B71669-8A80-4333-9349-B258A9296B49}" dt="2024-02-27T17:21:07.310" v="3558" actId="478"/>
          <ac:spMkLst>
            <pc:docMk/>
            <pc:sldMk cId="326362598" sldId="579"/>
            <ac:spMk id="376" creationId="{26C6232F-F7D1-F069-220A-EF660FDB128D}"/>
          </ac:spMkLst>
        </pc:spChg>
        <pc:spChg chg="add">
          <ac:chgData name="Bullinger, Marvin" userId="5b54ce5a-dc89-476f-af33-5abd75d5b1e8" providerId="ADAL" clId="{43B71669-8A80-4333-9349-B258A9296B49}" dt="2024-02-27T16:53:49.050" v="3382"/>
          <ac:spMkLst>
            <pc:docMk/>
            <pc:sldMk cId="326362598" sldId="579"/>
            <ac:spMk id="376" creationId="{6766E3F6-1A31-F912-4E92-82059AD968CF}"/>
          </ac:spMkLst>
        </pc:spChg>
        <pc:spChg chg="add">
          <ac:chgData name="Bullinger, Marvin" userId="5b54ce5a-dc89-476f-af33-5abd75d5b1e8" providerId="ADAL" clId="{43B71669-8A80-4333-9349-B258A9296B49}" dt="2024-02-27T16:53:49.050" v="3382"/>
          <ac:spMkLst>
            <pc:docMk/>
            <pc:sldMk cId="326362598" sldId="579"/>
            <ac:spMk id="377" creationId="{72277ED9-8D41-D118-9376-95A7296EF713}"/>
          </ac:spMkLst>
        </pc:spChg>
        <pc:spChg chg="del">
          <ac:chgData name="Bullinger, Marvin" userId="5b54ce5a-dc89-476f-af33-5abd75d5b1e8" providerId="ADAL" clId="{43B71669-8A80-4333-9349-B258A9296B49}" dt="2024-02-27T17:21:07.310" v="3557" actId="478"/>
          <ac:spMkLst>
            <pc:docMk/>
            <pc:sldMk cId="326362598" sldId="579"/>
            <ac:spMk id="377" creationId="{787CEB8C-40EC-5E6C-63D6-CF083F4055E4}"/>
          </ac:spMkLst>
        </pc:spChg>
        <pc:spChg chg="add">
          <ac:chgData name="Bullinger, Marvin" userId="5b54ce5a-dc89-476f-af33-5abd75d5b1e8" providerId="ADAL" clId="{43B71669-8A80-4333-9349-B258A9296B49}" dt="2024-02-27T16:53:49.050" v="3382"/>
          <ac:spMkLst>
            <pc:docMk/>
            <pc:sldMk cId="326362598" sldId="579"/>
            <ac:spMk id="378" creationId="{4DE79806-5408-5109-6DE9-DB9E4D901394}"/>
          </ac:spMkLst>
        </pc:spChg>
        <pc:spChg chg="del">
          <ac:chgData name="Bullinger, Marvin" userId="5b54ce5a-dc89-476f-af33-5abd75d5b1e8" providerId="ADAL" clId="{43B71669-8A80-4333-9349-B258A9296B49}" dt="2024-02-27T17:21:07.310" v="3556" actId="478"/>
          <ac:spMkLst>
            <pc:docMk/>
            <pc:sldMk cId="326362598" sldId="579"/>
            <ac:spMk id="378" creationId="{AD1461A7-B593-176F-F9D7-929AE88A7599}"/>
          </ac:spMkLst>
        </pc:spChg>
        <pc:spChg chg="add">
          <ac:chgData name="Bullinger, Marvin" userId="5b54ce5a-dc89-476f-af33-5abd75d5b1e8" providerId="ADAL" clId="{43B71669-8A80-4333-9349-B258A9296B49}" dt="2024-02-27T16:53:49.050" v="3382"/>
          <ac:spMkLst>
            <pc:docMk/>
            <pc:sldMk cId="326362598" sldId="579"/>
            <ac:spMk id="379" creationId="{C5097231-474D-F8FA-FC5A-D412B2DC4E11}"/>
          </ac:spMkLst>
        </pc:spChg>
        <pc:spChg chg="del">
          <ac:chgData name="Bullinger, Marvin" userId="5b54ce5a-dc89-476f-af33-5abd75d5b1e8" providerId="ADAL" clId="{43B71669-8A80-4333-9349-B258A9296B49}" dt="2024-02-27T17:21:07.309" v="3555" actId="478"/>
          <ac:spMkLst>
            <pc:docMk/>
            <pc:sldMk cId="326362598" sldId="579"/>
            <ac:spMk id="379" creationId="{E95A25D0-1BC0-3660-88BA-F54A83B94992}"/>
          </ac:spMkLst>
        </pc:spChg>
        <pc:spChg chg="add">
          <ac:chgData name="Bullinger, Marvin" userId="5b54ce5a-dc89-476f-af33-5abd75d5b1e8" providerId="ADAL" clId="{43B71669-8A80-4333-9349-B258A9296B49}" dt="2024-02-27T16:53:49.050" v="3382"/>
          <ac:spMkLst>
            <pc:docMk/>
            <pc:sldMk cId="326362598" sldId="579"/>
            <ac:spMk id="380" creationId="{CAF728B0-C00A-AD1F-B982-832AA42A6BA8}"/>
          </ac:spMkLst>
        </pc:spChg>
        <pc:spChg chg="del">
          <ac:chgData name="Bullinger, Marvin" userId="5b54ce5a-dc89-476f-af33-5abd75d5b1e8" providerId="ADAL" clId="{43B71669-8A80-4333-9349-B258A9296B49}" dt="2024-02-27T17:21:07.293" v="3554" actId="478"/>
          <ac:spMkLst>
            <pc:docMk/>
            <pc:sldMk cId="326362598" sldId="579"/>
            <ac:spMk id="380" creationId="{E1EDEB95-3A49-4746-8BB1-AE7DDFF6FC1C}"/>
          </ac:spMkLst>
        </pc:spChg>
        <pc:spChg chg="del">
          <ac:chgData name="Bullinger, Marvin" userId="5b54ce5a-dc89-476f-af33-5abd75d5b1e8" providerId="ADAL" clId="{43B71669-8A80-4333-9349-B258A9296B49}" dt="2024-02-27T17:21:07.293" v="3553" actId="478"/>
          <ac:spMkLst>
            <pc:docMk/>
            <pc:sldMk cId="326362598" sldId="579"/>
            <ac:spMk id="381" creationId="{3EF544AC-2A6A-AE3B-7AD9-EE89329AD2C0}"/>
          </ac:spMkLst>
        </pc:spChg>
        <pc:spChg chg="add">
          <ac:chgData name="Bullinger, Marvin" userId="5b54ce5a-dc89-476f-af33-5abd75d5b1e8" providerId="ADAL" clId="{43B71669-8A80-4333-9349-B258A9296B49}" dt="2024-02-27T16:53:49.050" v="3382"/>
          <ac:spMkLst>
            <pc:docMk/>
            <pc:sldMk cId="326362598" sldId="579"/>
            <ac:spMk id="381" creationId="{B2A0B009-8724-B084-E72F-CB279E39C7D4}"/>
          </ac:spMkLst>
        </pc:spChg>
        <pc:spChg chg="add">
          <ac:chgData name="Bullinger, Marvin" userId="5b54ce5a-dc89-476f-af33-5abd75d5b1e8" providerId="ADAL" clId="{43B71669-8A80-4333-9349-B258A9296B49}" dt="2024-02-27T16:53:49.050" v="3382"/>
          <ac:spMkLst>
            <pc:docMk/>
            <pc:sldMk cId="326362598" sldId="579"/>
            <ac:spMk id="382" creationId="{5C21462B-2EEE-A4E7-4317-16253D470C38}"/>
          </ac:spMkLst>
        </pc:spChg>
        <pc:spChg chg="del">
          <ac:chgData name="Bullinger, Marvin" userId="5b54ce5a-dc89-476f-af33-5abd75d5b1e8" providerId="ADAL" clId="{43B71669-8A80-4333-9349-B258A9296B49}" dt="2024-02-27T17:21:07.293" v="3552" actId="478"/>
          <ac:spMkLst>
            <pc:docMk/>
            <pc:sldMk cId="326362598" sldId="579"/>
            <ac:spMk id="382" creationId="{B96D0D44-FA14-917A-1ADF-B418F2714C56}"/>
          </ac:spMkLst>
        </pc:spChg>
        <pc:spChg chg="add">
          <ac:chgData name="Bullinger, Marvin" userId="5b54ce5a-dc89-476f-af33-5abd75d5b1e8" providerId="ADAL" clId="{43B71669-8A80-4333-9349-B258A9296B49}" dt="2024-02-27T16:53:49.050" v="3382"/>
          <ac:spMkLst>
            <pc:docMk/>
            <pc:sldMk cId="326362598" sldId="579"/>
            <ac:spMk id="383" creationId="{309368C4-5B12-0F1D-905C-F8A63D7A152B}"/>
          </ac:spMkLst>
        </pc:spChg>
        <pc:spChg chg="del">
          <ac:chgData name="Bullinger, Marvin" userId="5b54ce5a-dc89-476f-af33-5abd75d5b1e8" providerId="ADAL" clId="{43B71669-8A80-4333-9349-B258A9296B49}" dt="2024-02-27T17:21:07.293" v="3551" actId="478"/>
          <ac:spMkLst>
            <pc:docMk/>
            <pc:sldMk cId="326362598" sldId="579"/>
            <ac:spMk id="383" creationId="{969F7A85-1D22-D850-D509-FAB4E3726215}"/>
          </ac:spMkLst>
        </pc:spChg>
        <pc:spChg chg="add">
          <ac:chgData name="Bullinger, Marvin" userId="5b54ce5a-dc89-476f-af33-5abd75d5b1e8" providerId="ADAL" clId="{43B71669-8A80-4333-9349-B258A9296B49}" dt="2024-02-27T16:53:49.050" v="3382"/>
          <ac:spMkLst>
            <pc:docMk/>
            <pc:sldMk cId="326362598" sldId="579"/>
            <ac:spMk id="384" creationId="{8F7455E2-3FED-3E4B-068A-C9593CC3833C}"/>
          </ac:spMkLst>
        </pc:spChg>
        <pc:spChg chg="del">
          <ac:chgData name="Bullinger, Marvin" userId="5b54ce5a-dc89-476f-af33-5abd75d5b1e8" providerId="ADAL" clId="{43B71669-8A80-4333-9349-B258A9296B49}" dt="2024-02-27T17:21:07.293" v="3550" actId="478"/>
          <ac:spMkLst>
            <pc:docMk/>
            <pc:sldMk cId="326362598" sldId="579"/>
            <ac:spMk id="384" creationId="{DF9C620E-7E7B-EDFD-61ED-A39E583CD704}"/>
          </ac:spMkLst>
        </pc:spChg>
        <pc:spChg chg="add">
          <ac:chgData name="Bullinger, Marvin" userId="5b54ce5a-dc89-476f-af33-5abd75d5b1e8" providerId="ADAL" clId="{43B71669-8A80-4333-9349-B258A9296B49}" dt="2024-02-27T16:53:49.050" v="3382"/>
          <ac:spMkLst>
            <pc:docMk/>
            <pc:sldMk cId="326362598" sldId="579"/>
            <ac:spMk id="385" creationId="{0374A087-82C2-F337-89A0-E97C92C523B9}"/>
          </ac:spMkLst>
        </pc:spChg>
        <pc:spChg chg="del">
          <ac:chgData name="Bullinger, Marvin" userId="5b54ce5a-dc89-476f-af33-5abd75d5b1e8" providerId="ADAL" clId="{43B71669-8A80-4333-9349-B258A9296B49}" dt="2024-02-27T17:21:07.293" v="3549" actId="478"/>
          <ac:spMkLst>
            <pc:docMk/>
            <pc:sldMk cId="326362598" sldId="579"/>
            <ac:spMk id="385" creationId="{098568A2-5F9F-0CF9-C55B-D42C84C7E404}"/>
          </ac:spMkLst>
        </pc:spChg>
        <pc:spChg chg="add">
          <ac:chgData name="Bullinger, Marvin" userId="5b54ce5a-dc89-476f-af33-5abd75d5b1e8" providerId="ADAL" clId="{43B71669-8A80-4333-9349-B258A9296B49}" dt="2024-02-27T16:53:49.050" v="3382"/>
          <ac:spMkLst>
            <pc:docMk/>
            <pc:sldMk cId="326362598" sldId="579"/>
            <ac:spMk id="386" creationId="{662A7A5C-9F0E-EC60-FDB8-AC56AE906046}"/>
          </ac:spMkLst>
        </pc:spChg>
        <pc:spChg chg="del">
          <ac:chgData name="Bullinger, Marvin" userId="5b54ce5a-dc89-476f-af33-5abd75d5b1e8" providerId="ADAL" clId="{43B71669-8A80-4333-9349-B258A9296B49}" dt="2024-02-27T17:21:07.293" v="3548" actId="478"/>
          <ac:spMkLst>
            <pc:docMk/>
            <pc:sldMk cId="326362598" sldId="579"/>
            <ac:spMk id="386" creationId="{DC0C75D4-898D-DA8D-B6BD-7984101457DB}"/>
          </ac:spMkLst>
        </pc:spChg>
        <pc:spChg chg="del">
          <ac:chgData name="Bullinger, Marvin" userId="5b54ce5a-dc89-476f-af33-5abd75d5b1e8" providerId="ADAL" clId="{43B71669-8A80-4333-9349-B258A9296B49}" dt="2024-02-27T17:21:07.293" v="3547" actId="478"/>
          <ac:spMkLst>
            <pc:docMk/>
            <pc:sldMk cId="326362598" sldId="579"/>
            <ac:spMk id="387" creationId="{68013639-0598-63C3-D852-9AE836C567F4}"/>
          </ac:spMkLst>
        </pc:spChg>
        <pc:spChg chg="add">
          <ac:chgData name="Bullinger, Marvin" userId="5b54ce5a-dc89-476f-af33-5abd75d5b1e8" providerId="ADAL" clId="{43B71669-8A80-4333-9349-B258A9296B49}" dt="2024-02-27T16:53:49.050" v="3382"/>
          <ac:spMkLst>
            <pc:docMk/>
            <pc:sldMk cId="326362598" sldId="579"/>
            <ac:spMk id="387" creationId="{BA37BA87-A101-527C-62D8-E10557DCE5EF}"/>
          </ac:spMkLst>
        </pc:spChg>
        <pc:spChg chg="add">
          <ac:chgData name="Bullinger, Marvin" userId="5b54ce5a-dc89-476f-af33-5abd75d5b1e8" providerId="ADAL" clId="{43B71669-8A80-4333-9349-B258A9296B49}" dt="2024-02-27T16:53:49.050" v="3382"/>
          <ac:spMkLst>
            <pc:docMk/>
            <pc:sldMk cId="326362598" sldId="579"/>
            <ac:spMk id="388" creationId="{8920B453-FD44-1F3E-220B-518D4F402F0F}"/>
          </ac:spMkLst>
        </pc:spChg>
        <pc:spChg chg="del">
          <ac:chgData name="Bullinger, Marvin" userId="5b54ce5a-dc89-476f-af33-5abd75d5b1e8" providerId="ADAL" clId="{43B71669-8A80-4333-9349-B258A9296B49}" dt="2024-02-27T17:21:07.293" v="3546" actId="478"/>
          <ac:spMkLst>
            <pc:docMk/>
            <pc:sldMk cId="326362598" sldId="579"/>
            <ac:spMk id="388" creationId="{96A00B8A-ED65-C130-16CE-11B1668F4D81}"/>
          </ac:spMkLst>
        </pc:spChg>
        <pc:spChg chg="replST">
          <ac:chgData name="Bullinger, Marvin" userId="5b54ce5a-dc89-476f-af33-5abd75d5b1e8" providerId="ADAL" clId="{43B71669-8A80-4333-9349-B258A9296B49}" dt="2024-02-27T17:21:07.939" v="3926"/>
          <ac:spMkLst>
            <pc:docMk/>
            <pc:sldMk cId="326362598" sldId="579"/>
            <ac:spMk id="389" creationId="{05AE1D38-23A5-9F38-F40F-8C239E245626}"/>
          </ac:spMkLst>
        </pc:spChg>
        <pc:spChg chg="add">
          <ac:chgData name="Bullinger, Marvin" userId="5b54ce5a-dc89-476f-af33-5abd75d5b1e8" providerId="ADAL" clId="{43B71669-8A80-4333-9349-B258A9296B49}" dt="2024-02-27T16:53:49.050" v="3382"/>
          <ac:spMkLst>
            <pc:docMk/>
            <pc:sldMk cId="326362598" sldId="579"/>
            <ac:spMk id="389" creationId="{944C31FC-6405-2326-A179-3648CD1ECFD7}"/>
          </ac:spMkLst>
        </pc:spChg>
        <pc:spChg chg="add">
          <ac:chgData name="Bullinger, Marvin" userId="5b54ce5a-dc89-476f-af33-5abd75d5b1e8" providerId="ADAL" clId="{43B71669-8A80-4333-9349-B258A9296B49}" dt="2024-02-27T16:53:49.050" v="3382"/>
          <ac:spMkLst>
            <pc:docMk/>
            <pc:sldMk cId="326362598" sldId="579"/>
            <ac:spMk id="390" creationId="{9A43D7B0-870F-8313-9448-96F68E1BE2AF}"/>
          </ac:spMkLst>
        </pc:spChg>
        <pc:spChg chg="replST">
          <ac:chgData name="Bullinger, Marvin" userId="5b54ce5a-dc89-476f-af33-5abd75d5b1e8" providerId="ADAL" clId="{43B71669-8A80-4333-9349-B258A9296B49}" dt="2024-02-27T17:21:07.949" v="3929"/>
          <ac:spMkLst>
            <pc:docMk/>
            <pc:sldMk cId="326362598" sldId="579"/>
            <ac:spMk id="390" creationId="{E80E894D-C4E8-CDF3-9E1A-3E22954DA5CD}"/>
          </ac:spMkLst>
        </pc:spChg>
        <pc:spChg chg="add">
          <ac:chgData name="Bullinger, Marvin" userId="5b54ce5a-dc89-476f-af33-5abd75d5b1e8" providerId="ADAL" clId="{43B71669-8A80-4333-9349-B258A9296B49}" dt="2024-02-27T16:53:49.050" v="3382"/>
          <ac:spMkLst>
            <pc:docMk/>
            <pc:sldMk cId="326362598" sldId="579"/>
            <ac:spMk id="391" creationId="{94DC5085-79B6-0493-5453-288618EF8972}"/>
          </ac:spMkLst>
        </pc:spChg>
        <pc:spChg chg="replST">
          <ac:chgData name="Bullinger, Marvin" userId="5b54ce5a-dc89-476f-af33-5abd75d5b1e8" providerId="ADAL" clId="{43B71669-8A80-4333-9349-B258A9296B49}" dt="2024-02-27T17:21:07.949" v="3933"/>
          <ac:spMkLst>
            <pc:docMk/>
            <pc:sldMk cId="326362598" sldId="579"/>
            <ac:spMk id="392" creationId="{03AF90A0-E19C-64E9-EB04-151871CB809F}"/>
          </ac:spMkLst>
        </pc:spChg>
        <pc:spChg chg="add">
          <ac:chgData name="Bullinger, Marvin" userId="5b54ce5a-dc89-476f-af33-5abd75d5b1e8" providerId="ADAL" clId="{43B71669-8A80-4333-9349-B258A9296B49}" dt="2024-02-27T16:53:49.050" v="3382"/>
          <ac:spMkLst>
            <pc:docMk/>
            <pc:sldMk cId="326362598" sldId="579"/>
            <ac:spMk id="392" creationId="{34453AD0-A65D-868F-E3FF-F4A5CABC0E5E}"/>
          </ac:spMkLst>
        </pc:spChg>
        <pc:spChg chg="add">
          <ac:chgData name="Bullinger, Marvin" userId="5b54ce5a-dc89-476f-af33-5abd75d5b1e8" providerId="ADAL" clId="{43B71669-8A80-4333-9349-B258A9296B49}" dt="2024-02-27T16:53:49.050" v="3382"/>
          <ac:spMkLst>
            <pc:docMk/>
            <pc:sldMk cId="326362598" sldId="579"/>
            <ac:spMk id="393" creationId="{8944D0CF-F8DE-CA5F-6912-8D8AA539C035}"/>
          </ac:spMkLst>
        </pc:spChg>
        <pc:spChg chg="replST">
          <ac:chgData name="Bullinger, Marvin" userId="5b54ce5a-dc89-476f-af33-5abd75d5b1e8" providerId="ADAL" clId="{43B71669-8A80-4333-9349-B258A9296B49}" dt="2024-02-27T17:21:07.965" v="3936"/>
          <ac:spMkLst>
            <pc:docMk/>
            <pc:sldMk cId="326362598" sldId="579"/>
            <ac:spMk id="393" creationId="{B9CE7BD0-792F-9D36-F42D-018968FE6C7F}"/>
          </ac:spMkLst>
        </pc:spChg>
        <pc:spChg chg="del ord replST">
          <ac:chgData name="Bullinger, Marvin" userId="5b54ce5a-dc89-476f-af33-5abd75d5b1e8" providerId="ADAL" clId="{43B71669-8A80-4333-9349-B258A9296B49}" dt="2024-02-27T17:26:23.130" v="4500" actId="478"/>
          <ac:spMkLst>
            <pc:docMk/>
            <pc:sldMk cId="326362598" sldId="579"/>
            <ac:spMk id="394" creationId="{61DB4DA6-6BD8-D00E-6113-A435BC37ED26}"/>
          </ac:spMkLst>
        </pc:spChg>
        <pc:spChg chg="add">
          <ac:chgData name="Bullinger, Marvin" userId="5b54ce5a-dc89-476f-af33-5abd75d5b1e8" providerId="ADAL" clId="{43B71669-8A80-4333-9349-B258A9296B49}" dt="2024-02-27T16:53:49.050" v="3382"/>
          <ac:spMkLst>
            <pc:docMk/>
            <pc:sldMk cId="326362598" sldId="579"/>
            <ac:spMk id="394" creationId="{D17CD5C9-2CE7-0011-D072-94CBB47D002A}"/>
          </ac:spMkLst>
        </pc:spChg>
        <pc:spChg chg="add">
          <ac:chgData name="Bullinger, Marvin" userId="5b54ce5a-dc89-476f-af33-5abd75d5b1e8" providerId="ADAL" clId="{43B71669-8A80-4333-9349-B258A9296B49}" dt="2024-02-27T16:53:49.050" v="3382"/>
          <ac:spMkLst>
            <pc:docMk/>
            <pc:sldMk cId="326362598" sldId="579"/>
            <ac:spMk id="395" creationId="{46845E8C-4018-69BF-84DC-C1F577EAC4C0}"/>
          </ac:spMkLst>
        </pc:spChg>
        <pc:spChg chg="replST">
          <ac:chgData name="Bullinger, Marvin" userId="5b54ce5a-dc89-476f-af33-5abd75d5b1e8" providerId="ADAL" clId="{43B71669-8A80-4333-9349-B258A9296B49}" dt="2024-02-27T17:21:07.980" v="3940"/>
          <ac:spMkLst>
            <pc:docMk/>
            <pc:sldMk cId="326362598" sldId="579"/>
            <ac:spMk id="395" creationId="{D17AE29B-9454-5FD2-638C-D9CD7F2B6727}"/>
          </ac:spMkLst>
        </pc:spChg>
        <pc:spChg chg="replST">
          <ac:chgData name="Bullinger, Marvin" userId="5b54ce5a-dc89-476f-af33-5abd75d5b1e8" providerId="ADAL" clId="{43B71669-8A80-4333-9349-B258A9296B49}" dt="2024-02-27T17:21:07.980" v="3943"/>
          <ac:spMkLst>
            <pc:docMk/>
            <pc:sldMk cId="326362598" sldId="579"/>
            <ac:spMk id="396" creationId="{0CE478D1-C44E-BE56-9259-49519C10108B}"/>
          </ac:spMkLst>
        </pc:spChg>
        <pc:spChg chg="add">
          <ac:chgData name="Bullinger, Marvin" userId="5b54ce5a-dc89-476f-af33-5abd75d5b1e8" providerId="ADAL" clId="{43B71669-8A80-4333-9349-B258A9296B49}" dt="2024-02-27T16:53:49.050" v="3382"/>
          <ac:spMkLst>
            <pc:docMk/>
            <pc:sldMk cId="326362598" sldId="579"/>
            <ac:spMk id="396" creationId="{F2B3A4C8-0B1A-6D52-AFEB-98D270B3F9CF}"/>
          </ac:spMkLst>
        </pc:spChg>
        <pc:spChg chg="add">
          <ac:chgData name="Bullinger, Marvin" userId="5b54ce5a-dc89-476f-af33-5abd75d5b1e8" providerId="ADAL" clId="{43B71669-8A80-4333-9349-B258A9296B49}" dt="2024-02-27T16:53:49.050" v="3382"/>
          <ac:spMkLst>
            <pc:docMk/>
            <pc:sldMk cId="326362598" sldId="579"/>
            <ac:spMk id="397" creationId="{E4BE9E67-03F9-82E2-11AD-AD432ABDA1F4}"/>
          </ac:spMkLst>
        </pc:spChg>
        <pc:spChg chg="add">
          <ac:chgData name="Bullinger, Marvin" userId="5b54ce5a-dc89-476f-af33-5abd75d5b1e8" providerId="ADAL" clId="{43B71669-8A80-4333-9349-B258A9296B49}" dt="2024-02-27T16:53:49.050" v="3382"/>
          <ac:spMkLst>
            <pc:docMk/>
            <pc:sldMk cId="326362598" sldId="579"/>
            <ac:spMk id="398" creationId="{3D6ACDC8-F0D5-9FC4-B39B-6594E6EBB1F8}"/>
          </ac:spMkLst>
        </pc:spChg>
        <pc:spChg chg="replST">
          <ac:chgData name="Bullinger, Marvin" userId="5b54ce5a-dc89-476f-af33-5abd75d5b1e8" providerId="ADAL" clId="{43B71669-8A80-4333-9349-B258A9296B49}" dt="2024-02-27T17:21:07.997" v="3947"/>
          <ac:spMkLst>
            <pc:docMk/>
            <pc:sldMk cId="326362598" sldId="579"/>
            <ac:spMk id="398" creationId="{83BFA4DF-49D7-A66C-08A8-28989A3C403E}"/>
          </ac:spMkLst>
        </pc:spChg>
        <pc:spChg chg="replST">
          <ac:chgData name="Bullinger, Marvin" userId="5b54ce5a-dc89-476f-af33-5abd75d5b1e8" providerId="ADAL" clId="{43B71669-8A80-4333-9349-B258A9296B49}" dt="2024-02-27T17:21:07.997" v="3950"/>
          <ac:spMkLst>
            <pc:docMk/>
            <pc:sldMk cId="326362598" sldId="579"/>
            <ac:spMk id="399" creationId="{932EF860-0B5F-F94D-C938-D9E01BFCA0B9}"/>
          </ac:spMkLst>
        </pc:spChg>
        <pc:spChg chg="add">
          <ac:chgData name="Bullinger, Marvin" userId="5b54ce5a-dc89-476f-af33-5abd75d5b1e8" providerId="ADAL" clId="{43B71669-8A80-4333-9349-B258A9296B49}" dt="2024-02-27T16:53:49.050" v="3382"/>
          <ac:spMkLst>
            <pc:docMk/>
            <pc:sldMk cId="326362598" sldId="579"/>
            <ac:spMk id="399" creationId="{A570BD89-36A7-0E89-D760-E3511FFE4BE8}"/>
          </ac:spMkLst>
        </pc:spChg>
        <pc:spChg chg="add">
          <ac:chgData name="Bullinger, Marvin" userId="5b54ce5a-dc89-476f-af33-5abd75d5b1e8" providerId="ADAL" clId="{43B71669-8A80-4333-9349-B258A9296B49}" dt="2024-02-27T16:53:49.050" v="3382"/>
          <ac:spMkLst>
            <pc:docMk/>
            <pc:sldMk cId="326362598" sldId="579"/>
            <ac:spMk id="400" creationId="{29393FBF-E62C-27DC-FEAF-8E5AC8B4C62A}"/>
          </ac:spMkLst>
        </pc:spChg>
        <pc:spChg chg="add">
          <ac:chgData name="Bullinger, Marvin" userId="5b54ce5a-dc89-476f-af33-5abd75d5b1e8" providerId="ADAL" clId="{43B71669-8A80-4333-9349-B258A9296B49}" dt="2024-02-27T16:53:49.050" v="3382"/>
          <ac:spMkLst>
            <pc:docMk/>
            <pc:sldMk cId="326362598" sldId="579"/>
            <ac:spMk id="401" creationId="{05955852-69E4-6929-F203-D9F0565B2BBE}"/>
          </ac:spMkLst>
        </pc:spChg>
        <pc:spChg chg="replST">
          <ac:chgData name="Bullinger, Marvin" userId="5b54ce5a-dc89-476f-af33-5abd75d5b1e8" providerId="ADAL" clId="{43B71669-8A80-4333-9349-B258A9296B49}" dt="2024-02-27T17:21:08.005" v="3954"/>
          <ac:spMkLst>
            <pc:docMk/>
            <pc:sldMk cId="326362598" sldId="579"/>
            <ac:spMk id="401" creationId="{FCBC06BB-EF20-E3C7-BE09-D16D9DEFFD8E}"/>
          </ac:spMkLst>
        </pc:spChg>
        <pc:spChg chg="add">
          <ac:chgData name="Bullinger, Marvin" userId="5b54ce5a-dc89-476f-af33-5abd75d5b1e8" providerId="ADAL" clId="{43B71669-8A80-4333-9349-B258A9296B49}" dt="2024-02-27T16:53:49.050" v="3382"/>
          <ac:spMkLst>
            <pc:docMk/>
            <pc:sldMk cId="326362598" sldId="579"/>
            <ac:spMk id="402" creationId="{00BD2946-A0DB-72F8-6462-809E84639BCD}"/>
          </ac:spMkLst>
        </pc:spChg>
        <pc:spChg chg="replST">
          <ac:chgData name="Bullinger, Marvin" userId="5b54ce5a-dc89-476f-af33-5abd75d5b1e8" providerId="ADAL" clId="{43B71669-8A80-4333-9349-B258A9296B49}" dt="2024-02-27T17:21:08.013" v="3957"/>
          <ac:spMkLst>
            <pc:docMk/>
            <pc:sldMk cId="326362598" sldId="579"/>
            <ac:spMk id="402" creationId="{D844A005-A05C-6511-F7F2-E856758C7B34}"/>
          </ac:spMkLst>
        </pc:spChg>
        <pc:spChg chg="add">
          <ac:chgData name="Bullinger, Marvin" userId="5b54ce5a-dc89-476f-af33-5abd75d5b1e8" providerId="ADAL" clId="{43B71669-8A80-4333-9349-B258A9296B49}" dt="2024-02-27T16:53:49.050" v="3382"/>
          <ac:spMkLst>
            <pc:docMk/>
            <pc:sldMk cId="326362598" sldId="579"/>
            <ac:spMk id="403" creationId="{E680C89B-3DD5-5E9F-EE27-9CE8915ECA01}"/>
          </ac:spMkLst>
        </pc:spChg>
        <pc:spChg chg="add">
          <ac:chgData name="Bullinger, Marvin" userId="5b54ce5a-dc89-476f-af33-5abd75d5b1e8" providerId="ADAL" clId="{43B71669-8A80-4333-9349-B258A9296B49}" dt="2024-02-27T16:53:49.050" v="3382"/>
          <ac:spMkLst>
            <pc:docMk/>
            <pc:sldMk cId="326362598" sldId="579"/>
            <ac:spMk id="404" creationId="{A9AB8F5A-8AE6-6A8E-8F30-945B4F698D8A}"/>
          </ac:spMkLst>
        </pc:spChg>
        <pc:spChg chg="replST">
          <ac:chgData name="Bullinger, Marvin" userId="5b54ce5a-dc89-476f-af33-5abd75d5b1e8" providerId="ADAL" clId="{43B71669-8A80-4333-9349-B258A9296B49}" dt="2024-02-27T17:21:08.013" v="3961"/>
          <ac:spMkLst>
            <pc:docMk/>
            <pc:sldMk cId="326362598" sldId="579"/>
            <ac:spMk id="404" creationId="{FB39C169-02A6-9299-18F7-28B069BD9163}"/>
          </ac:spMkLst>
        </pc:spChg>
        <pc:spChg chg="add">
          <ac:chgData name="Bullinger, Marvin" userId="5b54ce5a-dc89-476f-af33-5abd75d5b1e8" providerId="ADAL" clId="{43B71669-8A80-4333-9349-B258A9296B49}" dt="2024-02-27T16:53:49.050" v="3382"/>
          <ac:spMkLst>
            <pc:docMk/>
            <pc:sldMk cId="326362598" sldId="579"/>
            <ac:spMk id="405" creationId="{95FC4432-FF67-F805-753B-6FEB7957A31C}"/>
          </ac:spMkLst>
        </pc:spChg>
        <pc:spChg chg="replST">
          <ac:chgData name="Bullinger, Marvin" userId="5b54ce5a-dc89-476f-af33-5abd75d5b1e8" providerId="ADAL" clId="{43B71669-8A80-4333-9349-B258A9296B49}" dt="2024-02-27T17:21:08.013" v="3964"/>
          <ac:spMkLst>
            <pc:docMk/>
            <pc:sldMk cId="326362598" sldId="579"/>
            <ac:spMk id="405" creationId="{A0D4B940-4886-64FE-1C75-8C70B9058B3F}"/>
          </ac:spMkLst>
        </pc:spChg>
        <pc:spChg chg="add">
          <ac:chgData name="Bullinger, Marvin" userId="5b54ce5a-dc89-476f-af33-5abd75d5b1e8" providerId="ADAL" clId="{43B71669-8A80-4333-9349-B258A9296B49}" dt="2024-02-27T16:53:49.050" v="3382"/>
          <ac:spMkLst>
            <pc:docMk/>
            <pc:sldMk cId="326362598" sldId="579"/>
            <ac:spMk id="406" creationId="{7A001EC3-5278-A1FE-D421-9C503967A428}"/>
          </ac:spMkLst>
        </pc:spChg>
        <pc:spChg chg="replST">
          <ac:chgData name="Bullinger, Marvin" userId="5b54ce5a-dc89-476f-af33-5abd75d5b1e8" providerId="ADAL" clId="{43B71669-8A80-4333-9349-B258A9296B49}" dt="2024-02-27T17:21:08.029" v="3968"/>
          <ac:spMkLst>
            <pc:docMk/>
            <pc:sldMk cId="326362598" sldId="579"/>
            <ac:spMk id="407" creationId="{6594A652-E5B2-0373-69BD-A36497E28382}"/>
          </ac:spMkLst>
        </pc:spChg>
        <pc:spChg chg="add">
          <ac:chgData name="Bullinger, Marvin" userId="5b54ce5a-dc89-476f-af33-5abd75d5b1e8" providerId="ADAL" clId="{43B71669-8A80-4333-9349-B258A9296B49}" dt="2024-02-27T16:53:49.050" v="3382"/>
          <ac:spMkLst>
            <pc:docMk/>
            <pc:sldMk cId="326362598" sldId="579"/>
            <ac:spMk id="407" creationId="{AABA0BD1-FF12-32F8-5968-7E60CF62EB27}"/>
          </ac:spMkLst>
        </pc:spChg>
        <pc:spChg chg="replST">
          <ac:chgData name="Bullinger, Marvin" userId="5b54ce5a-dc89-476f-af33-5abd75d5b1e8" providerId="ADAL" clId="{43B71669-8A80-4333-9349-B258A9296B49}" dt="2024-02-27T17:21:08.029" v="3971"/>
          <ac:spMkLst>
            <pc:docMk/>
            <pc:sldMk cId="326362598" sldId="579"/>
            <ac:spMk id="408" creationId="{6B4B3C13-E9CF-8D31-4217-D4D8DBA32095}"/>
          </ac:spMkLst>
        </pc:spChg>
        <pc:spChg chg="add">
          <ac:chgData name="Bullinger, Marvin" userId="5b54ce5a-dc89-476f-af33-5abd75d5b1e8" providerId="ADAL" clId="{43B71669-8A80-4333-9349-B258A9296B49}" dt="2024-02-27T16:53:49.050" v="3382"/>
          <ac:spMkLst>
            <pc:docMk/>
            <pc:sldMk cId="326362598" sldId="579"/>
            <ac:spMk id="408" creationId="{B83F8789-4A13-93BB-9E23-5C025EE19F3F}"/>
          </ac:spMkLst>
        </pc:spChg>
        <pc:spChg chg="add">
          <ac:chgData name="Bullinger, Marvin" userId="5b54ce5a-dc89-476f-af33-5abd75d5b1e8" providerId="ADAL" clId="{43B71669-8A80-4333-9349-B258A9296B49}" dt="2024-02-27T16:53:49.050" v="3382"/>
          <ac:spMkLst>
            <pc:docMk/>
            <pc:sldMk cId="326362598" sldId="579"/>
            <ac:spMk id="409" creationId="{15ABB1E0-615E-2A79-3F10-FAFB5D517921}"/>
          </ac:spMkLst>
        </pc:spChg>
        <pc:spChg chg="add">
          <ac:chgData name="Bullinger, Marvin" userId="5b54ce5a-dc89-476f-af33-5abd75d5b1e8" providerId="ADAL" clId="{43B71669-8A80-4333-9349-B258A9296B49}" dt="2024-02-27T16:53:49.050" v="3382"/>
          <ac:spMkLst>
            <pc:docMk/>
            <pc:sldMk cId="326362598" sldId="579"/>
            <ac:spMk id="410" creationId="{3B9A7DF6-BA64-9AA6-9B29-8CBC09BDFE66}"/>
          </ac:spMkLst>
        </pc:spChg>
        <pc:spChg chg="add">
          <ac:chgData name="Bullinger, Marvin" userId="5b54ce5a-dc89-476f-af33-5abd75d5b1e8" providerId="ADAL" clId="{43B71669-8A80-4333-9349-B258A9296B49}" dt="2024-02-27T16:53:49.050" v="3382"/>
          <ac:spMkLst>
            <pc:docMk/>
            <pc:sldMk cId="326362598" sldId="579"/>
            <ac:spMk id="411" creationId="{94429769-C7CA-7F52-9913-7A5189642735}"/>
          </ac:spMkLst>
        </pc:spChg>
        <pc:spChg chg="add">
          <ac:chgData name="Bullinger, Marvin" userId="5b54ce5a-dc89-476f-af33-5abd75d5b1e8" providerId="ADAL" clId="{43B71669-8A80-4333-9349-B258A9296B49}" dt="2024-02-27T16:53:49.050" v="3382"/>
          <ac:spMkLst>
            <pc:docMk/>
            <pc:sldMk cId="326362598" sldId="579"/>
            <ac:spMk id="412" creationId="{76867CDD-D3BC-4391-C418-1147101A59B7}"/>
          </ac:spMkLst>
        </pc:spChg>
        <pc:spChg chg="add del mod">
          <ac:chgData name="Bullinger, Marvin" userId="5b54ce5a-dc89-476f-af33-5abd75d5b1e8" providerId="ADAL" clId="{43B71669-8A80-4333-9349-B258A9296B49}" dt="2024-02-27T16:53:49.050" v="3382"/>
          <ac:spMkLst>
            <pc:docMk/>
            <pc:sldMk cId="326362598" sldId="579"/>
            <ac:spMk id="414" creationId="{20078CBF-1D9F-3815-5242-DD00C17EF3F0}"/>
          </ac:spMkLst>
        </pc:spChg>
        <pc:spChg chg="mod ord replST delST">
          <ac:chgData name="Bullinger, Marvin" userId="5b54ce5a-dc89-476f-af33-5abd75d5b1e8" providerId="ADAL" clId="{43B71669-8A80-4333-9349-B258A9296B49}" dt="2024-02-27T16:53:49.050" v="3382"/>
          <ac:spMkLst>
            <pc:docMk/>
            <pc:sldMk cId="326362598" sldId="579"/>
            <ac:spMk id="415" creationId="{52C8C444-69D7-91A0-76B1-78BBEA761F2C}"/>
          </ac:spMkLst>
        </pc:spChg>
        <pc:spChg chg="add del">
          <ac:chgData name="Bullinger, Marvin" userId="5b54ce5a-dc89-476f-af33-5abd75d5b1e8" providerId="ADAL" clId="{43B71669-8A80-4333-9349-B258A9296B49}" dt="2024-02-27T16:53:49.050" v="3382"/>
          <ac:spMkLst>
            <pc:docMk/>
            <pc:sldMk cId="326362598" sldId="579"/>
            <ac:spMk id="416" creationId="{5145F4A9-D9A3-862D-C7CB-4C237173E895}"/>
          </ac:spMkLst>
        </pc:spChg>
        <pc:spChg chg="add del">
          <ac:chgData name="Bullinger, Marvin" userId="5b54ce5a-dc89-476f-af33-5abd75d5b1e8" providerId="ADAL" clId="{43B71669-8A80-4333-9349-B258A9296B49}" dt="2024-02-27T16:53:49.050" v="3382"/>
          <ac:spMkLst>
            <pc:docMk/>
            <pc:sldMk cId="326362598" sldId="579"/>
            <ac:spMk id="417" creationId="{1261E587-A95C-69BA-2D88-45FD875479A9}"/>
          </ac:spMkLst>
        </pc:spChg>
        <pc:spChg chg="add del">
          <ac:chgData name="Bullinger, Marvin" userId="5b54ce5a-dc89-476f-af33-5abd75d5b1e8" providerId="ADAL" clId="{43B71669-8A80-4333-9349-B258A9296B49}" dt="2024-02-27T16:53:49.050" v="3382"/>
          <ac:spMkLst>
            <pc:docMk/>
            <pc:sldMk cId="326362598" sldId="579"/>
            <ac:spMk id="418" creationId="{C29873ED-BB1C-9455-BF48-7099BCD9891D}"/>
          </ac:spMkLst>
        </pc:spChg>
        <pc:spChg chg="add del">
          <ac:chgData name="Bullinger, Marvin" userId="5b54ce5a-dc89-476f-af33-5abd75d5b1e8" providerId="ADAL" clId="{43B71669-8A80-4333-9349-B258A9296B49}" dt="2024-02-27T16:53:49.050" v="3382"/>
          <ac:spMkLst>
            <pc:docMk/>
            <pc:sldMk cId="326362598" sldId="579"/>
            <ac:spMk id="419" creationId="{DCC5D3BC-3E3F-8E50-700F-7014040E8FCD}"/>
          </ac:spMkLst>
        </pc:spChg>
        <pc:spChg chg="add del">
          <ac:chgData name="Bullinger, Marvin" userId="5b54ce5a-dc89-476f-af33-5abd75d5b1e8" providerId="ADAL" clId="{43B71669-8A80-4333-9349-B258A9296B49}" dt="2024-02-27T16:53:49.050" v="3382"/>
          <ac:spMkLst>
            <pc:docMk/>
            <pc:sldMk cId="326362598" sldId="579"/>
            <ac:spMk id="420" creationId="{9AAEC68E-B3BF-1DE2-6568-79F459B25AF8}"/>
          </ac:spMkLst>
        </pc:spChg>
        <pc:spChg chg="add del">
          <ac:chgData name="Bullinger, Marvin" userId="5b54ce5a-dc89-476f-af33-5abd75d5b1e8" providerId="ADAL" clId="{43B71669-8A80-4333-9349-B258A9296B49}" dt="2024-02-27T16:53:49.050" v="3382"/>
          <ac:spMkLst>
            <pc:docMk/>
            <pc:sldMk cId="326362598" sldId="579"/>
            <ac:spMk id="421" creationId="{6043C9AA-01F2-E06C-1C59-D3779B056D31}"/>
          </ac:spMkLst>
        </pc:spChg>
        <pc:spChg chg="add del">
          <ac:chgData name="Bullinger, Marvin" userId="5b54ce5a-dc89-476f-af33-5abd75d5b1e8" providerId="ADAL" clId="{43B71669-8A80-4333-9349-B258A9296B49}" dt="2024-02-27T16:53:49.050" v="3382"/>
          <ac:spMkLst>
            <pc:docMk/>
            <pc:sldMk cId="326362598" sldId="579"/>
            <ac:spMk id="422" creationId="{E2C2502B-3F8D-FF02-5E47-1FA616ACA198}"/>
          </ac:spMkLst>
        </pc:spChg>
        <pc:spChg chg="add del">
          <ac:chgData name="Bullinger, Marvin" userId="5b54ce5a-dc89-476f-af33-5abd75d5b1e8" providerId="ADAL" clId="{43B71669-8A80-4333-9349-B258A9296B49}" dt="2024-02-27T16:53:49.050" v="3382"/>
          <ac:spMkLst>
            <pc:docMk/>
            <pc:sldMk cId="326362598" sldId="579"/>
            <ac:spMk id="423" creationId="{1B0A60CD-06F4-19C8-76FA-EB4D75F807C2}"/>
          </ac:spMkLst>
        </pc:spChg>
        <pc:spChg chg="add del">
          <ac:chgData name="Bullinger, Marvin" userId="5b54ce5a-dc89-476f-af33-5abd75d5b1e8" providerId="ADAL" clId="{43B71669-8A80-4333-9349-B258A9296B49}" dt="2024-02-27T16:53:49.050" v="3382"/>
          <ac:spMkLst>
            <pc:docMk/>
            <pc:sldMk cId="326362598" sldId="579"/>
            <ac:spMk id="424" creationId="{951936A6-7986-AB10-BEA4-D20551D17B1C}"/>
          </ac:spMkLst>
        </pc:spChg>
        <pc:spChg chg="add del">
          <ac:chgData name="Bullinger, Marvin" userId="5b54ce5a-dc89-476f-af33-5abd75d5b1e8" providerId="ADAL" clId="{43B71669-8A80-4333-9349-B258A9296B49}" dt="2024-02-27T16:53:49.050" v="3382"/>
          <ac:spMkLst>
            <pc:docMk/>
            <pc:sldMk cId="326362598" sldId="579"/>
            <ac:spMk id="425" creationId="{E8FF83B1-BD85-28DB-5532-0851614F7743}"/>
          </ac:spMkLst>
        </pc:spChg>
        <pc:spChg chg="add del">
          <ac:chgData name="Bullinger, Marvin" userId="5b54ce5a-dc89-476f-af33-5abd75d5b1e8" providerId="ADAL" clId="{43B71669-8A80-4333-9349-B258A9296B49}" dt="2024-02-27T16:53:49.050" v="3382"/>
          <ac:spMkLst>
            <pc:docMk/>
            <pc:sldMk cId="326362598" sldId="579"/>
            <ac:spMk id="426" creationId="{6F0E89D4-4A1A-F192-5EA4-E7B206F62D1A}"/>
          </ac:spMkLst>
        </pc:spChg>
        <pc:spChg chg="add del">
          <ac:chgData name="Bullinger, Marvin" userId="5b54ce5a-dc89-476f-af33-5abd75d5b1e8" providerId="ADAL" clId="{43B71669-8A80-4333-9349-B258A9296B49}" dt="2024-02-27T16:53:49.050" v="3382"/>
          <ac:spMkLst>
            <pc:docMk/>
            <pc:sldMk cId="326362598" sldId="579"/>
            <ac:spMk id="427" creationId="{495B6E5A-301E-4B09-ED81-9F635F34916C}"/>
          </ac:spMkLst>
        </pc:spChg>
        <pc:spChg chg="add del">
          <ac:chgData name="Bullinger, Marvin" userId="5b54ce5a-dc89-476f-af33-5abd75d5b1e8" providerId="ADAL" clId="{43B71669-8A80-4333-9349-B258A9296B49}" dt="2024-02-27T16:53:49.050" v="3382"/>
          <ac:spMkLst>
            <pc:docMk/>
            <pc:sldMk cId="326362598" sldId="579"/>
            <ac:spMk id="428" creationId="{B8B84442-D0AE-77BF-26F5-361474F92412}"/>
          </ac:spMkLst>
        </pc:spChg>
        <pc:spChg chg="add del">
          <ac:chgData name="Bullinger, Marvin" userId="5b54ce5a-dc89-476f-af33-5abd75d5b1e8" providerId="ADAL" clId="{43B71669-8A80-4333-9349-B258A9296B49}" dt="2024-02-27T16:53:49.050" v="3382"/>
          <ac:spMkLst>
            <pc:docMk/>
            <pc:sldMk cId="326362598" sldId="579"/>
            <ac:spMk id="429" creationId="{F4C5A830-1E53-C707-2F6F-7DC9EE138B9C}"/>
          </ac:spMkLst>
        </pc:spChg>
        <pc:spChg chg="add del">
          <ac:chgData name="Bullinger, Marvin" userId="5b54ce5a-dc89-476f-af33-5abd75d5b1e8" providerId="ADAL" clId="{43B71669-8A80-4333-9349-B258A9296B49}" dt="2024-02-27T16:53:49.050" v="3382"/>
          <ac:spMkLst>
            <pc:docMk/>
            <pc:sldMk cId="326362598" sldId="579"/>
            <ac:spMk id="430" creationId="{604C8BA0-76B1-395E-3447-EB17D1DB8CFB}"/>
          </ac:spMkLst>
        </pc:spChg>
        <pc:spChg chg="add del">
          <ac:chgData name="Bullinger, Marvin" userId="5b54ce5a-dc89-476f-af33-5abd75d5b1e8" providerId="ADAL" clId="{43B71669-8A80-4333-9349-B258A9296B49}" dt="2024-02-27T16:53:49.050" v="3382"/>
          <ac:spMkLst>
            <pc:docMk/>
            <pc:sldMk cId="326362598" sldId="579"/>
            <ac:spMk id="431" creationId="{81FC6C23-1EC9-C9CC-7C73-BC0F8E1F9CBD}"/>
          </ac:spMkLst>
        </pc:spChg>
        <pc:spChg chg="add del">
          <ac:chgData name="Bullinger, Marvin" userId="5b54ce5a-dc89-476f-af33-5abd75d5b1e8" providerId="ADAL" clId="{43B71669-8A80-4333-9349-B258A9296B49}" dt="2024-02-27T16:53:49.050" v="3382"/>
          <ac:spMkLst>
            <pc:docMk/>
            <pc:sldMk cId="326362598" sldId="579"/>
            <ac:spMk id="432" creationId="{021AC4CD-A648-75B3-F413-D2999CFB2672}"/>
          </ac:spMkLst>
        </pc:spChg>
        <pc:spChg chg="add del">
          <ac:chgData name="Bullinger, Marvin" userId="5b54ce5a-dc89-476f-af33-5abd75d5b1e8" providerId="ADAL" clId="{43B71669-8A80-4333-9349-B258A9296B49}" dt="2024-02-27T16:53:49.050" v="3382"/>
          <ac:spMkLst>
            <pc:docMk/>
            <pc:sldMk cId="326362598" sldId="579"/>
            <ac:spMk id="433" creationId="{5B463CB4-C675-9F69-D7AB-82435670BA95}"/>
          </ac:spMkLst>
        </pc:spChg>
        <pc:spChg chg="add del">
          <ac:chgData name="Bullinger, Marvin" userId="5b54ce5a-dc89-476f-af33-5abd75d5b1e8" providerId="ADAL" clId="{43B71669-8A80-4333-9349-B258A9296B49}" dt="2024-02-27T16:53:49.050" v="3382"/>
          <ac:spMkLst>
            <pc:docMk/>
            <pc:sldMk cId="326362598" sldId="579"/>
            <ac:spMk id="434" creationId="{59D5BB7E-5751-17EA-FE33-96811996D672}"/>
          </ac:spMkLst>
        </pc:spChg>
        <pc:spChg chg="add del">
          <ac:chgData name="Bullinger, Marvin" userId="5b54ce5a-dc89-476f-af33-5abd75d5b1e8" providerId="ADAL" clId="{43B71669-8A80-4333-9349-B258A9296B49}" dt="2024-02-27T16:53:49.050" v="3382"/>
          <ac:spMkLst>
            <pc:docMk/>
            <pc:sldMk cId="326362598" sldId="579"/>
            <ac:spMk id="435" creationId="{0BC6AEA0-0658-7B10-B8C9-4BE8A87EFA33}"/>
          </ac:spMkLst>
        </pc:spChg>
        <pc:spChg chg="add del">
          <ac:chgData name="Bullinger, Marvin" userId="5b54ce5a-dc89-476f-af33-5abd75d5b1e8" providerId="ADAL" clId="{43B71669-8A80-4333-9349-B258A9296B49}" dt="2024-02-27T16:53:49.050" v="3382"/>
          <ac:spMkLst>
            <pc:docMk/>
            <pc:sldMk cId="326362598" sldId="579"/>
            <ac:spMk id="436" creationId="{E551F9E2-E72E-BAA3-C343-EB4499A8AD6C}"/>
          </ac:spMkLst>
        </pc:spChg>
        <pc:spChg chg="add del">
          <ac:chgData name="Bullinger, Marvin" userId="5b54ce5a-dc89-476f-af33-5abd75d5b1e8" providerId="ADAL" clId="{43B71669-8A80-4333-9349-B258A9296B49}" dt="2024-02-27T16:53:49.050" v="3382"/>
          <ac:spMkLst>
            <pc:docMk/>
            <pc:sldMk cId="326362598" sldId="579"/>
            <ac:spMk id="437" creationId="{E55427B6-F6CE-4EE1-8AB6-7C123E5469AC}"/>
          </ac:spMkLst>
        </pc:spChg>
        <pc:spChg chg="add del">
          <ac:chgData name="Bullinger, Marvin" userId="5b54ce5a-dc89-476f-af33-5abd75d5b1e8" providerId="ADAL" clId="{43B71669-8A80-4333-9349-B258A9296B49}" dt="2024-02-27T16:53:49.050" v="3382"/>
          <ac:spMkLst>
            <pc:docMk/>
            <pc:sldMk cId="326362598" sldId="579"/>
            <ac:spMk id="438" creationId="{8C7B3E18-396F-519F-2487-1736915308B7}"/>
          </ac:spMkLst>
        </pc:spChg>
        <pc:spChg chg="add del">
          <ac:chgData name="Bullinger, Marvin" userId="5b54ce5a-dc89-476f-af33-5abd75d5b1e8" providerId="ADAL" clId="{43B71669-8A80-4333-9349-B258A9296B49}" dt="2024-02-27T16:53:49.050" v="3382"/>
          <ac:spMkLst>
            <pc:docMk/>
            <pc:sldMk cId="326362598" sldId="579"/>
            <ac:spMk id="439" creationId="{B577CC9F-2D58-3A96-8B7A-9E21D149F81C}"/>
          </ac:spMkLst>
        </pc:spChg>
        <pc:spChg chg="add del">
          <ac:chgData name="Bullinger, Marvin" userId="5b54ce5a-dc89-476f-af33-5abd75d5b1e8" providerId="ADAL" clId="{43B71669-8A80-4333-9349-B258A9296B49}" dt="2024-02-27T16:53:49.050" v="3382"/>
          <ac:spMkLst>
            <pc:docMk/>
            <pc:sldMk cId="326362598" sldId="579"/>
            <ac:spMk id="440" creationId="{EBAFAD0D-8FEF-E590-2030-93FBF93AD454}"/>
          </ac:spMkLst>
        </pc:spChg>
        <pc:spChg chg="add del">
          <ac:chgData name="Bullinger, Marvin" userId="5b54ce5a-dc89-476f-af33-5abd75d5b1e8" providerId="ADAL" clId="{43B71669-8A80-4333-9349-B258A9296B49}" dt="2024-02-27T16:53:49.050" v="3382"/>
          <ac:spMkLst>
            <pc:docMk/>
            <pc:sldMk cId="326362598" sldId="579"/>
            <ac:spMk id="441" creationId="{D375A87D-79C4-E1C3-B4CF-BFF9ADD79650}"/>
          </ac:spMkLst>
        </pc:spChg>
        <pc:spChg chg="add del">
          <ac:chgData name="Bullinger, Marvin" userId="5b54ce5a-dc89-476f-af33-5abd75d5b1e8" providerId="ADAL" clId="{43B71669-8A80-4333-9349-B258A9296B49}" dt="2024-02-27T16:53:49.050" v="3382"/>
          <ac:spMkLst>
            <pc:docMk/>
            <pc:sldMk cId="326362598" sldId="579"/>
            <ac:spMk id="442" creationId="{C6ECDEF3-4ADD-56D7-5B9F-08C7F6DA438B}"/>
          </ac:spMkLst>
        </pc:spChg>
        <pc:spChg chg="add del">
          <ac:chgData name="Bullinger, Marvin" userId="5b54ce5a-dc89-476f-af33-5abd75d5b1e8" providerId="ADAL" clId="{43B71669-8A80-4333-9349-B258A9296B49}" dt="2024-02-27T16:53:49.050" v="3382"/>
          <ac:spMkLst>
            <pc:docMk/>
            <pc:sldMk cId="326362598" sldId="579"/>
            <ac:spMk id="443" creationId="{7BD5C8F2-3D51-4027-2131-7E3FF94FDF8A}"/>
          </ac:spMkLst>
        </pc:spChg>
        <pc:spChg chg="add del">
          <ac:chgData name="Bullinger, Marvin" userId="5b54ce5a-dc89-476f-af33-5abd75d5b1e8" providerId="ADAL" clId="{43B71669-8A80-4333-9349-B258A9296B49}" dt="2024-02-27T16:53:49.050" v="3382"/>
          <ac:spMkLst>
            <pc:docMk/>
            <pc:sldMk cId="326362598" sldId="579"/>
            <ac:spMk id="444" creationId="{9889248A-E088-52B9-F970-CA2813C66F24}"/>
          </ac:spMkLst>
        </pc:spChg>
        <pc:spChg chg="add del">
          <ac:chgData name="Bullinger, Marvin" userId="5b54ce5a-dc89-476f-af33-5abd75d5b1e8" providerId="ADAL" clId="{43B71669-8A80-4333-9349-B258A9296B49}" dt="2024-02-27T16:53:49.050" v="3382"/>
          <ac:spMkLst>
            <pc:docMk/>
            <pc:sldMk cId="326362598" sldId="579"/>
            <ac:spMk id="445" creationId="{DC728A39-0530-2127-24BE-3E16CBFD5AF3}"/>
          </ac:spMkLst>
        </pc:spChg>
        <pc:spChg chg="add del">
          <ac:chgData name="Bullinger, Marvin" userId="5b54ce5a-dc89-476f-af33-5abd75d5b1e8" providerId="ADAL" clId="{43B71669-8A80-4333-9349-B258A9296B49}" dt="2024-02-27T16:53:49.050" v="3382"/>
          <ac:spMkLst>
            <pc:docMk/>
            <pc:sldMk cId="326362598" sldId="579"/>
            <ac:spMk id="446" creationId="{DBF30688-04B8-6D17-11DB-DB982D893E39}"/>
          </ac:spMkLst>
        </pc:spChg>
        <pc:spChg chg="add del">
          <ac:chgData name="Bullinger, Marvin" userId="5b54ce5a-dc89-476f-af33-5abd75d5b1e8" providerId="ADAL" clId="{43B71669-8A80-4333-9349-B258A9296B49}" dt="2024-02-27T16:53:49.050" v="3382"/>
          <ac:spMkLst>
            <pc:docMk/>
            <pc:sldMk cId="326362598" sldId="579"/>
            <ac:spMk id="447" creationId="{3419AD63-1A70-FA05-C274-ABF4B3F807F3}"/>
          </ac:spMkLst>
        </pc:spChg>
        <pc:spChg chg="add del">
          <ac:chgData name="Bullinger, Marvin" userId="5b54ce5a-dc89-476f-af33-5abd75d5b1e8" providerId="ADAL" clId="{43B71669-8A80-4333-9349-B258A9296B49}" dt="2024-02-27T16:53:49.050" v="3382"/>
          <ac:spMkLst>
            <pc:docMk/>
            <pc:sldMk cId="326362598" sldId="579"/>
            <ac:spMk id="448" creationId="{FD2AC78C-4237-6E6D-C3E7-121331F3ECF2}"/>
          </ac:spMkLst>
        </pc:spChg>
        <pc:spChg chg="add del">
          <ac:chgData name="Bullinger, Marvin" userId="5b54ce5a-dc89-476f-af33-5abd75d5b1e8" providerId="ADAL" clId="{43B71669-8A80-4333-9349-B258A9296B49}" dt="2024-02-27T16:53:49.050" v="3382"/>
          <ac:spMkLst>
            <pc:docMk/>
            <pc:sldMk cId="326362598" sldId="579"/>
            <ac:spMk id="449" creationId="{3DF30003-FC73-A6B2-6DCB-12C68DAFDC21}"/>
          </ac:spMkLst>
        </pc:spChg>
        <pc:spChg chg="add mod">
          <ac:chgData name="Bullinger, Marvin" userId="5b54ce5a-dc89-476f-af33-5abd75d5b1e8" providerId="ADAL" clId="{43B71669-8A80-4333-9349-B258A9296B49}" dt="2024-02-27T17:26:23.130" v="4498" actId="478"/>
          <ac:spMkLst>
            <pc:docMk/>
            <pc:sldMk cId="326362598" sldId="579"/>
            <ac:spMk id="449" creationId="{90CB7F5A-0EFF-560A-7CEA-82E9384EDA9D}"/>
          </ac:spMkLst>
        </pc:spChg>
        <pc:spChg chg="add del">
          <ac:chgData name="Bullinger, Marvin" userId="5b54ce5a-dc89-476f-af33-5abd75d5b1e8" providerId="ADAL" clId="{43B71669-8A80-4333-9349-B258A9296B49}" dt="2024-02-27T16:53:49.050" v="3382"/>
          <ac:spMkLst>
            <pc:docMk/>
            <pc:sldMk cId="326362598" sldId="579"/>
            <ac:spMk id="450" creationId="{A3AFAB80-1B47-0113-D8E1-0DC7476968CD}"/>
          </ac:spMkLst>
        </pc:spChg>
        <pc:spChg chg="del mod ord replST">
          <ac:chgData name="Bullinger, Marvin" userId="5b54ce5a-dc89-476f-af33-5abd75d5b1e8" providerId="ADAL" clId="{43B71669-8A80-4333-9349-B258A9296B49}" dt="2024-02-27T17:26:59.122" v="5826" actId="478"/>
          <ac:spMkLst>
            <pc:docMk/>
            <pc:sldMk cId="326362598" sldId="579"/>
            <ac:spMk id="450" creationId="{BCC80A8C-104E-5212-E1E7-ED8859549955}"/>
          </ac:spMkLst>
        </pc:spChg>
        <pc:spChg chg="add del">
          <ac:chgData name="Bullinger, Marvin" userId="5b54ce5a-dc89-476f-af33-5abd75d5b1e8" providerId="ADAL" clId="{43B71669-8A80-4333-9349-B258A9296B49}" dt="2024-02-27T16:53:49.050" v="3382"/>
          <ac:spMkLst>
            <pc:docMk/>
            <pc:sldMk cId="326362598" sldId="579"/>
            <ac:spMk id="451" creationId="{5890911A-50D3-884C-93EC-C7E773D98904}"/>
          </ac:spMkLst>
        </pc:spChg>
        <pc:spChg chg="del">
          <ac:chgData name="Bullinger, Marvin" userId="5b54ce5a-dc89-476f-af33-5abd75d5b1e8" providerId="ADAL" clId="{43B71669-8A80-4333-9349-B258A9296B49}" dt="2024-02-27T17:26:23.164" v="4535" actId="478"/>
          <ac:spMkLst>
            <pc:docMk/>
            <pc:sldMk cId="326362598" sldId="579"/>
            <ac:spMk id="451" creationId="{CD38E16C-E004-D67E-1447-924931836241}"/>
          </ac:spMkLst>
        </pc:spChg>
        <pc:spChg chg="add del">
          <ac:chgData name="Bullinger, Marvin" userId="5b54ce5a-dc89-476f-af33-5abd75d5b1e8" providerId="ADAL" clId="{43B71669-8A80-4333-9349-B258A9296B49}" dt="2024-02-27T16:53:49.050" v="3382"/>
          <ac:spMkLst>
            <pc:docMk/>
            <pc:sldMk cId="326362598" sldId="579"/>
            <ac:spMk id="452" creationId="{4E7DFABB-9736-DD46-6FE9-0DCE9FC96B4A}"/>
          </ac:spMkLst>
        </pc:spChg>
        <pc:spChg chg="del">
          <ac:chgData name="Bullinger, Marvin" userId="5b54ce5a-dc89-476f-af33-5abd75d5b1e8" providerId="ADAL" clId="{43B71669-8A80-4333-9349-B258A9296B49}" dt="2024-02-27T17:26:23.164" v="4534" actId="478"/>
          <ac:spMkLst>
            <pc:docMk/>
            <pc:sldMk cId="326362598" sldId="579"/>
            <ac:spMk id="452" creationId="{FD27732C-64F2-A6DF-94D9-1EC8ED0E1142}"/>
          </ac:spMkLst>
        </pc:spChg>
        <pc:spChg chg="replST delST">
          <ac:chgData name="Bullinger, Marvin" userId="5b54ce5a-dc89-476f-af33-5abd75d5b1e8" providerId="ADAL" clId="{43B71669-8A80-4333-9349-B258A9296B49}" dt="2024-02-27T16:53:48.879" v="2909"/>
          <ac:spMkLst>
            <pc:docMk/>
            <pc:sldMk cId="326362598" sldId="579"/>
            <ac:spMk id="453" creationId="{38A7F08E-22D7-4081-DF0A-CA0500BFD5E3}"/>
          </ac:spMkLst>
        </pc:spChg>
        <pc:spChg chg="del">
          <ac:chgData name="Bullinger, Marvin" userId="5b54ce5a-dc89-476f-af33-5abd75d5b1e8" providerId="ADAL" clId="{43B71669-8A80-4333-9349-B258A9296B49}" dt="2024-02-27T17:26:23.164" v="4533" actId="478"/>
          <ac:spMkLst>
            <pc:docMk/>
            <pc:sldMk cId="326362598" sldId="579"/>
            <ac:spMk id="453" creationId="{4BB9AF53-DD8E-061F-FB73-808F59B810BC}"/>
          </ac:spMkLst>
        </pc:spChg>
        <pc:spChg chg="replST delST">
          <ac:chgData name="Bullinger, Marvin" userId="5b54ce5a-dc89-476f-af33-5abd75d5b1e8" providerId="ADAL" clId="{43B71669-8A80-4333-9349-B258A9296B49}" dt="2024-02-27T16:53:48.879" v="2906"/>
          <ac:spMkLst>
            <pc:docMk/>
            <pc:sldMk cId="326362598" sldId="579"/>
            <ac:spMk id="454" creationId="{728906EF-6AA7-5223-B8EC-2B64629EF579}"/>
          </ac:spMkLst>
        </pc:spChg>
        <pc:spChg chg="del">
          <ac:chgData name="Bullinger, Marvin" userId="5b54ce5a-dc89-476f-af33-5abd75d5b1e8" providerId="ADAL" clId="{43B71669-8A80-4333-9349-B258A9296B49}" dt="2024-02-27T17:26:23.164" v="4532" actId="478"/>
          <ac:spMkLst>
            <pc:docMk/>
            <pc:sldMk cId="326362598" sldId="579"/>
            <ac:spMk id="454" creationId="{D13431CC-5377-62F5-2648-1CC2446EB1A9}"/>
          </ac:spMkLst>
        </pc:spChg>
        <pc:spChg chg="del">
          <ac:chgData name="Bullinger, Marvin" userId="5b54ce5a-dc89-476f-af33-5abd75d5b1e8" providerId="ADAL" clId="{43B71669-8A80-4333-9349-B258A9296B49}" dt="2024-02-27T17:26:23.164" v="4531" actId="478"/>
          <ac:spMkLst>
            <pc:docMk/>
            <pc:sldMk cId="326362598" sldId="579"/>
            <ac:spMk id="455" creationId="{1ACAAD71-9C6B-DC58-F659-C07AECD623AC}"/>
          </ac:spMkLst>
        </pc:spChg>
        <pc:spChg chg="del">
          <ac:chgData name="Bullinger, Marvin" userId="5b54ce5a-dc89-476f-af33-5abd75d5b1e8" providerId="ADAL" clId="{43B71669-8A80-4333-9349-B258A9296B49}" dt="2024-02-27T17:26:23.164" v="4530" actId="478"/>
          <ac:spMkLst>
            <pc:docMk/>
            <pc:sldMk cId="326362598" sldId="579"/>
            <ac:spMk id="456" creationId="{A02336E6-9025-5778-E930-5B3106178BBB}"/>
          </ac:spMkLst>
        </pc:spChg>
        <pc:spChg chg="replST delST">
          <ac:chgData name="Bullinger, Marvin" userId="5b54ce5a-dc89-476f-af33-5abd75d5b1e8" providerId="ADAL" clId="{43B71669-8A80-4333-9349-B258A9296B49}" dt="2024-02-27T16:53:48.879" v="2902"/>
          <ac:spMkLst>
            <pc:docMk/>
            <pc:sldMk cId="326362598" sldId="579"/>
            <ac:spMk id="456" creationId="{E3003001-39AE-C252-D316-CC8215929CC6}"/>
          </ac:spMkLst>
        </pc:spChg>
        <pc:spChg chg="replST delST">
          <ac:chgData name="Bullinger, Marvin" userId="5b54ce5a-dc89-476f-af33-5abd75d5b1e8" providerId="ADAL" clId="{43B71669-8A80-4333-9349-B258A9296B49}" dt="2024-02-27T16:53:48.879" v="2899"/>
          <ac:spMkLst>
            <pc:docMk/>
            <pc:sldMk cId="326362598" sldId="579"/>
            <ac:spMk id="457" creationId="{75C14006-0033-9554-8E4A-94931F3DAD9B}"/>
          </ac:spMkLst>
        </pc:spChg>
        <pc:spChg chg="del">
          <ac:chgData name="Bullinger, Marvin" userId="5b54ce5a-dc89-476f-af33-5abd75d5b1e8" providerId="ADAL" clId="{43B71669-8A80-4333-9349-B258A9296B49}" dt="2024-02-27T17:26:23.164" v="4527" actId="478"/>
          <ac:spMkLst>
            <pc:docMk/>
            <pc:sldMk cId="326362598" sldId="579"/>
            <ac:spMk id="457" creationId="{ED30F1B6-4031-F50D-481D-CC3E04277756}"/>
          </ac:spMkLst>
        </pc:spChg>
        <pc:spChg chg="del">
          <ac:chgData name="Bullinger, Marvin" userId="5b54ce5a-dc89-476f-af33-5abd75d5b1e8" providerId="ADAL" clId="{43B71669-8A80-4333-9349-B258A9296B49}" dt="2024-02-27T17:26:23.164" v="4526" actId="478"/>
          <ac:spMkLst>
            <pc:docMk/>
            <pc:sldMk cId="326362598" sldId="579"/>
            <ac:spMk id="458" creationId="{25975581-C906-0713-73F6-B13CEC95CF7C}"/>
          </ac:spMkLst>
        </pc:spChg>
        <pc:spChg chg="mod ord replST delST">
          <ac:chgData name="Bullinger, Marvin" userId="5b54ce5a-dc89-476f-af33-5abd75d5b1e8" providerId="ADAL" clId="{43B71669-8A80-4333-9349-B258A9296B49}" dt="2024-02-27T16:53:49.050" v="3382"/>
          <ac:spMkLst>
            <pc:docMk/>
            <pc:sldMk cId="326362598" sldId="579"/>
            <ac:spMk id="458" creationId="{A9B88CD1-566E-9F8A-16ED-57B50E79FEBD}"/>
          </ac:spMkLst>
        </pc:spChg>
        <pc:spChg chg="replST delST">
          <ac:chgData name="Bullinger, Marvin" userId="5b54ce5a-dc89-476f-af33-5abd75d5b1e8" providerId="ADAL" clId="{43B71669-8A80-4333-9349-B258A9296B49}" dt="2024-02-27T16:53:48.879" v="2895"/>
          <ac:spMkLst>
            <pc:docMk/>
            <pc:sldMk cId="326362598" sldId="579"/>
            <ac:spMk id="459" creationId="{2801C9DD-C2BB-C478-11D4-5F21B04AC167}"/>
          </ac:spMkLst>
        </pc:spChg>
        <pc:spChg chg="del">
          <ac:chgData name="Bullinger, Marvin" userId="5b54ce5a-dc89-476f-af33-5abd75d5b1e8" providerId="ADAL" clId="{43B71669-8A80-4333-9349-B258A9296B49}" dt="2024-02-27T17:26:23.164" v="4525" actId="478"/>
          <ac:spMkLst>
            <pc:docMk/>
            <pc:sldMk cId="326362598" sldId="579"/>
            <ac:spMk id="459" creationId="{2DA17B09-644E-5181-D9F2-86FAB74B6C1D}"/>
          </ac:spMkLst>
        </pc:spChg>
        <pc:spChg chg="del">
          <ac:chgData name="Bullinger, Marvin" userId="5b54ce5a-dc89-476f-af33-5abd75d5b1e8" providerId="ADAL" clId="{43B71669-8A80-4333-9349-B258A9296B49}" dt="2024-02-27T17:26:23.164" v="4524" actId="478"/>
          <ac:spMkLst>
            <pc:docMk/>
            <pc:sldMk cId="326362598" sldId="579"/>
            <ac:spMk id="460" creationId="{6C634BEC-D2B4-BBC7-9086-846F9D020B79}"/>
          </ac:spMkLst>
        </pc:spChg>
        <pc:spChg chg="replST delST">
          <ac:chgData name="Bullinger, Marvin" userId="5b54ce5a-dc89-476f-af33-5abd75d5b1e8" providerId="ADAL" clId="{43B71669-8A80-4333-9349-B258A9296B49}" dt="2024-02-27T16:53:48.879" v="2892"/>
          <ac:spMkLst>
            <pc:docMk/>
            <pc:sldMk cId="326362598" sldId="579"/>
            <ac:spMk id="460" creationId="{CCBA219F-9229-9545-97E7-4214C7CB52D6}"/>
          </ac:spMkLst>
        </pc:spChg>
        <pc:spChg chg="del">
          <ac:chgData name="Bullinger, Marvin" userId="5b54ce5a-dc89-476f-af33-5abd75d5b1e8" providerId="ADAL" clId="{43B71669-8A80-4333-9349-B258A9296B49}" dt="2024-02-27T17:26:23.164" v="4523" actId="478"/>
          <ac:spMkLst>
            <pc:docMk/>
            <pc:sldMk cId="326362598" sldId="579"/>
            <ac:spMk id="461" creationId="{2B4E24FA-1004-4888-1B43-EF91377A7FB9}"/>
          </ac:spMkLst>
        </pc:spChg>
        <pc:spChg chg="replST delST">
          <ac:chgData name="Bullinger, Marvin" userId="5b54ce5a-dc89-476f-af33-5abd75d5b1e8" providerId="ADAL" clId="{43B71669-8A80-4333-9349-B258A9296B49}" dt="2024-02-27T16:53:48.864" v="2888"/>
          <ac:spMkLst>
            <pc:docMk/>
            <pc:sldMk cId="326362598" sldId="579"/>
            <ac:spMk id="462" creationId="{D37E4622-49E9-E850-EC30-28DB388CF467}"/>
          </ac:spMkLst>
        </pc:spChg>
        <pc:spChg chg="del">
          <ac:chgData name="Bullinger, Marvin" userId="5b54ce5a-dc89-476f-af33-5abd75d5b1e8" providerId="ADAL" clId="{43B71669-8A80-4333-9349-B258A9296B49}" dt="2024-02-27T17:26:23.164" v="4522" actId="478"/>
          <ac:spMkLst>
            <pc:docMk/>
            <pc:sldMk cId="326362598" sldId="579"/>
            <ac:spMk id="462" creationId="{EDAAD9E9-47CA-3C95-868C-E3E047954E8C}"/>
          </ac:spMkLst>
        </pc:spChg>
        <pc:spChg chg="replST delST">
          <ac:chgData name="Bullinger, Marvin" userId="5b54ce5a-dc89-476f-af33-5abd75d5b1e8" providerId="ADAL" clId="{43B71669-8A80-4333-9349-B258A9296B49}" dt="2024-02-27T16:53:48.864" v="2885"/>
          <ac:spMkLst>
            <pc:docMk/>
            <pc:sldMk cId="326362598" sldId="579"/>
            <ac:spMk id="463" creationId="{44B43D52-B923-098A-8C52-1457CB578DA6}"/>
          </ac:spMkLst>
        </pc:spChg>
        <pc:spChg chg="del">
          <ac:chgData name="Bullinger, Marvin" userId="5b54ce5a-dc89-476f-af33-5abd75d5b1e8" providerId="ADAL" clId="{43B71669-8A80-4333-9349-B258A9296B49}" dt="2024-02-27T17:26:23.164" v="4543" actId="478"/>
          <ac:spMkLst>
            <pc:docMk/>
            <pc:sldMk cId="326362598" sldId="579"/>
            <ac:spMk id="463" creationId="{B4D35FE1-4F6F-A9F4-59EE-00606CB8B47B}"/>
          </ac:spMkLst>
        </pc:spChg>
        <pc:spChg chg="del">
          <ac:chgData name="Bullinger, Marvin" userId="5b54ce5a-dc89-476f-af33-5abd75d5b1e8" providerId="ADAL" clId="{43B71669-8A80-4333-9349-B258A9296B49}" dt="2024-02-27T17:26:23.164" v="4542" actId="478"/>
          <ac:spMkLst>
            <pc:docMk/>
            <pc:sldMk cId="326362598" sldId="579"/>
            <ac:spMk id="464" creationId="{37B49D05-E9AC-BD5C-DE36-37D350C19E14}"/>
          </ac:spMkLst>
        </pc:spChg>
        <pc:spChg chg="replST delST">
          <ac:chgData name="Bullinger, Marvin" userId="5b54ce5a-dc89-476f-af33-5abd75d5b1e8" providerId="ADAL" clId="{43B71669-8A80-4333-9349-B258A9296B49}" dt="2024-02-27T16:53:48.864" v="2881"/>
          <ac:spMkLst>
            <pc:docMk/>
            <pc:sldMk cId="326362598" sldId="579"/>
            <ac:spMk id="465" creationId="{5B892AA1-CF97-5163-C2DA-16DC37D6DB2D}"/>
          </ac:spMkLst>
        </pc:spChg>
        <pc:spChg chg="del">
          <ac:chgData name="Bullinger, Marvin" userId="5b54ce5a-dc89-476f-af33-5abd75d5b1e8" providerId="ADAL" clId="{43B71669-8A80-4333-9349-B258A9296B49}" dt="2024-02-27T17:26:23.164" v="4541" actId="478"/>
          <ac:spMkLst>
            <pc:docMk/>
            <pc:sldMk cId="326362598" sldId="579"/>
            <ac:spMk id="465" creationId="{EB45E792-1297-8EF2-995B-346ADC6140EF}"/>
          </ac:spMkLst>
        </pc:spChg>
        <pc:spChg chg="replST delST">
          <ac:chgData name="Bullinger, Marvin" userId="5b54ce5a-dc89-476f-af33-5abd75d5b1e8" providerId="ADAL" clId="{43B71669-8A80-4333-9349-B258A9296B49}" dt="2024-02-27T16:53:48.864" v="2878"/>
          <ac:spMkLst>
            <pc:docMk/>
            <pc:sldMk cId="326362598" sldId="579"/>
            <ac:spMk id="466" creationId="{27AFF5E0-1A34-B77E-4164-A2608559EC09}"/>
          </ac:spMkLst>
        </pc:spChg>
        <pc:spChg chg="del">
          <ac:chgData name="Bullinger, Marvin" userId="5b54ce5a-dc89-476f-af33-5abd75d5b1e8" providerId="ADAL" clId="{43B71669-8A80-4333-9349-B258A9296B49}" dt="2024-02-27T17:26:23.164" v="4540" actId="478"/>
          <ac:spMkLst>
            <pc:docMk/>
            <pc:sldMk cId="326362598" sldId="579"/>
            <ac:spMk id="466" creationId="{55459B58-6C8C-7500-1609-FD5313C182E2}"/>
          </ac:spMkLst>
        </pc:spChg>
        <pc:spChg chg="del">
          <ac:chgData name="Bullinger, Marvin" userId="5b54ce5a-dc89-476f-af33-5abd75d5b1e8" providerId="ADAL" clId="{43B71669-8A80-4333-9349-B258A9296B49}" dt="2024-02-27T17:26:23.164" v="4539" actId="478"/>
          <ac:spMkLst>
            <pc:docMk/>
            <pc:sldMk cId="326362598" sldId="579"/>
            <ac:spMk id="467" creationId="{D61AD8FE-F4D4-D23D-EE83-4B81C6261276}"/>
          </ac:spMkLst>
        </pc:spChg>
        <pc:spChg chg="del">
          <ac:chgData name="Bullinger, Marvin" userId="5b54ce5a-dc89-476f-af33-5abd75d5b1e8" providerId="ADAL" clId="{43B71669-8A80-4333-9349-B258A9296B49}" dt="2024-02-27T17:26:23.164" v="4538" actId="478"/>
          <ac:spMkLst>
            <pc:docMk/>
            <pc:sldMk cId="326362598" sldId="579"/>
            <ac:spMk id="468" creationId="{05795AD2-97D2-DAA0-69E8-C3E720A7AB8E}"/>
          </ac:spMkLst>
        </pc:spChg>
        <pc:spChg chg="replST delST">
          <ac:chgData name="Bullinger, Marvin" userId="5b54ce5a-dc89-476f-af33-5abd75d5b1e8" providerId="ADAL" clId="{43B71669-8A80-4333-9349-B258A9296B49}" dt="2024-02-27T16:53:48.864" v="2874"/>
          <ac:spMkLst>
            <pc:docMk/>
            <pc:sldMk cId="326362598" sldId="579"/>
            <ac:spMk id="468" creationId="{C50959CC-F581-DDAE-2AAB-09857327B2FB}"/>
          </ac:spMkLst>
        </pc:spChg>
        <pc:spChg chg="del">
          <ac:chgData name="Bullinger, Marvin" userId="5b54ce5a-dc89-476f-af33-5abd75d5b1e8" providerId="ADAL" clId="{43B71669-8A80-4333-9349-B258A9296B49}" dt="2024-02-27T17:26:23.164" v="4537" actId="478"/>
          <ac:spMkLst>
            <pc:docMk/>
            <pc:sldMk cId="326362598" sldId="579"/>
            <ac:spMk id="469" creationId="{43F4522B-3D58-9C15-2ADA-ABC51683D6DA}"/>
          </ac:spMkLst>
        </pc:spChg>
        <pc:spChg chg="replST delST">
          <ac:chgData name="Bullinger, Marvin" userId="5b54ce5a-dc89-476f-af33-5abd75d5b1e8" providerId="ADAL" clId="{43B71669-8A80-4333-9349-B258A9296B49}" dt="2024-02-27T16:53:48.864" v="2871"/>
          <ac:spMkLst>
            <pc:docMk/>
            <pc:sldMk cId="326362598" sldId="579"/>
            <ac:spMk id="469" creationId="{A4543E1D-BE50-1D44-B7AD-4D7629FD3F9D}"/>
          </ac:spMkLst>
        </pc:spChg>
        <pc:spChg chg="del">
          <ac:chgData name="Bullinger, Marvin" userId="5b54ce5a-dc89-476f-af33-5abd75d5b1e8" providerId="ADAL" clId="{43B71669-8A80-4333-9349-B258A9296B49}" dt="2024-02-27T17:26:23.164" v="4536" actId="478"/>
          <ac:spMkLst>
            <pc:docMk/>
            <pc:sldMk cId="326362598" sldId="579"/>
            <ac:spMk id="470" creationId="{C34C0B57-0BE0-8A56-9A66-FF5A0173891E}"/>
          </ac:spMkLst>
        </pc:spChg>
        <pc:spChg chg="del">
          <ac:chgData name="Bullinger, Marvin" userId="5b54ce5a-dc89-476f-af33-5abd75d5b1e8" providerId="ADAL" clId="{43B71669-8A80-4333-9349-B258A9296B49}" dt="2024-02-27T17:26:23.164" v="4528" actId="478"/>
          <ac:spMkLst>
            <pc:docMk/>
            <pc:sldMk cId="326362598" sldId="579"/>
            <ac:spMk id="471" creationId="{D6EEA27C-CC68-FAD7-FB64-2DC629D29D6F}"/>
          </ac:spMkLst>
        </pc:spChg>
        <pc:spChg chg="del">
          <ac:chgData name="Bullinger, Marvin" userId="5b54ce5a-dc89-476f-af33-5abd75d5b1e8" providerId="ADAL" clId="{43B71669-8A80-4333-9349-B258A9296B49}" dt="2024-02-27T17:26:23.164" v="4521" actId="478"/>
          <ac:spMkLst>
            <pc:docMk/>
            <pc:sldMk cId="326362598" sldId="579"/>
            <ac:spMk id="472" creationId="{FF0E9EC4-D0BB-8A24-FD51-1580ECEC199E}"/>
          </ac:spMkLst>
        </pc:spChg>
        <pc:spChg chg="del">
          <ac:chgData name="Bullinger, Marvin" userId="5b54ce5a-dc89-476f-af33-5abd75d5b1e8" providerId="ADAL" clId="{43B71669-8A80-4333-9349-B258A9296B49}" dt="2024-02-27T17:26:23.164" v="4529" actId="478"/>
          <ac:spMkLst>
            <pc:docMk/>
            <pc:sldMk cId="326362598" sldId="579"/>
            <ac:spMk id="473" creationId="{CE083874-05A2-4D64-7584-5FCB316AD8D7}"/>
          </ac:spMkLst>
        </pc:spChg>
        <pc:spChg chg="del">
          <ac:chgData name="Bullinger, Marvin" userId="5b54ce5a-dc89-476f-af33-5abd75d5b1e8" providerId="ADAL" clId="{43B71669-8A80-4333-9349-B258A9296B49}" dt="2024-02-27T17:26:23.164" v="4520" actId="478"/>
          <ac:spMkLst>
            <pc:docMk/>
            <pc:sldMk cId="326362598" sldId="579"/>
            <ac:spMk id="474" creationId="{497EE4D8-9204-E12E-BB98-FD89021A33A9}"/>
          </ac:spMkLst>
        </pc:spChg>
        <pc:spChg chg="del">
          <ac:chgData name="Bullinger, Marvin" userId="5b54ce5a-dc89-476f-af33-5abd75d5b1e8" providerId="ADAL" clId="{43B71669-8A80-4333-9349-B258A9296B49}" dt="2024-02-27T17:26:23.153" v="4519" actId="478"/>
          <ac:spMkLst>
            <pc:docMk/>
            <pc:sldMk cId="326362598" sldId="579"/>
            <ac:spMk id="475" creationId="{16988FB1-021B-39A6-214F-DEB2DFCE4C26}"/>
          </ac:spMkLst>
        </pc:spChg>
        <pc:spChg chg="del">
          <ac:chgData name="Bullinger, Marvin" userId="5b54ce5a-dc89-476f-af33-5abd75d5b1e8" providerId="ADAL" clId="{43B71669-8A80-4333-9349-B258A9296B49}" dt="2024-02-27T17:26:23.153" v="4518" actId="478"/>
          <ac:spMkLst>
            <pc:docMk/>
            <pc:sldMk cId="326362598" sldId="579"/>
            <ac:spMk id="476" creationId="{04DD643D-5B83-A542-2AC1-71223D0E2A25}"/>
          </ac:spMkLst>
        </pc:spChg>
        <pc:spChg chg="del">
          <ac:chgData name="Bullinger, Marvin" userId="5b54ce5a-dc89-476f-af33-5abd75d5b1e8" providerId="ADAL" clId="{43B71669-8A80-4333-9349-B258A9296B49}" dt="2024-02-27T17:26:23.153" v="4517" actId="478"/>
          <ac:spMkLst>
            <pc:docMk/>
            <pc:sldMk cId="326362598" sldId="579"/>
            <ac:spMk id="477" creationId="{9073D114-0B01-D5FA-7EEC-C587DB9EE199}"/>
          </ac:spMkLst>
        </pc:spChg>
        <pc:spChg chg="del">
          <ac:chgData name="Bullinger, Marvin" userId="5b54ce5a-dc89-476f-af33-5abd75d5b1e8" providerId="ADAL" clId="{43B71669-8A80-4333-9349-B258A9296B49}" dt="2024-02-27T17:26:23.153" v="4516" actId="478"/>
          <ac:spMkLst>
            <pc:docMk/>
            <pc:sldMk cId="326362598" sldId="579"/>
            <ac:spMk id="478" creationId="{A80E3795-F1F6-979E-E89A-C738BCEEBC1C}"/>
          </ac:spMkLst>
        </pc:spChg>
        <pc:spChg chg="del">
          <ac:chgData name="Bullinger, Marvin" userId="5b54ce5a-dc89-476f-af33-5abd75d5b1e8" providerId="ADAL" clId="{43B71669-8A80-4333-9349-B258A9296B49}" dt="2024-02-27T17:26:23.153" v="4515" actId="478"/>
          <ac:spMkLst>
            <pc:docMk/>
            <pc:sldMk cId="326362598" sldId="579"/>
            <ac:spMk id="479" creationId="{620C99D2-FF3A-5C8D-A533-5AB7FFE82337}"/>
          </ac:spMkLst>
        </pc:spChg>
        <pc:spChg chg="del">
          <ac:chgData name="Bullinger, Marvin" userId="5b54ce5a-dc89-476f-af33-5abd75d5b1e8" providerId="ADAL" clId="{43B71669-8A80-4333-9349-B258A9296B49}" dt="2024-02-27T17:26:23.153" v="4514" actId="478"/>
          <ac:spMkLst>
            <pc:docMk/>
            <pc:sldMk cId="326362598" sldId="579"/>
            <ac:spMk id="480" creationId="{2A125DC6-9B04-5077-95A9-849104C4F4A5}"/>
          </ac:spMkLst>
        </pc:spChg>
        <pc:spChg chg="del">
          <ac:chgData name="Bullinger, Marvin" userId="5b54ce5a-dc89-476f-af33-5abd75d5b1e8" providerId="ADAL" clId="{43B71669-8A80-4333-9349-B258A9296B49}" dt="2024-02-27T17:26:23.153" v="4513" actId="478"/>
          <ac:spMkLst>
            <pc:docMk/>
            <pc:sldMk cId="326362598" sldId="579"/>
            <ac:spMk id="481" creationId="{A21C5CF1-47F8-66B8-D5C2-CC85523E4D26}"/>
          </ac:spMkLst>
        </pc:spChg>
        <pc:spChg chg="del">
          <ac:chgData name="Bullinger, Marvin" userId="5b54ce5a-dc89-476f-af33-5abd75d5b1e8" providerId="ADAL" clId="{43B71669-8A80-4333-9349-B258A9296B49}" dt="2024-02-27T17:26:23.153" v="4512" actId="478"/>
          <ac:spMkLst>
            <pc:docMk/>
            <pc:sldMk cId="326362598" sldId="579"/>
            <ac:spMk id="482" creationId="{6ED58A0F-E2AC-9769-5E7D-DD5A40C4645A}"/>
          </ac:spMkLst>
        </pc:spChg>
        <pc:spChg chg="del">
          <ac:chgData name="Bullinger, Marvin" userId="5b54ce5a-dc89-476f-af33-5abd75d5b1e8" providerId="ADAL" clId="{43B71669-8A80-4333-9349-B258A9296B49}" dt="2024-02-27T17:26:23.153" v="4511" actId="478"/>
          <ac:spMkLst>
            <pc:docMk/>
            <pc:sldMk cId="326362598" sldId="579"/>
            <ac:spMk id="483" creationId="{3C753A09-8097-A5F6-B9B1-18EE49316AEE}"/>
          </ac:spMkLst>
        </pc:spChg>
        <pc:spChg chg="del">
          <ac:chgData name="Bullinger, Marvin" userId="5b54ce5a-dc89-476f-af33-5abd75d5b1e8" providerId="ADAL" clId="{43B71669-8A80-4333-9349-B258A9296B49}" dt="2024-02-27T17:26:23.153" v="4510" actId="478"/>
          <ac:spMkLst>
            <pc:docMk/>
            <pc:sldMk cId="326362598" sldId="579"/>
            <ac:spMk id="484" creationId="{2F399358-63C3-3B24-3892-4B0037935EFD}"/>
          </ac:spMkLst>
        </pc:spChg>
        <pc:spChg chg="del">
          <ac:chgData name="Bullinger, Marvin" userId="5b54ce5a-dc89-476f-af33-5abd75d5b1e8" providerId="ADAL" clId="{43B71669-8A80-4333-9349-B258A9296B49}" dt="2024-02-27T17:26:23.153" v="4509" actId="478"/>
          <ac:spMkLst>
            <pc:docMk/>
            <pc:sldMk cId="326362598" sldId="579"/>
            <ac:spMk id="485" creationId="{79F4626A-61FE-AC73-D4E7-8E2FFDF28084}"/>
          </ac:spMkLst>
        </pc:spChg>
        <pc:spChg chg="del">
          <ac:chgData name="Bullinger, Marvin" userId="5b54ce5a-dc89-476f-af33-5abd75d5b1e8" providerId="ADAL" clId="{43B71669-8A80-4333-9349-B258A9296B49}" dt="2024-02-27T17:26:23.153" v="4508" actId="478"/>
          <ac:spMkLst>
            <pc:docMk/>
            <pc:sldMk cId="326362598" sldId="579"/>
            <ac:spMk id="486" creationId="{C70D3D4F-4854-F3CB-428E-EB0801DDF3C6}"/>
          </ac:spMkLst>
        </pc:spChg>
        <pc:spChg chg="del">
          <ac:chgData name="Bullinger, Marvin" userId="5b54ce5a-dc89-476f-af33-5abd75d5b1e8" providerId="ADAL" clId="{43B71669-8A80-4333-9349-B258A9296B49}" dt="2024-02-27T17:26:23.153" v="4507" actId="478"/>
          <ac:spMkLst>
            <pc:docMk/>
            <pc:sldMk cId="326362598" sldId="579"/>
            <ac:spMk id="487" creationId="{96484E8A-82E2-41BB-9FFE-35FC98FF64C3}"/>
          </ac:spMkLst>
        </pc:spChg>
        <pc:spChg chg="replST">
          <ac:chgData name="Bullinger, Marvin" userId="5b54ce5a-dc89-476f-af33-5abd75d5b1e8" providerId="ADAL" clId="{43B71669-8A80-4333-9349-B258A9296B49}" dt="2024-02-27T17:26:23.965" v="5007"/>
          <ac:spMkLst>
            <pc:docMk/>
            <pc:sldMk cId="326362598" sldId="579"/>
            <ac:spMk id="488" creationId="{642016E8-370D-83F7-133C-14D35D1DB0A8}"/>
          </ac:spMkLst>
        </pc:spChg>
        <pc:spChg chg="replST">
          <ac:chgData name="Bullinger, Marvin" userId="5b54ce5a-dc89-476f-af33-5abd75d5b1e8" providerId="ADAL" clId="{43B71669-8A80-4333-9349-B258A9296B49}" dt="2024-02-27T17:26:23.980" v="5010"/>
          <ac:spMkLst>
            <pc:docMk/>
            <pc:sldMk cId="326362598" sldId="579"/>
            <ac:spMk id="489" creationId="{397FC996-32C3-35F4-E595-E5589930EDA7}"/>
          </ac:spMkLst>
        </pc:spChg>
        <pc:spChg chg="replST">
          <ac:chgData name="Bullinger, Marvin" userId="5b54ce5a-dc89-476f-af33-5abd75d5b1e8" providerId="ADAL" clId="{43B71669-8A80-4333-9349-B258A9296B49}" dt="2024-02-27T17:26:23.988" v="5014"/>
          <ac:spMkLst>
            <pc:docMk/>
            <pc:sldMk cId="326362598" sldId="579"/>
            <ac:spMk id="491" creationId="{C6B3C294-FD04-B2E0-90AB-92B8FE21F182}"/>
          </ac:spMkLst>
        </pc:spChg>
        <pc:spChg chg="replST">
          <ac:chgData name="Bullinger, Marvin" userId="5b54ce5a-dc89-476f-af33-5abd75d5b1e8" providerId="ADAL" clId="{43B71669-8A80-4333-9349-B258A9296B49}" dt="2024-02-27T17:26:23.997" v="5017"/>
          <ac:spMkLst>
            <pc:docMk/>
            <pc:sldMk cId="326362598" sldId="579"/>
            <ac:spMk id="492" creationId="{ADE81EAE-BD0E-D389-7F08-34BC26D5C3D2}"/>
          </ac:spMkLst>
        </pc:spChg>
        <pc:spChg chg="del ord replST">
          <ac:chgData name="Bullinger, Marvin" userId="5b54ce5a-dc89-476f-af33-5abd75d5b1e8" providerId="ADAL" clId="{43B71669-8A80-4333-9349-B258A9296B49}" dt="2024-02-27T17:26:59.122" v="5828" actId="478"/>
          <ac:spMkLst>
            <pc:docMk/>
            <pc:sldMk cId="326362598" sldId="579"/>
            <ac:spMk id="493" creationId="{D1340B22-A54E-07D4-E053-4E7C84F01D72}"/>
          </ac:spMkLst>
        </pc:spChg>
        <pc:spChg chg="replST">
          <ac:chgData name="Bullinger, Marvin" userId="5b54ce5a-dc89-476f-af33-5abd75d5b1e8" providerId="ADAL" clId="{43B71669-8A80-4333-9349-B258A9296B49}" dt="2024-02-27T17:26:23.997" v="5021"/>
          <ac:spMkLst>
            <pc:docMk/>
            <pc:sldMk cId="326362598" sldId="579"/>
            <ac:spMk id="494" creationId="{9BF7890E-EDAA-1826-6D49-CA841838D270}"/>
          </ac:spMkLst>
        </pc:spChg>
        <pc:spChg chg="replST">
          <ac:chgData name="Bullinger, Marvin" userId="5b54ce5a-dc89-476f-af33-5abd75d5b1e8" providerId="ADAL" clId="{43B71669-8A80-4333-9349-B258A9296B49}" dt="2024-02-27T17:26:24.005" v="5024"/>
          <ac:spMkLst>
            <pc:docMk/>
            <pc:sldMk cId="326362598" sldId="579"/>
            <ac:spMk id="495" creationId="{64C50DD4-230E-29B7-DBC2-72019100FBEA}"/>
          </ac:spMkLst>
        </pc:spChg>
        <pc:spChg chg="replST">
          <ac:chgData name="Bullinger, Marvin" userId="5b54ce5a-dc89-476f-af33-5abd75d5b1e8" providerId="ADAL" clId="{43B71669-8A80-4333-9349-B258A9296B49}" dt="2024-02-27T17:26:24.013" v="5028"/>
          <ac:spMkLst>
            <pc:docMk/>
            <pc:sldMk cId="326362598" sldId="579"/>
            <ac:spMk id="497" creationId="{909E68EA-D6B3-25D5-AF24-01A5E8309896}"/>
          </ac:spMkLst>
        </pc:spChg>
        <pc:spChg chg="replST">
          <ac:chgData name="Bullinger, Marvin" userId="5b54ce5a-dc89-476f-af33-5abd75d5b1e8" providerId="ADAL" clId="{43B71669-8A80-4333-9349-B258A9296B49}" dt="2024-02-27T17:26:24.021" v="5031"/>
          <ac:spMkLst>
            <pc:docMk/>
            <pc:sldMk cId="326362598" sldId="579"/>
            <ac:spMk id="498" creationId="{3AA8C1FF-9411-5539-ABAA-4FB09848C0D4}"/>
          </ac:spMkLst>
        </pc:spChg>
        <pc:spChg chg="replST">
          <ac:chgData name="Bullinger, Marvin" userId="5b54ce5a-dc89-476f-af33-5abd75d5b1e8" providerId="ADAL" clId="{43B71669-8A80-4333-9349-B258A9296B49}" dt="2024-02-27T17:26:24.029" v="5035"/>
          <ac:spMkLst>
            <pc:docMk/>
            <pc:sldMk cId="326362598" sldId="579"/>
            <ac:spMk id="500" creationId="{74D2296C-2006-544F-8EC6-CC746EDD19F0}"/>
          </ac:spMkLst>
        </pc:spChg>
        <pc:spChg chg="replST">
          <ac:chgData name="Bullinger, Marvin" userId="5b54ce5a-dc89-476f-af33-5abd75d5b1e8" providerId="ADAL" clId="{43B71669-8A80-4333-9349-B258A9296B49}" dt="2024-02-27T17:26:24.029" v="5038"/>
          <ac:spMkLst>
            <pc:docMk/>
            <pc:sldMk cId="326362598" sldId="579"/>
            <ac:spMk id="501" creationId="{91186199-F2C9-2AED-848B-B30B381120B0}"/>
          </ac:spMkLst>
        </pc:spChg>
        <pc:spChg chg="replST">
          <ac:chgData name="Bullinger, Marvin" userId="5b54ce5a-dc89-476f-af33-5abd75d5b1e8" providerId="ADAL" clId="{43B71669-8A80-4333-9349-B258A9296B49}" dt="2024-02-27T17:26:24.037" v="5042"/>
          <ac:spMkLst>
            <pc:docMk/>
            <pc:sldMk cId="326362598" sldId="579"/>
            <ac:spMk id="503" creationId="{D90AA969-DC5E-5EB5-BDCC-AF5B56054CD0}"/>
          </ac:spMkLst>
        </pc:spChg>
        <pc:spChg chg="replST">
          <ac:chgData name="Bullinger, Marvin" userId="5b54ce5a-dc89-476f-af33-5abd75d5b1e8" providerId="ADAL" clId="{43B71669-8A80-4333-9349-B258A9296B49}" dt="2024-02-27T17:26:24.045" v="5045"/>
          <ac:spMkLst>
            <pc:docMk/>
            <pc:sldMk cId="326362598" sldId="579"/>
            <ac:spMk id="504" creationId="{2BACEA66-8FC3-83FA-0030-CF2415F836B8}"/>
          </ac:spMkLst>
        </pc:spChg>
        <pc:spChg chg="replST">
          <ac:chgData name="Bullinger, Marvin" userId="5b54ce5a-dc89-476f-af33-5abd75d5b1e8" providerId="ADAL" clId="{43B71669-8A80-4333-9349-B258A9296B49}" dt="2024-02-27T17:26:24.049" v="5049"/>
          <ac:spMkLst>
            <pc:docMk/>
            <pc:sldMk cId="326362598" sldId="579"/>
            <ac:spMk id="506" creationId="{F8C8E5FF-CB50-5D17-5CDC-2BECF31683ED}"/>
          </ac:spMkLst>
        </pc:spChg>
        <pc:spChg chg="replST">
          <ac:chgData name="Bullinger, Marvin" userId="5b54ce5a-dc89-476f-af33-5abd75d5b1e8" providerId="ADAL" clId="{43B71669-8A80-4333-9349-B258A9296B49}" dt="2024-02-27T17:26:24.057" v="5052"/>
          <ac:spMkLst>
            <pc:docMk/>
            <pc:sldMk cId="326362598" sldId="579"/>
            <ac:spMk id="507" creationId="{A96F8C51-3315-1FA0-2F08-B80AC871C255}"/>
          </ac:spMkLst>
        </pc:spChg>
        <pc:spChg chg="replST">
          <ac:chgData name="Bullinger, Marvin" userId="5b54ce5a-dc89-476f-af33-5abd75d5b1e8" providerId="ADAL" clId="{43B71669-8A80-4333-9349-B258A9296B49}" dt="2024-02-27T17:26:24.065" v="5056"/>
          <ac:spMkLst>
            <pc:docMk/>
            <pc:sldMk cId="326362598" sldId="579"/>
            <ac:spMk id="509" creationId="{95B76453-10D0-F53A-CC9D-8DD36D3FF8B0}"/>
          </ac:spMkLst>
        </pc:spChg>
        <pc:spChg chg="replST">
          <ac:chgData name="Bullinger, Marvin" userId="5b54ce5a-dc89-476f-af33-5abd75d5b1e8" providerId="ADAL" clId="{43B71669-8A80-4333-9349-B258A9296B49}" dt="2024-02-27T17:26:24.065" v="5059"/>
          <ac:spMkLst>
            <pc:docMk/>
            <pc:sldMk cId="326362598" sldId="579"/>
            <ac:spMk id="510" creationId="{674BF889-1916-1F6C-47F1-419D212D6C0F}"/>
          </ac:spMkLst>
        </pc:spChg>
        <pc:spChg chg="replST">
          <ac:chgData name="Bullinger, Marvin" userId="5b54ce5a-dc89-476f-af33-5abd75d5b1e8" providerId="ADAL" clId="{43B71669-8A80-4333-9349-B258A9296B49}" dt="2024-02-27T17:26:24.073" v="5063"/>
          <ac:spMkLst>
            <pc:docMk/>
            <pc:sldMk cId="326362598" sldId="579"/>
            <ac:spMk id="512" creationId="{9ED57CEE-BA6E-4B64-5E7F-9E1C23C5F74F}"/>
          </ac:spMkLst>
        </pc:spChg>
        <pc:spChg chg="replST">
          <ac:chgData name="Bullinger, Marvin" userId="5b54ce5a-dc89-476f-af33-5abd75d5b1e8" providerId="ADAL" clId="{43B71669-8A80-4333-9349-B258A9296B49}" dt="2024-02-27T17:26:24.081" v="5066"/>
          <ac:spMkLst>
            <pc:docMk/>
            <pc:sldMk cId="326362598" sldId="579"/>
            <ac:spMk id="513" creationId="{D5915687-606D-2386-F259-6E1D862661A7}"/>
          </ac:spMkLst>
        </pc:spChg>
        <pc:spChg chg="add mod">
          <ac:chgData name="Bullinger, Marvin" userId="5b54ce5a-dc89-476f-af33-5abd75d5b1e8" providerId="ADAL" clId="{43B71669-8A80-4333-9349-B258A9296B49}" dt="2024-02-27T17:26:59.122" v="5826" actId="478"/>
          <ac:spMkLst>
            <pc:docMk/>
            <pc:sldMk cId="326362598" sldId="579"/>
            <ac:spMk id="554" creationId="{55022F7A-8817-1ABC-A717-09909E450C6B}"/>
          </ac:spMkLst>
        </pc:spChg>
        <pc:spChg chg="del mod ord replST">
          <ac:chgData name="Bullinger, Marvin" userId="5b54ce5a-dc89-476f-af33-5abd75d5b1e8" providerId="ADAL" clId="{43B71669-8A80-4333-9349-B258A9296B49}" dt="2024-02-27T17:27:36.818" v="6932" actId="478"/>
          <ac:spMkLst>
            <pc:docMk/>
            <pc:sldMk cId="326362598" sldId="579"/>
            <ac:spMk id="555" creationId="{8D076381-3FDB-B2FF-C17F-11F72D148939}"/>
          </ac:spMkLst>
        </pc:spChg>
        <pc:spChg chg="del">
          <ac:chgData name="Bullinger, Marvin" userId="5b54ce5a-dc89-476f-af33-5abd75d5b1e8" providerId="ADAL" clId="{43B71669-8A80-4333-9349-B258A9296B49}" dt="2024-02-27T17:26:59.155" v="5865" actId="478"/>
          <ac:spMkLst>
            <pc:docMk/>
            <pc:sldMk cId="326362598" sldId="579"/>
            <ac:spMk id="556" creationId="{E6BE508B-CA69-B16C-4602-6C9060A53BBD}"/>
          </ac:spMkLst>
        </pc:spChg>
        <pc:spChg chg="del">
          <ac:chgData name="Bullinger, Marvin" userId="5b54ce5a-dc89-476f-af33-5abd75d5b1e8" providerId="ADAL" clId="{43B71669-8A80-4333-9349-B258A9296B49}" dt="2024-02-27T17:26:59.155" v="5864" actId="478"/>
          <ac:spMkLst>
            <pc:docMk/>
            <pc:sldMk cId="326362598" sldId="579"/>
            <ac:spMk id="557" creationId="{A4A7E01B-5600-7DDC-99B4-A760932B15ED}"/>
          </ac:spMkLst>
        </pc:spChg>
        <pc:spChg chg="del">
          <ac:chgData name="Bullinger, Marvin" userId="5b54ce5a-dc89-476f-af33-5abd75d5b1e8" providerId="ADAL" clId="{43B71669-8A80-4333-9349-B258A9296B49}" dt="2024-02-27T17:26:59.155" v="5863" actId="478"/>
          <ac:spMkLst>
            <pc:docMk/>
            <pc:sldMk cId="326362598" sldId="579"/>
            <ac:spMk id="558" creationId="{5426A008-FBB7-57E5-610C-227147BC5891}"/>
          </ac:spMkLst>
        </pc:spChg>
        <pc:spChg chg="del">
          <ac:chgData name="Bullinger, Marvin" userId="5b54ce5a-dc89-476f-af33-5abd75d5b1e8" providerId="ADAL" clId="{43B71669-8A80-4333-9349-B258A9296B49}" dt="2024-02-27T17:26:59.155" v="5862" actId="478"/>
          <ac:spMkLst>
            <pc:docMk/>
            <pc:sldMk cId="326362598" sldId="579"/>
            <ac:spMk id="559" creationId="{C921E719-000D-4C20-452A-5AE1F0922B4E}"/>
          </ac:spMkLst>
        </pc:spChg>
        <pc:spChg chg="del">
          <ac:chgData name="Bullinger, Marvin" userId="5b54ce5a-dc89-476f-af33-5abd75d5b1e8" providerId="ADAL" clId="{43B71669-8A80-4333-9349-B258A9296B49}" dt="2024-02-27T17:26:59.155" v="5861" actId="478"/>
          <ac:spMkLst>
            <pc:docMk/>
            <pc:sldMk cId="326362598" sldId="579"/>
            <ac:spMk id="560" creationId="{3AE7D268-79C9-F5C8-9236-1703FC519C1F}"/>
          </ac:spMkLst>
        </pc:spChg>
        <pc:spChg chg="del">
          <ac:chgData name="Bullinger, Marvin" userId="5b54ce5a-dc89-476f-af33-5abd75d5b1e8" providerId="ADAL" clId="{43B71669-8A80-4333-9349-B258A9296B49}" dt="2024-02-27T17:26:59.155" v="5860" actId="478"/>
          <ac:spMkLst>
            <pc:docMk/>
            <pc:sldMk cId="326362598" sldId="579"/>
            <ac:spMk id="561" creationId="{11CF9551-4D81-BE50-8395-9D3A9D7B2696}"/>
          </ac:spMkLst>
        </pc:spChg>
        <pc:spChg chg="del">
          <ac:chgData name="Bullinger, Marvin" userId="5b54ce5a-dc89-476f-af33-5abd75d5b1e8" providerId="ADAL" clId="{43B71669-8A80-4333-9349-B258A9296B49}" dt="2024-02-27T17:26:59.155" v="5857" actId="478"/>
          <ac:spMkLst>
            <pc:docMk/>
            <pc:sldMk cId="326362598" sldId="579"/>
            <ac:spMk id="562" creationId="{23B1AB23-376D-6458-1FC5-C01A8653B0DD}"/>
          </ac:spMkLst>
        </pc:spChg>
        <pc:spChg chg="del">
          <ac:chgData name="Bullinger, Marvin" userId="5b54ce5a-dc89-476f-af33-5abd75d5b1e8" providerId="ADAL" clId="{43B71669-8A80-4333-9349-B258A9296B49}" dt="2024-02-27T17:26:59.155" v="5856" actId="478"/>
          <ac:spMkLst>
            <pc:docMk/>
            <pc:sldMk cId="326362598" sldId="579"/>
            <ac:spMk id="563" creationId="{8ED636A5-7C80-897B-5CC4-824F6EC3656A}"/>
          </ac:spMkLst>
        </pc:spChg>
        <pc:spChg chg="del">
          <ac:chgData name="Bullinger, Marvin" userId="5b54ce5a-dc89-476f-af33-5abd75d5b1e8" providerId="ADAL" clId="{43B71669-8A80-4333-9349-B258A9296B49}" dt="2024-02-27T17:26:59.155" v="5855" actId="478"/>
          <ac:spMkLst>
            <pc:docMk/>
            <pc:sldMk cId="326362598" sldId="579"/>
            <ac:spMk id="564" creationId="{B1A275E5-7599-F97C-9623-B90671619CB1}"/>
          </ac:spMkLst>
        </pc:spChg>
        <pc:spChg chg="del">
          <ac:chgData name="Bullinger, Marvin" userId="5b54ce5a-dc89-476f-af33-5abd75d5b1e8" providerId="ADAL" clId="{43B71669-8A80-4333-9349-B258A9296B49}" dt="2024-02-27T17:26:59.155" v="5854" actId="478"/>
          <ac:spMkLst>
            <pc:docMk/>
            <pc:sldMk cId="326362598" sldId="579"/>
            <ac:spMk id="565" creationId="{5E657FB1-1BFA-ABF8-55D2-C2EC26D7FCBE}"/>
          </ac:spMkLst>
        </pc:spChg>
        <pc:spChg chg="del">
          <ac:chgData name="Bullinger, Marvin" userId="5b54ce5a-dc89-476f-af33-5abd75d5b1e8" providerId="ADAL" clId="{43B71669-8A80-4333-9349-B258A9296B49}" dt="2024-02-27T17:26:59.155" v="5853" actId="478"/>
          <ac:spMkLst>
            <pc:docMk/>
            <pc:sldMk cId="326362598" sldId="579"/>
            <ac:spMk id="566" creationId="{B36D31D6-626D-17E4-FF8F-2D0A5BF26B97}"/>
          </ac:spMkLst>
        </pc:spChg>
        <pc:spChg chg="del">
          <ac:chgData name="Bullinger, Marvin" userId="5b54ce5a-dc89-476f-af33-5abd75d5b1e8" providerId="ADAL" clId="{43B71669-8A80-4333-9349-B258A9296B49}" dt="2024-02-27T17:26:59.155" v="5852" actId="478"/>
          <ac:spMkLst>
            <pc:docMk/>
            <pc:sldMk cId="326362598" sldId="579"/>
            <ac:spMk id="567" creationId="{71093FF2-E4FB-1877-55FA-BF63B70755B9}"/>
          </ac:spMkLst>
        </pc:spChg>
        <pc:spChg chg="del">
          <ac:chgData name="Bullinger, Marvin" userId="5b54ce5a-dc89-476f-af33-5abd75d5b1e8" providerId="ADAL" clId="{43B71669-8A80-4333-9349-B258A9296B49}" dt="2024-02-27T17:26:59.172" v="5873" actId="478"/>
          <ac:spMkLst>
            <pc:docMk/>
            <pc:sldMk cId="326362598" sldId="579"/>
            <ac:spMk id="568" creationId="{2F46D522-9899-FB7F-A564-52AECB2C0837}"/>
          </ac:spMkLst>
        </pc:spChg>
        <pc:spChg chg="del">
          <ac:chgData name="Bullinger, Marvin" userId="5b54ce5a-dc89-476f-af33-5abd75d5b1e8" providerId="ADAL" clId="{43B71669-8A80-4333-9349-B258A9296B49}" dt="2024-02-27T17:26:59.171" v="5872" actId="478"/>
          <ac:spMkLst>
            <pc:docMk/>
            <pc:sldMk cId="326362598" sldId="579"/>
            <ac:spMk id="569" creationId="{7EAB1567-64C2-37A1-E29F-69F87C3084FC}"/>
          </ac:spMkLst>
        </pc:spChg>
        <pc:spChg chg="del">
          <ac:chgData name="Bullinger, Marvin" userId="5b54ce5a-dc89-476f-af33-5abd75d5b1e8" providerId="ADAL" clId="{43B71669-8A80-4333-9349-B258A9296B49}" dt="2024-02-27T17:26:59.155" v="5871" actId="478"/>
          <ac:spMkLst>
            <pc:docMk/>
            <pc:sldMk cId="326362598" sldId="579"/>
            <ac:spMk id="570" creationId="{4B9AC438-E0E1-B6B8-5C33-803FBFD8E0F9}"/>
          </ac:spMkLst>
        </pc:spChg>
        <pc:spChg chg="del">
          <ac:chgData name="Bullinger, Marvin" userId="5b54ce5a-dc89-476f-af33-5abd75d5b1e8" providerId="ADAL" clId="{43B71669-8A80-4333-9349-B258A9296B49}" dt="2024-02-27T17:26:59.155" v="5870" actId="478"/>
          <ac:spMkLst>
            <pc:docMk/>
            <pc:sldMk cId="326362598" sldId="579"/>
            <ac:spMk id="571" creationId="{E4C48997-4258-2D22-42E3-8CCC11511092}"/>
          </ac:spMkLst>
        </pc:spChg>
        <pc:spChg chg="del">
          <ac:chgData name="Bullinger, Marvin" userId="5b54ce5a-dc89-476f-af33-5abd75d5b1e8" providerId="ADAL" clId="{43B71669-8A80-4333-9349-B258A9296B49}" dt="2024-02-27T17:26:59.155" v="5869" actId="478"/>
          <ac:spMkLst>
            <pc:docMk/>
            <pc:sldMk cId="326362598" sldId="579"/>
            <ac:spMk id="572" creationId="{1D03EEA5-9E86-E007-71B3-F4136DE74383}"/>
          </ac:spMkLst>
        </pc:spChg>
        <pc:spChg chg="del">
          <ac:chgData name="Bullinger, Marvin" userId="5b54ce5a-dc89-476f-af33-5abd75d5b1e8" providerId="ADAL" clId="{43B71669-8A80-4333-9349-B258A9296B49}" dt="2024-02-27T17:26:59.155" v="5868" actId="478"/>
          <ac:spMkLst>
            <pc:docMk/>
            <pc:sldMk cId="326362598" sldId="579"/>
            <ac:spMk id="573" creationId="{03F6A4E0-976B-8087-83A7-8FD06EF2E1DA}"/>
          </ac:spMkLst>
        </pc:spChg>
        <pc:spChg chg="del">
          <ac:chgData name="Bullinger, Marvin" userId="5b54ce5a-dc89-476f-af33-5abd75d5b1e8" providerId="ADAL" clId="{43B71669-8A80-4333-9349-B258A9296B49}" dt="2024-02-27T17:26:59.155" v="5867" actId="478"/>
          <ac:spMkLst>
            <pc:docMk/>
            <pc:sldMk cId="326362598" sldId="579"/>
            <ac:spMk id="574" creationId="{D957C051-64A5-CDBA-2861-B27DF72BF31C}"/>
          </ac:spMkLst>
        </pc:spChg>
        <pc:spChg chg="del">
          <ac:chgData name="Bullinger, Marvin" userId="5b54ce5a-dc89-476f-af33-5abd75d5b1e8" providerId="ADAL" clId="{43B71669-8A80-4333-9349-B258A9296B49}" dt="2024-02-27T17:26:59.155" v="5866" actId="478"/>
          <ac:spMkLst>
            <pc:docMk/>
            <pc:sldMk cId="326362598" sldId="579"/>
            <ac:spMk id="575" creationId="{EA7EFF40-4568-4E52-9F9C-90F268034696}"/>
          </ac:spMkLst>
        </pc:spChg>
        <pc:spChg chg="del">
          <ac:chgData name="Bullinger, Marvin" userId="5b54ce5a-dc89-476f-af33-5abd75d5b1e8" providerId="ADAL" clId="{43B71669-8A80-4333-9349-B258A9296B49}" dt="2024-02-27T17:26:59.155" v="5858" actId="478"/>
          <ac:spMkLst>
            <pc:docMk/>
            <pc:sldMk cId="326362598" sldId="579"/>
            <ac:spMk id="576" creationId="{05548A5F-8CDD-483A-6884-265BE3BB27DB}"/>
          </ac:spMkLst>
        </pc:spChg>
        <pc:spChg chg="del">
          <ac:chgData name="Bullinger, Marvin" userId="5b54ce5a-dc89-476f-af33-5abd75d5b1e8" providerId="ADAL" clId="{43B71669-8A80-4333-9349-B258A9296B49}" dt="2024-02-27T17:26:59.155" v="5851" actId="478"/>
          <ac:spMkLst>
            <pc:docMk/>
            <pc:sldMk cId="326362598" sldId="579"/>
            <ac:spMk id="577" creationId="{E7E7D5FC-AD75-CD7E-C567-B6C03F410D07}"/>
          </ac:spMkLst>
        </pc:spChg>
        <pc:spChg chg="del">
          <ac:chgData name="Bullinger, Marvin" userId="5b54ce5a-dc89-476f-af33-5abd75d5b1e8" providerId="ADAL" clId="{43B71669-8A80-4333-9349-B258A9296B49}" dt="2024-02-27T17:26:59.155" v="5859" actId="478"/>
          <ac:spMkLst>
            <pc:docMk/>
            <pc:sldMk cId="326362598" sldId="579"/>
            <ac:spMk id="578" creationId="{3738D02E-D753-2C74-22D2-3C41591F9008}"/>
          </ac:spMkLst>
        </pc:spChg>
        <pc:spChg chg="del">
          <ac:chgData name="Bullinger, Marvin" userId="5b54ce5a-dc89-476f-af33-5abd75d5b1e8" providerId="ADAL" clId="{43B71669-8A80-4333-9349-B258A9296B49}" dt="2024-02-27T17:26:59.155" v="5850" actId="478"/>
          <ac:spMkLst>
            <pc:docMk/>
            <pc:sldMk cId="326362598" sldId="579"/>
            <ac:spMk id="579" creationId="{99CDB46C-63C3-DEF6-EBE4-08674384EE23}"/>
          </ac:spMkLst>
        </pc:spChg>
        <pc:spChg chg="del">
          <ac:chgData name="Bullinger, Marvin" userId="5b54ce5a-dc89-476f-af33-5abd75d5b1e8" providerId="ADAL" clId="{43B71669-8A80-4333-9349-B258A9296B49}" dt="2024-02-27T17:26:59.155" v="5849" actId="478"/>
          <ac:spMkLst>
            <pc:docMk/>
            <pc:sldMk cId="326362598" sldId="579"/>
            <ac:spMk id="580" creationId="{ABF90208-E867-5181-F81B-78867115611C}"/>
          </ac:spMkLst>
        </pc:spChg>
        <pc:spChg chg="del">
          <ac:chgData name="Bullinger, Marvin" userId="5b54ce5a-dc89-476f-af33-5abd75d5b1e8" providerId="ADAL" clId="{43B71669-8A80-4333-9349-B258A9296B49}" dt="2024-02-27T17:26:59.155" v="5848" actId="478"/>
          <ac:spMkLst>
            <pc:docMk/>
            <pc:sldMk cId="326362598" sldId="579"/>
            <ac:spMk id="581" creationId="{21371040-BF57-FEC5-0946-1834FB8ADC53}"/>
          </ac:spMkLst>
        </pc:spChg>
        <pc:spChg chg="del">
          <ac:chgData name="Bullinger, Marvin" userId="5b54ce5a-dc89-476f-af33-5abd75d5b1e8" providerId="ADAL" clId="{43B71669-8A80-4333-9349-B258A9296B49}" dt="2024-02-27T17:26:59.155" v="5847" actId="478"/>
          <ac:spMkLst>
            <pc:docMk/>
            <pc:sldMk cId="326362598" sldId="579"/>
            <ac:spMk id="582" creationId="{AF337BED-4962-67E3-E148-FEE45385B867}"/>
          </ac:spMkLst>
        </pc:spChg>
        <pc:spChg chg="del">
          <ac:chgData name="Bullinger, Marvin" userId="5b54ce5a-dc89-476f-af33-5abd75d5b1e8" providerId="ADAL" clId="{43B71669-8A80-4333-9349-B258A9296B49}" dt="2024-02-27T17:26:59.155" v="5846" actId="478"/>
          <ac:spMkLst>
            <pc:docMk/>
            <pc:sldMk cId="326362598" sldId="579"/>
            <ac:spMk id="583" creationId="{EBE31429-FAB6-5358-ED75-46FEFBFDD904}"/>
          </ac:spMkLst>
        </pc:spChg>
        <pc:spChg chg="del">
          <ac:chgData name="Bullinger, Marvin" userId="5b54ce5a-dc89-476f-af33-5abd75d5b1e8" providerId="ADAL" clId="{43B71669-8A80-4333-9349-B258A9296B49}" dt="2024-02-27T17:26:59.155" v="5845" actId="478"/>
          <ac:spMkLst>
            <pc:docMk/>
            <pc:sldMk cId="326362598" sldId="579"/>
            <ac:spMk id="584" creationId="{EABF607E-7ED1-FC62-00BC-1C5C6A828095}"/>
          </ac:spMkLst>
        </pc:spChg>
        <pc:spChg chg="del">
          <ac:chgData name="Bullinger, Marvin" userId="5b54ce5a-dc89-476f-af33-5abd75d5b1e8" providerId="ADAL" clId="{43B71669-8A80-4333-9349-B258A9296B49}" dt="2024-02-27T17:26:59.155" v="5844" actId="478"/>
          <ac:spMkLst>
            <pc:docMk/>
            <pc:sldMk cId="326362598" sldId="579"/>
            <ac:spMk id="585" creationId="{52352D09-DB1F-2E88-316B-C2BB114C35F3}"/>
          </ac:spMkLst>
        </pc:spChg>
        <pc:spChg chg="del">
          <ac:chgData name="Bullinger, Marvin" userId="5b54ce5a-dc89-476f-af33-5abd75d5b1e8" providerId="ADAL" clId="{43B71669-8A80-4333-9349-B258A9296B49}" dt="2024-02-27T17:26:59.155" v="5843" actId="478"/>
          <ac:spMkLst>
            <pc:docMk/>
            <pc:sldMk cId="326362598" sldId="579"/>
            <ac:spMk id="586" creationId="{FD4F3221-B124-63EC-F567-C9E328C2E4D2}"/>
          </ac:spMkLst>
        </pc:spChg>
        <pc:spChg chg="del">
          <ac:chgData name="Bullinger, Marvin" userId="5b54ce5a-dc89-476f-af33-5abd75d5b1e8" providerId="ADAL" clId="{43B71669-8A80-4333-9349-B258A9296B49}" dt="2024-02-27T17:26:59.154" v="5842" actId="478"/>
          <ac:spMkLst>
            <pc:docMk/>
            <pc:sldMk cId="326362598" sldId="579"/>
            <ac:spMk id="587" creationId="{C37A59ED-A439-37D2-1A64-8388A18632AB}"/>
          </ac:spMkLst>
        </pc:spChg>
        <pc:spChg chg="del">
          <ac:chgData name="Bullinger, Marvin" userId="5b54ce5a-dc89-476f-af33-5abd75d5b1e8" providerId="ADAL" clId="{43B71669-8A80-4333-9349-B258A9296B49}" dt="2024-02-27T17:26:59.153" v="5841" actId="478"/>
          <ac:spMkLst>
            <pc:docMk/>
            <pc:sldMk cId="326362598" sldId="579"/>
            <ac:spMk id="588" creationId="{A67624E9-07CE-D284-8B6F-33A25DEB764A}"/>
          </ac:spMkLst>
        </pc:spChg>
        <pc:spChg chg="del">
          <ac:chgData name="Bullinger, Marvin" userId="5b54ce5a-dc89-476f-af33-5abd75d5b1e8" providerId="ADAL" clId="{43B71669-8A80-4333-9349-B258A9296B49}" dt="2024-02-27T17:26:59.138" v="5840" actId="478"/>
          <ac:spMkLst>
            <pc:docMk/>
            <pc:sldMk cId="326362598" sldId="579"/>
            <ac:spMk id="589" creationId="{826C11BD-B3ED-552E-FFEC-6F87E48C47D1}"/>
          </ac:spMkLst>
        </pc:spChg>
        <pc:spChg chg="del">
          <ac:chgData name="Bullinger, Marvin" userId="5b54ce5a-dc89-476f-af33-5abd75d5b1e8" providerId="ADAL" clId="{43B71669-8A80-4333-9349-B258A9296B49}" dt="2024-02-27T17:26:59.138" v="5839" actId="478"/>
          <ac:spMkLst>
            <pc:docMk/>
            <pc:sldMk cId="326362598" sldId="579"/>
            <ac:spMk id="590" creationId="{148D0A59-4228-CD14-8055-EB76F3EAF3F5}"/>
          </ac:spMkLst>
        </pc:spChg>
        <pc:spChg chg="del">
          <ac:chgData name="Bullinger, Marvin" userId="5b54ce5a-dc89-476f-af33-5abd75d5b1e8" providerId="ADAL" clId="{43B71669-8A80-4333-9349-B258A9296B49}" dt="2024-02-27T17:26:59.138" v="5838" actId="478"/>
          <ac:spMkLst>
            <pc:docMk/>
            <pc:sldMk cId="326362598" sldId="579"/>
            <ac:spMk id="591" creationId="{09870450-77EB-16C8-BBDE-8171CB596B18}"/>
          </ac:spMkLst>
        </pc:spChg>
        <pc:spChg chg="del">
          <ac:chgData name="Bullinger, Marvin" userId="5b54ce5a-dc89-476f-af33-5abd75d5b1e8" providerId="ADAL" clId="{43B71669-8A80-4333-9349-B258A9296B49}" dt="2024-02-27T17:26:59.138" v="5837" actId="478"/>
          <ac:spMkLst>
            <pc:docMk/>
            <pc:sldMk cId="326362598" sldId="579"/>
            <ac:spMk id="592" creationId="{85ACBE86-B38E-31F3-125C-6EB67E9A3AD0}"/>
          </ac:spMkLst>
        </pc:spChg>
        <pc:spChg chg="replST">
          <ac:chgData name="Bullinger, Marvin" userId="5b54ce5a-dc89-476f-af33-5abd75d5b1e8" providerId="ADAL" clId="{43B71669-8A80-4333-9349-B258A9296B49}" dt="2024-02-27T17:26:59.950" v="6303"/>
          <ac:spMkLst>
            <pc:docMk/>
            <pc:sldMk cId="326362598" sldId="579"/>
            <ac:spMk id="593" creationId="{1DCBF7A3-9BBD-B1C8-813C-14F70415294F}"/>
          </ac:spMkLst>
        </pc:spChg>
        <pc:spChg chg="replST">
          <ac:chgData name="Bullinger, Marvin" userId="5b54ce5a-dc89-476f-af33-5abd75d5b1e8" providerId="ADAL" clId="{43B71669-8A80-4333-9349-B258A9296B49}" dt="2024-02-27T17:26:59.950" v="6306"/>
          <ac:spMkLst>
            <pc:docMk/>
            <pc:sldMk cId="326362598" sldId="579"/>
            <ac:spMk id="594" creationId="{51373807-D14D-6A51-8C52-07F6BDE048BF}"/>
          </ac:spMkLst>
        </pc:spChg>
        <pc:spChg chg="replST">
          <ac:chgData name="Bullinger, Marvin" userId="5b54ce5a-dc89-476f-af33-5abd75d5b1e8" providerId="ADAL" clId="{43B71669-8A80-4333-9349-B258A9296B49}" dt="2024-02-27T17:26:59.965" v="6310"/>
          <ac:spMkLst>
            <pc:docMk/>
            <pc:sldMk cId="326362598" sldId="579"/>
            <ac:spMk id="596" creationId="{1B330D21-7ED5-0665-CFAA-C0E755783AE0}"/>
          </ac:spMkLst>
        </pc:spChg>
        <pc:spChg chg="replST">
          <ac:chgData name="Bullinger, Marvin" userId="5b54ce5a-dc89-476f-af33-5abd75d5b1e8" providerId="ADAL" clId="{43B71669-8A80-4333-9349-B258A9296B49}" dt="2024-02-27T17:26:59.965" v="6313"/>
          <ac:spMkLst>
            <pc:docMk/>
            <pc:sldMk cId="326362598" sldId="579"/>
            <ac:spMk id="597" creationId="{ADB7EFBC-4813-EF9D-DB0C-AC66412EF742}"/>
          </ac:spMkLst>
        </pc:spChg>
        <pc:spChg chg="del ord replST">
          <ac:chgData name="Bullinger, Marvin" userId="5b54ce5a-dc89-476f-af33-5abd75d5b1e8" providerId="ADAL" clId="{43B71669-8A80-4333-9349-B258A9296B49}" dt="2024-02-27T17:27:36.818" v="6934" actId="478"/>
          <ac:spMkLst>
            <pc:docMk/>
            <pc:sldMk cId="326362598" sldId="579"/>
            <ac:spMk id="598" creationId="{7C087BF3-7B68-401A-39E6-B655589D1223}"/>
          </ac:spMkLst>
        </pc:spChg>
        <pc:spChg chg="replST">
          <ac:chgData name="Bullinger, Marvin" userId="5b54ce5a-dc89-476f-af33-5abd75d5b1e8" providerId="ADAL" clId="{43B71669-8A80-4333-9349-B258A9296B49}" dt="2024-02-27T17:26:59.981" v="6317"/>
          <ac:spMkLst>
            <pc:docMk/>
            <pc:sldMk cId="326362598" sldId="579"/>
            <ac:spMk id="599" creationId="{464B5DA4-6A32-7D97-5DF7-F42BBD7607D8}"/>
          </ac:spMkLst>
        </pc:spChg>
        <pc:spChg chg="replST">
          <ac:chgData name="Bullinger, Marvin" userId="5b54ce5a-dc89-476f-af33-5abd75d5b1e8" providerId="ADAL" clId="{43B71669-8A80-4333-9349-B258A9296B49}" dt="2024-02-27T17:26:59.981" v="6320"/>
          <ac:spMkLst>
            <pc:docMk/>
            <pc:sldMk cId="326362598" sldId="579"/>
            <ac:spMk id="600" creationId="{8C6647FD-23A5-9597-6699-69341E36710D}"/>
          </ac:spMkLst>
        </pc:spChg>
        <pc:spChg chg="replST">
          <ac:chgData name="Bullinger, Marvin" userId="5b54ce5a-dc89-476f-af33-5abd75d5b1e8" providerId="ADAL" clId="{43B71669-8A80-4333-9349-B258A9296B49}" dt="2024-02-27T17:26:59.981" v="6324"/>
          <ac:spMkLst>
            <pc:docMk/>
            <pc:sldMk cId="326362598" sldId="579"/>
            <ac:spMk id="602" creationId="{50FAC711-EEE0-7EA2-0A5B-8128963566B3}"/>
          </ac:spMkLst>
        </pc:spChg>
        <pc:spChg chg="replST">
          <ac:chgData name="Bullinger, Marvin" userId="5b54ce5a-dc89-476f-af33-5abd75d5b1e8" providerId="ADAL" clId="{43B71669-8A80-4333-9349-B258A9296B49}" dt="2024-02-27T17:26:59.997" v="6327"/>
          <ac:spMkLst>
            <pc:docMk/>
            <pc:sldMk cId="326362598" sldId="579"/>
            <ac:spMk id="603" creationId="{EDFCB679-5DC9-8A05-D0B4-281341B798C4}"/>
          </ac:spMkLst>
        </pc:spChg>
        <pc:spChg chg="replST">
          <ac:chgData name="Bullinger, Marvin" userId="5b54ce5a-dc89-476f-af33-5abd75d5b1e8" providerId="ADAL" clId="{43B71669-8A80-4333-9349-B258A9296B49}" dt="2024-02-27T17:26:59.997" v="6331"/>
          <ac:spMkLst>
            <pc:docMk/>
            <pc:sldMk cId="326362598" sldId="579"/>
            <ac:spMk id="605" creationId="{44143785-0CDF-02E8-5034-1860BF8C3268}"/>
          </ac:spMkLst>
        </pc:spChg>
        <pc:spChg chg="replST">
          <ac:chgData name="Bullinger, Marvin" userId="5b54ce5a-dc89-476f-af33-5abd75d5b1e8" providerId="ADAL" clId="{43B71669-8A80-4333-9349-B258A9296B49}" dt="2024-02-27T17:26:59.997" v="6334"/>
          <ac:spMkLst>
            <pc:docMk/>
            <pc:sldMk cId="326362598" sldId="579"/>
            <ac:spMk id="606" creationId="{EB250B85-27C4-6391-9231-8FA357587A52}"/>
          </ac:spMkLst>
        </pc:spChg>
        <pc:spChg chg="replST">
          <ac:chgData name="Bullinger, Marvin" userId="5b54ce5a-dc89-476f-af33-5abd75d5b1e8" providerId="ADAL" clId="{43B71669-8A80-4333-9349-B258A9296B49}" dt="2024-02-27T17:27:00.017" v="6338"/>
          <ac:spMkLst>
            <pc:docMk/>
            <pc:sldMk cId="326362598" sldId="579"/>
            <ac:spMk id="608" creationId="{540884EF-940E-2813-50C5-9414E71CDF7E}"/>
          </ac:spMkLst>
        </pc:spChg>
        <pc:spChg chg="replST">
          <ac:chgData name="Bullinger, Marvin" userId="5b54ce5a-dc89-476f-af33-5abd75d5b1e8" providerId="ADAL" clId="{43B71669-8A80-4333-9349-B258A9296B49}" dt="2024-02-27T17:27:00.024" v="6341"/>
          <ac:spMkLst>
            <pc:docMk/>
            <pc:sldMk cId="326362598" sldId="579"/>
            <ac:spMk id="609" creationId="{53314DF3-445F-ABAC-2328-49051D97537C}"/>
          </ac:spMkLst>
        </pc:spChg>
        <pc:spChg chg="replST">
          <ac:chgData name="Bullinger, Marvin" userId="5b54ce5a-dc89-476f-af33-5abd75d5b1e8" providerId="ADAL" clId="{43B71669-8A80-4333-9349-B258A9296B49}" dt="2024-02-27T17:27:00.024" v="6345"/>
          <ac:spMkLst>
            <pc:docMk/>
            <pc:sldMk cId="326362598" sldId="579"/>
            <ac:spMk id="611" creationId="{2B034116-6B98-1FC0-EED3-8F20D9F72A02}"/>
          </ac:spMkLst>
        </pc:spChg>
        <pc:spChg chg="replST">
          <ac:chgData name="Bullinger, Marvin" userId="5b54ce5a-dc89-476f-af33-5abd75d5b1e8" providerId="ADAL" clId="{43B71669-8A80-4333-9349-B258A9296B49}" dt="2024-02-27T17:27:00.024" v="6348"/>
          <ac:spMkLst>
            <pc:docMk/>
            <pc:sldMk cId="326362598" sldId="579"/>
            <ac:spMk id="612" creationId="{C9D43330-577A-76EC-EDBE-CB2EAB6E93FA}"/>
          </ac:spMkLst>
        </pc:spChg>
        <pc:spChg chg="replST">
          <ac:chgData name="Bullinger, Marvin" userId="5b54ce5a-dc89-476f-af33-5abd75d5b1e8" providerId="ADAL" clId="{43B71669-8A80-4333-9349-B258A9296B49}" dt="2024-02-27T17:27:00.041" v="6352"/>
          <ac:spMkLst>
            <pc:docMk/>
            <pc:sldMk cId="326362598" sldId="579"/>
            <ac:spMk id="614" creationId="{DB831E24-D3BA-BD4E-EEFC-82B14BA7792D}"/>
          </ac:spMkLst>
        </pc:spChg>
        <pc:spChg chg="replST">
          <ac:chgData name="Bullinger, Marvin" userId="5b54ce5a-dc89-476f-af33-5abd75d5b1e8" providerId="ADAL" clId="{43B71669-8A80-4333-9349-B258A9296B49}" dt="2024-02-27T17:27:00.049" v="6355"/>
          <ac:spMkLst>
            <pc:docMk/>
            <pc:sldMk cId="326362598" sldId="579"/>
            <ac:spMk id="615" creationId="{BD5E76C1-E034-6E38-E17A-0490C7778E0A}"/>
          </ac:spMkLst>
        </pc:spChg>
        <pc:spChg chg="add mod">
          <ac:chgData name="Bullinger, Marvin" userId="5b54ce5a-dc89-476f-af33-5abd75d5b1e8" providerId="ADAL" clId="{43B71669-8A80-4333-9349-B258A9296B49}" dt="2024-02-27T17:27:36.818" v="6932" actId="478"/>
          <ac:spMkLst>
            <pc:docMk/>
            <pc:sldMk cId="326362598" sldId="579"/>
            <ac:spMk id="656" creationId="{BF87CD21-CE9E-F0B7-AEB3-E1F7A05B08BC}"/>
          </ac:spMkLst>
        </pc:spChg>
        <pc:spChg chg="mod ord replST">
          <ac:chgData name="Bullinger, Marvin" userId="5b54ce5a-dc89-476f-af33-5abd75d5b1e8" providerId="ADAL" clId="{43B71669-8A80-4333-9349-B258A9296B49}" dt="2024-02-27T17:27:37.418" v="7373"/>
          <ac:spMkLst>
            <pc:docMk/>
            <pc:sldMk cId="326362598" sldId="579"/>
            <ac:spMk id="657" creationId="{F6F2D327-075B-82FE-BCB9-703AD68A6AC8}"/>
          </ac:spMkLst>
        </pc:spChg>
        <pc:spChg chg="del">
          <ac:chgData name="Bullinger, Marvin" userId="5b54ce5a-dc89-476f-af33-5abd75d5b1e8" providerId="ADAL" clId="{43B71669-8A80-4333-9349-B258A9296B49}" dt="2024-02-27T17:27:36.866" v="6970" actId="478"/>
          <ac:spMkLst>
            <pc:docMk/>
            <pc:sldMk cId="326362598" sldId="579"/>
            <ac:spMk id="658" creationId="{A2039796-FB82-5396-3AFD-03C22B7FBC23}"/>
          </ac:spMkLst>
        </pc:spChg>
        <pc:spChg chg="del">
          <ac:chgData name="Bullinger, Marvin" userId="5b54ce5a-dc89-476f-af33-5abd75d5b1e8" providerId="ADAL" clId="{43B71669-8A80-4333-9349-B258A9296B49}" dt="2024-02-27T17:27:36.866" v="6969" actId="478"/>
          <ac:spMkLst>
            <pc:docMk/>
            <pc:sldMk cId="326362598" sldId="579"/>
            <ac:spMk id="659" creationId="{78E8CB9B-0D8B-806C-A51E-20657DB3979C}"/>
          </ac:spMkLst>
        </pc:spChg>
        <pc:spChg chg="del">
          <ac:chgData name="Bullinger, Marvin" userId="5b54ce5a-dc89-476f-af33-5abd75d5b1e8" providerId="ADAL" clId="{43B71669-8A80-4333-9349-B258A9296B49}" dt="2024-02-27T17:27:36.866" v="6968" actId="478"/>
          <ac:spMkLst>
            <pc:docMk/>
            <pc:sldMk cId="326362598" sldId="579"/>
            <ac:spMk id="660" creationId="{EBFA68FB-B835-B514-75E3-C2B5EC7A0324}"/>
          </ac:spMkLst>
        </pc:spChg>
        <pc:spChg chg="del">
          <ac:chgData name="Bullinger, Marvin" userId="5b54ce5a-dc89-476f-af33-5abd75d5b1e8" providerId="ADAL" clId="{43B71669-8A80-4333-9349-B258A9296B49}" dt="2024-02-27T17:27:36.866" v="6967" actId="478"/>
          <ac:spMkLst>
            <pc:docMk/>
            <pc:sldMk cId="326362598" sldId="579"/>
            <ac:spMk id="661" creationId="{FC7902E9-FB7B-3653-D2E4-CC1EB7DF0860}"/>
          </ac:spMkLst>
        </pc:spChg>
        <pc:spChg chg="del">
          <ac:chgData name="Bullinger, Marvin" userId="5b54ce5a-dc89-476f-af33-5abd75d5b1e8" providerId="ADAL" clId="{43B71669-8A80-4333-9349-B258A9296B49}" dt="2024-02-27T17:27:36.866" v="6966" actId="478"/>
          <ac:spMkLst>
            <pc:docMk/>
            <pc:sldMk cId="326362598" sldId="579"/>
            <ac:spMk id="662" creationId="{2107FBD8-CFBB-11DB-CD3A-6B5645C3DC45}"/>
          </ac:spMkLst>
        </pc:spChg>
        <pc:spChg chg="del">
          <ac:chgData name="Bullinger, Marvin" userId="5b54ce5a-dc89-476f-af33-5abd75d5b1e8" providerId="ADAL" clId="{43B71669-8A80-4333-9349-B258A9296B49}" dt="2024-02-27T17:27:36.866" v="6965" actId="478"/>
          <ac:spMkLst>
            <pc:docMk/>
            <pc:sldMk cId="326362598" sldId="579"/>
            <ac:spMk id="663" creationId="{F6242B67-F193-A6CD-3BE8-17ACF92DB74E}"/>
          </ac:spMkLst>
        </pc:spChg>
        <pc:spChg chg="del">
          <ac:chgData name="Bullinger, Marvin" userId="5b54ce5a-dc89-476f-af33-5abd75d5b1e8" providerId="ADAL" clId="{43B71669-8A80-4333-9349-B258A9296B49}" dt="2024-02-27T17:27:36.858" v="6962" actId="478"/>
          <ac:spMkLst>
            <pc:docMk/>
            <pc:sldMk cId="326362598" sldId="579"/>
            <ac:spMk id="664" creationId="{77460046-3C04-270A-432D-12D6585DCC43}"/>
          </ac:spMkLst>
        </pc:spChg>
        <pc:spChg chg="del">
          <ac:chgData name="Bullinger, Marvin" userId="5b54ce5a-dc89-476f-af33-5abd75d5b1e8" providerId="ADAL" clId="{43B71669-8A80-4333-9349-B258A9296B49}" dt="2024-02-27T17:27:36.858" v="6961" actId="478"/>
          <ac:spMkLst>
            <pc:docMk/>
            <pc:sldMk cId="326362598" sldId="579"/>
            <ac:spMk id="665" creationId="{7F416C5D-DD41-7D76-3995-281737446C37}"/>
          </ac:spMkLst>
        </pc:spChg>
        <pc:spChg chg="del">
          <ac:chgData name="Bullinger, Marvin" userId="5b54ce5a-dc89-476f-af33-5abd75d5b1e8" providerId="ADAL" clId="{43B71669-8A80-4333-9349-B258A9296B49}" dt="2024-02-27T17:27:36.858" v="6960" actId="478"/>
          <ac:spMkLst>
            <pc:docMk/>
            <pc:sldMk cId="326362598" sldId="579"/>
            <ac:spMk id="666" creationId="{A47099BF-482D-21C4-461B-64B446B0F410}"/>
          </ac:spMkLst>
        </pc:spChg>
        <pc:spChg chg="del">
          <ac:chgData name="Bullinger, Marvin" userId="5b54ce5a-dc89-476f-af33-5abd75d5b1e8" providerId="ADAL" clId="{43B71669-8A80-4333-9349-B258A9296B49}" dt="2024-02-27T17:27:36.858" v="6959" actId="478"/>
          <ac:spMkLst>
            <pc:docMk/>
            <pc:sldMk cId="326362598" sldId="579"/>
            <ac:spMk id="667" creationId="{5B09BB17-0E2A-7586-2A26-49F5B4FBDD85}"/>
          </ac:spMkLst>
        </pc:spChg>
        <pc:spChg chg="del">
          <ac:chgData name="Bullinger, Marvin" userId="5b54ce5a-dc89-476f-af33-5abd75d5b1e8" providerId="ADAL" clId="{43B71669-8A80-4333-9349-B258A9296B49}" dt="2024-02-27T17:27:36.858" v="6958" actId="478"/>
          <ac:spMkLst>
            <pc:docMk/>
            <pc:sldMk cId="326362598" sldId="579"/>
            <ac:spMk id="668" creationId="{9E08A044-CECE-F476-9494-DE87E51B87A4}"/>
          </ac:spMkLst>
        </pc:spChg>
        <pc:spChg chg="del">
          <ac:chgData name="Bullinger, Marvin" userId="5b54ce5a-dc89-476f-af33-5abd75d5b1e8" providerId="ADAL" clId="{43B71669-8A80-4333-9349-B258A9296B49}" dt="2024-02-27T17:27:36.858" v="6957" actId="478"/>
          <ac:spMkLst>
            <pc:docMk/>
            <pc:sldMk cId="326362598" sldId="579"/>
            <ac:spMk id="669" creationId="{58CE2567-6005-4A24-26DD-859F53C6408D}"/>
          </ac:spMkLst>
        </pc:spChg>
        <pc:spChg chg="del">
          <ac:chgData name="Bullinger, Marvin" userId="5b54ce5a-dc89-476f-af33-5abd75d5b1e8" providerId="ADAL" clId="{43B71669-8A80-4333-9349-B258A9296B49}" dt="2024-02-27T17:27:36.875" v="6978" actId="478"/>
          <ac:spMkLst>
            <pc:docMk/>
            <pc:sldMk cId="326362598" sldId="579"/>
            <ac:spMk id="670" creationId="{718C65E6-8EEC-185C-CA1C-5894D0452DFE}"/>
          </ac:spMkLst>
        </pc:spChg>
        <pc:spChg chg="del">
          <ac:chgData name="Bullinger, Marvin" userId="5b54ce5a-dc89-476f-af33-5abd75d5b1e8" providerId="ADAL" clId="{43B71669-8A80-4333-9349-B258A9296B49}" dt="2024-02-27T17:27:36.875" v="6977" actId="478"/>
          <ac:spMkLst>
            <pc:docMk/>
            <pc:sldMk cId="326362598" sldId="579"/>
            <ac:spMk id="671" creationId="{5BC8F302-C038-0568-A856-69FB4FA34385}"/>
          </ac:spMkLst>
        </pc:spChg>
        <pc:spChg chg="del">
          <ac:chgData name="Bullinger, Marvin" userId="5b54ce5a-dc89-476f-af33-5abd75d5b1e8" providerId="ADAL" clId="{43B71669-8A80-4333-9349-B258A9296B49}" dt="2024-02-27T17:27:36.874" v="6976" actId="478"/>
          <ac:spMkLst>
            <pc:docMk/>
            <pc:sldMk cId="326362598" sldId="579"/>
            <ac:spMk id="672" creationId="{8A06E4D1-E16B-2881-A60D-9EB5C562CA86}"/>
          </ac:spMkLst>
        </pc:spChg>
        <pc:spChg chg="del">
          <ac:chgData name="Bullinger, Marvin" userId="5b54ce5a-dc89-476f-af33-5abd75d5b1e8" providerId="ADAL" clId="{43B71669-8A80-4333-9349-B258A9296B49}" dt="2024-02-27T17:27:36.874" v="6975" actId="478"/>
          <ac:spMkLst>
            <pc:docMk/>
            <pc:sldMk cId="326362598" sldId="579"/>
            <ac:spMk id="673" creationId="{18A369C4-9B4B-B21F-0572-ED16FE922D75}"/>
          </ac:spMkLst>
        </pc:spChg>
        <pc:spChg chg="del">
          <ac:chgData name="Bullinger, Marvin" userId="5b54ce5a-dc89-476f-af33-5abd75d5b1e8" providerId="ADAL" clId="{43B71669-8A80-4333-9349-B258A9296B49}" dt="2024-02-27T17:27:36.866" v="6974" actId="478"/>
          <ac:spMkLst>
            <pc:docMk/>
            <pc:sldMk cId="326362598" sldId="579"/>
            <ac:spMk id="674" creationId="{8EA7216F-78CE-5E3D-786F-DFF5454BA9E9}"/>
          </ac:spMkLst>
        </pc:spChg>
        <pc:spChg chg="del">
          <ac:chgData name="Bullinger, Marvin" userId="5b54ce5a-dc89-476f-af33-5abd75d5b1e8" providerId="ADAL" clId="{43B71669-8A80-4333-9349-B258A9296B49}" dt="2024-02-27T17:27:36.866" v="6973" actId="478"/>
          <ac:spMkLst>
            <pc:docMk/>
            <pc:sldMk cId="326362598" sldId="579"/>
            <ac:spMk id="675" creationId="{9ECB5BC7-2EFA-7263-22B8-A3D2211DE064}"/>
          </ac:spMkLst>
        </pc:spChg>
        <pc:spChg chg="del">
          <ac:chgData name="Bullinger, Marvin" userId="5b54ce5a-dc89-476f-af33-5abd75d5b1e8" providerId="ADAL" clId="{43B71669-8A80-4333-9349-B258A9296B49}" dt="2024-02-27T17:27:36.866" v="6972" actId="478"/>
          <ac:spMkLst>
            <pc:docMk/>
            <pc:sldMk cId="326362598" sldId="579"/>
            <ac:spMk id="676" creationId="{56FFB1B1-B47F-06DE-25CC-6FF1BAD521FF}"/>
          </ac:spMkLst>
        </pc:spChg>
        <pc:spChg chg="del">
          <ac:chgData name="Bullinger, Marvin" userId="5b54ce5a-dc89-476f-af33-5abd75d5b1e8" providerId="ADAL" clId="{43B71669-8A80-4333-9349-B258A9296B49}" dt="2024-02-27T17:27:36.866" v="6971" actId="478"/>
          <ac:spMkLst>
            <pc:docMk/>
            <pc:sldMk cId="326362598" sldId="579"/>
            <ac:spMk id="677" creationId="{DA116CFB-776A-18AE-BFE4-9189AF6C9EB0}"/>
          </ac:spMkLst>
        </pc:spChg>
        <pc:spChg chg="del">
          <ac:chgData name="Bullinger, Marvin" userId="5b54ce5a-dc89-476f-af33-5abd75d5b1e8" providerId="ADAL" clId="{43B71669-8A80-4333-9349-B258A9296B49}" dt="2024-02-27T17:27:36.866" v="6963" actId="478"/>
          <ac:spMkLst>
            <pc:docMk/>
            <pc:sldMk cId="326362598" sldId="579"/>
            <ac:spMk id="678" creationId="{7ED3F248-BC6B-7E16-68A5-02F8657719C6}"/>
          </ac:spMkLst>
        </pc:spChg>
        <pc:spChg chg="del">
          <ac:chgData name="Bullinger, Marvin" userId="5b54ce5a-dc89-476f-af33-5abd75d5b1e8" providerId="ADAL" clId="{43B71669-8A80-4333-9349-B258A9296B49}" dt="2024-02-27T17:27:36.858" v="6956" actId="478"/>
          <ac:spMkLst>
            <pc:docMk/>
            <pc:sldMk cId="326362598" sldId="579"/>
            <ac:spMk id="679" creationId="{DE3870B8-CDB3-57FD-A8C7-59537A854B53}"/>
          </ac:spMkLst>
        </pc:spChg>
        <pc:spChg chg="del">
          <ac:chgData name="Bullinger, Marvin" userId="5b54ce5a-dc89-476f-af33-5abd75d5b1e8" providerId="ADAL" clId="{43B71669-8A80-4333-9349-B258A9296B49}" dt="2024-02-27T17:27:36.866" v="6964" actId="478"/>
          <ac:spMkLst>
            <pc:docMk/>
            <pc:sldMk cId="326362598" sldId="579"/>
            <ac:spMk id="680" creationId="{400C5580-11A0-C04C-66DB-677F64CFA99B}"/>
          </ac:spMkLst>
        </pc:spChg>
        <pc:spChg chg="del">
          <ac:chgData name="Bullinger, Marvin" userId="5b54ce5a-dc89-476f-af33-5abd75d5b1e8" providerId="ADAL" clId="{43B71669-8A80-4333-9349-B258A9296B49}" dt="2024-02-27T17:27:36.858" v="6955" actId="478"/>
          <ac:spMkLst>
            <pc:docMk/>
            <pc:sldMk cId="326362598" sldId="579"/>
            <ac:spMk id="681" creationId="{96BCB688-FE39-8B9B-B0C2-DDFD926C9050}"/>
          </ac:spMkLst>
        </pc:spChg>
        <pc:spChg chg="del">
          <ac:chgData name="Bullinger, Marvin" userId="5b54ce5a-dc89-476f-af33-5abd75d5b1e8" providerId="ADAL" clId="{43B71669-8A80-4333-9349-B258A9296B49}" dt="2024-02-27T17:27:36.858" v="6954" actId="478"/>
          <ac:spMkLst>
            <pc:docMk/>
            <pc:sldMk cId="326362598" sldId="579"/>
            <ac:spMk id="682" creationId="{A10D1842-13C3-6CED-C180-DBF7F41AE13B}"/>
          </ac:spMkLst>
        </pc:spChg>
        <pc:spChg chg="del">
          <ac:chgData name="Bullinger, Marvin" userId="5b54ce5a-dc89-476f-af33-5abd75d5b1e8" providerId="ADAL" clId="{43B71669-8A80-4333-9349-B258A9296B49}" dt="2024-02-27T17:27:36.858" v="6953" actId="478"/>
          <ac:spMkLst>
            <pc:docMk/>
            <pc:sldMk cId="326362598" sldId="579"/>
            <ac:spMk id="683" creationId="{4D97FB20-BC80-B4B2-C943-987ABCD7D181}"/>
          </ac:spMkLst>
        </pc:spChg>
        <pc:spChg chg="del">
          <ac:chgData name="Bullinger, Marvin" userId="5b54ce5a-dc89-476f-af33-5abd75d5b1e8" providerId="ADAL" clId="{43B71669-8A80-4333-9349-B258A9296B49}" dt="2024-02-27T17:27:36.858" v="6952" actId="478"/>
          <ac:spMkLst>
            <pc:docMk/>
            <pc:sldMk cId="326362598" sldId="579"/>
            <ac:spMk id="684" creationId="{32461953-6690-28FA-0D2D-DEFBDB4620AF}"/>
          </ac:spMkLst>
        </pc:spChg>
        <pc:spChg chg="del">
          <ac:chgData name="Bullinger, Marvin" userId="5b54ce5a-dc89-476f-af33-5abd75d5b1e8" providerId="ADAL" clId="{43B71669-8A80-4333-9349-B258A9296B49}" dt="2024-02-27T17:27:36.850" v="6951" actId="478"/>
          <ac:spMkLst>
            <pc:docMk/>
            <pc:sldMk cId="326362598" sldId="579"/>
            <ac:spMk id="685" creationId="{EF25C6A0-1599-7380-187F-DF12EF2980DE}"/>
          </ac:spMkLst>
        </pc:spChg>
        <pc:spChg chg="del">
          <ac:chgData name="Bullinger, Marvin" userId="5b54ce5a-dc89-476f-af33-5abd75d5b1e8" providerId="ADAL" clId="{43B71669-8A80-4333-9349-B258A9296B49}" dt="2024-02-27T17:27:36.850" v="6950" actId="478"/>
          <ac:spMkLst>
            <pc:docMk/>
            <pc:sldMk cId="326362598" sldId="579"/>
            <ac:spMk id="686" creationId="{ACCF1BA4-341C-3EE3-4290-A5CD72731A0B}"/>
          </ac:spMkLst>
        </pc:spChg>
        <pc:spChg chg="del">
          <ac:chgData name="Bullinger, Marvin" userId="5b54ce5a-dc89-476f-af33-5abd75d5b1e8" providerId="ADAL" clId="{43B71669-8A80-4333-9349-B258A9296B49}" dt="2024-02-27T17:27:36.850" v="6949" actId="478"/>
          <ac:spMkLst>
            <pc:docMk/>
            <pc:sldMk cId="326362598" sldId="579"/>
            <ac:spMk id="687" creationId="{431CCED8-41C2-40CA-D45B-E470BA68D413}"/>
          </ac:spMkLst>
        </pc:spChg>
        <pc:spChg chg="del">
          <ac:chgData name="Bullinger, Marvin" userId="5b54ce5a-dc89-476f-af33-5abd75d5b1e8" providerId="ADAL" clId="{43B71669-8A80-4333-9349-B258A9296B49}" dt="2024-02-27T17:27:36.850" v="6948" actId="478"/>
          <ac:spMkLst>
            <pc:docMk/>
            <pc:sldMk cId="326362598" sldId="579"/>
            <ac:spMk id="688" creationId="{65632F99-EF4D-F118-FFAF-36CFE031A8E7}"/>
          </ac:spMkLst>
        </pc:spChg>
        <pc:spChg chg="del">
          <ac:chgData name="Bullinger, Marvin" userId="5b54ce5a-dc89-476f-af33-5abd75d5b1e8" providerId="ADAL" clId="{43B71669-8A80-4333-9349-B258A9296B49}" dt="2024-02-27T17:27:36.850" v="6947" actId="478"/>
          <ac:spMkLst>
            <pc:docMk/>
            <pc:sldMk cId="326362598" sldId="579"/>
            <ac:spMk id="689" creationId="{C15500F2-0CF9-D715-415F-3F868EA05B5C}"/>
          </ac:spMkLst>
        </pc:spChg>
        <pc:spChg chg="del">
          <ac:chgData name="Bullinger, Marvin" userId="5b54ce5a-dc89-476f-af33-5abd75d5b1e8" providerId="ADAL" clId="{43B71669-8A80-4333-9349-B258A9296B49}" dt="2024-02-27T17:27:36.850" v="6946" actId="478"/>
          <ac:spMkLst>
            <pc:docMk/>
            <pc:sldMk cId="326362598" sldId="579"/>
            <ac:spMk id="690" creationId="{9DFFB46A-8463-08FF-7425-D1987DABD49B}"/>
          </ac:spMkLst>
        </pc:spChg>
        <pc:spChg chg="del">
          <ac:chgData name="Bullinger, Marvin" userId="5b54ce5a-dc89-476f-af33-5abd75d5b1e8" providerId="ADAL" clId="{43B71669-8A80-4333-9349-B258A9296B49}" dt="2024-02-27T17:27:36.850" v="6945" actId="478"/>
          <ac:spMkLst>
            <pc:docMk/>
            <pc:sldMk cId="326362598" sldId="579"/>
            <ac:spMk id="691" creationId="{D80C4642-21A1-3709-6C58-A234BABD1DB7}"/>
          </ac:spMkLst>
        </pc:spChg>
        <pc:spChg chg="del">
          <ac:chgData name="Bullinger, Marvin" userId="5b54ce5a-dc89-476f-af33-5abd75d5b1e8" providerId="ADAL" clId="{43B71669-8A80-4333-9349-B258A9296B49}" dt="2024-02-27T17:27:36.850" v="6944" actId="478"/>
          <ac:spMkLst>
            <pc:docMk/>
            <pc:sldMk cId="326362598" sldId="579"/>
            <ac:spMk id="692" creationId="{702B03B0-17CE-6E55-71D4-A3B50C4C124C}"/>
          </ac:spMkLst>
        </pc:spChg>
        <pc:spChg chg="del">
          <ac:chgData name="Bullinger, Marvin" userId="5b54ce5a-dc89-476f-af33-5abd75d5b1e8" providerId="ADAL" clId="{43B71669-8A80-4333-9349-B258A9296B49}" dt="2024-02-27T17:27:36.850" v="6943" actId="478"/>
          <ac:spMkLst>
            <pc:docMk/>
            <pc:sldMk cId="326362598" sldId="579"/>
            <ac:spMk id="693" creationId="{FC95D31F-093F-8099-E221-E5366894A95F}"/>
          </ac:spMkLst>
        </pc:spChg>
        <pc:spChg chg="del">
          <ac:chgData name="Bullinger, Marvin" userId="5b54ce5a-dc89-476f-af33-5abd75d5b1e8" providerId="ADAL" clId="{43B71669-8A80-4333-9349-B258A9296B49}" dt="2024-02-27T17:27:36.850" v="6942" actId="478"/>
          <ac:spMkLst>
            <pc:docMk/>
            <pc:sldMk cId="326362598" sldId="579"/>
            <ac:spMk id="694" creationId="{ABC35647-97CF-0024-6D54-3CEBF6DB60AF}"/>
          </ac:spMkLst>
        </pc:spChg>
        <pc:spChg chg="replST">
          <ac:chgData name="Bullinger, Marvin" userId="5b54ce5a-dc89-476f-af33-5abd75d5b1e8" providerId="ADAL" clId="{43B71669-8A80-4333-9349-B258A9296B49}" dt="2024-02-27T17:27:37.326" v="7325"/>
          <ac:spMkLst>
            <pc:docMk/>
            <pc:sldMk cId="326362598" sldId="579"/>
            <ac:spMk id="695" creationId="{13E2C5C2-66DC-D87E-96B5-C63C0D4FD4F0}"/>
          </ac:spMkLst>
        </pc:spChg>
        <pc:spChg chg="replST">
          <ac:chgData name="Bullinger, Marvin" userId="5b54ce5a-dc89-476f-af33-5abd75d5b1e8" providerId="ADAL" clId="{43B71669-8A80-4333-9349-B258A9296B49}" dt="2024-02-27T17:27:37.336" v="7328"/>
          <ac:spMkLst>
            <pc:docMk/>
            <pc:sldMk cId="326362598" sldId="579"/>
            <ac:spMk id="696" creationId="{B2B3B4FA-3C75-8F8C-6786-B54EA0FF86E2}"/>
          </ac:spMkLst>
        </pc:spChg>
        <pc:spChg chg="ord replST">
          <ac:chgData name="Bullinger, Marvin" userId="5b54ce5a-dc89-476f-af33-5abd75d5b1e8" providerId="ADAL" clId="{43B71669-8A80-4333-9349-B258A9296B49}" dt="2024-02-27T17:27:37.418" v="7374"/>
          <ac:spMkLst>
            <pc:docMk/>
            <pc:sldMk cId="326362598" sldId="579"/>
            <ac:spMk id="697" creationId="{2A464BB7-A45C-321B-5BBA-76C70B37D784}"/>
          </ac:spMkLst>
        </pc:spChg>
        <pc:spChg chg="replST">
          <ac:chgData name="Bullinger, Marvin" userId="5b54ce5a-dc89-476f-af33-5abd75d5b1e8" providerId="ADAL" clId="{43B71669-8A80-4333-9349-B258A9296B49}" dt="2024-02-27T17:27:37.336" v="7332"/>
          <ac:spMkLst>
            <pc:docMk/>
            <pc:sldMk cId="326362598" sldId="579"/>
            <ac:spMk id="698" creationId="{79582AA1-CA02-CD82-6CCB-3B5827789BFA}"/>
          </ac:spMkLst>
        </pc:spChg>
        <pc:spChg chg="replST">
          <ac:chgData name="Bullinger, Marvin" userId="5b54ce5a-dc89-476f-af33-5abd75d5b1e8" providerId="ADAL" clId="{43B71669-8A80-4333-9349-B258A9296B49}" dt="2024-02-27T17:27:37.352" v="7335"/>
          <ac:spMkLst>
            <pc:docMk/>
            <pc:sldMk cId="326362598" sldId="579"/>
            <ac:spMk id="699" creationId="{7E8072DD-3AE3-8598-96D0-848809C23ABC}"/>
          </ac:spMkLst>
        </pc:spChg>
        <pc:spChg chg="replST">
          <ac:chgData name="Bullinger, Marvin" userId="5b54ce5a-dc89-476f-af33-5abd75d5b1e8" providerId="ADAL" clId="{43B71669-8A80-4333-9349-B258A9296B49}" dt="2024-02-27T17:27:37.352" v="7339"/>
          <ac:spMkLst>
            <pc:docMk/>
            <pc:sldMk cId="326362598" sldId="579"/>
            <ac:spMk id="701" creationId="{9EADC571-47C4-F3F1-00E5-C85EE62D2DE8}"/>
          </ac:spMkLst>
        </pc:spChg>
        <pc:spChg chg="replST">
          <ac:chgData name="Bullinger, Marvin" userId="5b54ce5a-dc89-476f-af33-5abd75d5b1e8" providerId="ADAL" clId="{43B71669-8A80-4333-9349-B258A9296B49}" dt="2024-02-27T17:27:37.352" v="7342"/>
          <ac:spMkLst>
            <pc:docMk/>
            <pc:sldMk cId="326362598" sldId="579"/>
            <ac:spMk id="702" creationId="{5FCA54A7-08ED-02AA-223C-0416A7ACB4A9}"/>
          </ac:spMkLst>
        </pc:spChg>
        <pc:spChg chg="replST">
          <ac:chgData name="Bullinger, Marvin" userId="5b54ce5a-dc89-476f-af33-5abd75d5b1e8" providerId="ADAL" clId="{43B71669-8A80-4333-9349-B258A9296B49}" dt="2024-02-27T17:27:37.368" v="7346"/>
          <ac:spMkLst>
            <pc:docMk/>
            <pc:sldMk cId="326362598" sldId="579"/>
            <ac:spMk id="704" creationId="{F7A717DF-5210-47F9-C9C8-9A1B6A2256CE}"/>
          </ac:spMkLst>
        </pc:spChg>
        <pc:spChg chg="replST">
          <ac:chgData name="Bullinger, Marvin" userId="5b54ce5a-dc89-476f-af33-5abd75d5b1e8" providerId="ADAL" clId="{43B71669-8A80-4333-9349-B258A9296B49}" dt="2024-02-27T17:27:37.368" v="7349"/>
          <ac:spMkLst>
            <pc:docMk/>
            <pc:sldMk cId="326362598" sldId="579"/>
            <ac:spMk id="705" creationId="{B5EDBE8D-D9C4-70EB-1F90-7385CF8FB89A}"/>
          </ac:spMkLst>
        </pc:spChg>
        <pc:spChg chg="replST">
          <ac:chgData name="Bullinger, Marvin" userId="5b54ce5a-dc89-476f-af33-5abd75d5b1e8" providerId="ADAL" clId="{43B71669-8A80-4333-9349-B258A9296B49}" dt="2024-02-27T17:27:37.384" v="7353"/>
          <ac:spMkLst>
            <pc:docMk/>
            <pc:sldMk cId="326362598" sldId="579"/>
            <ac:spMk id="707" creationId="{294648DD-42F3-5643-9ED6-AA249743E1B5}"/>
          </ac:spMkLst>
        </pc:spChg>
        <pc:spChg chg="replST">
          <ac:chgData name="Bullinger, Marvin" userId="5b54ce5a-dc89-476f-af33-5abd75d5b1e8" providerId="ADAL" clId="{43B71669-8A80-4333-9349-B258A9296B49}" dt="2024-02-27T17:27:37.384" v="7356"/>
          <ac:spMkLst>
            <pc:docMk/>
            <pc:sldMk cId="326362598" sldId="579"/>
            <ac:spMk id="708" creationId="{2C3866AB-9240-1069-92FB-0F9E21C35D0E}"/>
          </ac:spMkLst>
        </pc:spChg>
        <pc:spChg chg="replST">
          <ac:chgData name="Bullinger, Marvin" userId="5b54ce5a-dc89-476f-af33-5abd75d5b1e8" providerId="ADAL" clId="{43B71669-8A80-4333-9349-B258A9296B49}" dt="2024-02-27T17:27:37.384" v="7360"/>
          <ac:spMkLst>
            <pc:docMk/>
            <pc:sldMk cId="326362598" sldId="579"/>
            <ac:spMk id="710" creationId="{2965E6EF-D18E-3D41-DC89-8F6EBD090068}"/>
          </ac:spMkLst>
        </pc:spChg>
        <pc:spChg chg="replST">
          <ac:chgData name="Bullinger, Marvin" userId="5b54ce5a-dc89-476f-af33-5abd75d5b1e8" providerId="ADAL" clId="{43B71669-8A80-4333-9349-B258A9296B49}" dt="2024-02-27T17:27:37.402" v="7363"/>
          <ac:spMkLst>
            <pc:docMk/>
            <pc:sldMk cId="326362598" sldId="579"/>
            <ac:spMk id="711" creationId="{38FB0844-54F9-D5A2-BC32-BC6C2AD8166C}"/>
          </ac:spMkLst>
        </pc:spChg>
        <pc:spChg chg="replST">
          <ac:chgData name="Bullinger, Marvin" userId="5b54ce5a-dc89-476f-af33-5abd75d5b1e8" providerId="ADAL" clId="{43B71669-8A80-4333-9349-B258A9296B49}" dt="2024-02-27T17:27:37.402" v="7367"/>
          <ac:spMkLst>
            <pc:docMk/>
            <pc:sldMk cId="326362598" sldId="579"/>
            <ac:spMk id="713" creationId="{420059AB-DA33-718B-7C20-4FA4C2DA429F}"/>
          </ac:spMkLst>
        </pc:spChg>
        <pc:spChg chg="replST">
          <ac:chgData name="Bullinger, Marvin" userId="5b54ce5a-dc89-476f-af33-5abd75d5b1e8" providerId="ADAL" clId="{43B71669-8A80-4333-9349-B258A9296B49}" dt="2024-02-27T17:27:37.402" v="7370"/>
          <ac:spMkLst>
            <pc:docMk/>
            <pc:sldMk cId="326362598" sldId="579"/>
            <ac:spMk id="714" creationId="{BD290FDA-F145-3B9A-4E71-4C2C5CC893DC}"/>
          </ac:spMkLst>
        </pc:spChg>
        <pc:cxnChg chg="del">
          <ac:chgData name="Bullinger, Marvin" userId="5b54ce5a-dc89-476f-af33-5abd75d5b1e8" providerId="ADAL" clId="{43B71669-8A80-4333-9349-B258A9296B49}" dt="2024-02-27T16:45:49.981" v="384" actId="478"/>
          <ac:cxnSpMkLst>
            <pc:docMk/>
            <pc:sldMk cId="326362598" sldId="579"/>
            <ac:cxnSpMk id="239" creationId="{539284E4-CAC4-46DF-64D4-FDE10D61D558}"/>
          </ac:cxnSpMkLst>
        </pc:cxnChg>
        <pc:cxnChg chg="del">
          <ac:chgData name="Bullinger, Marvin" userId="5b54ce5a-dc89-476f-af33-5abd75d5b1e8" providerId="ADAL" clId="{43B71669-8A80-4333-9349-B258A9296B49}" dt="2024-02-27T16:45:49.996" v="386" actId="478"/>
          <ac:cxnSpMkLst>
            <pc:docMk/>
            <pc:sldMk cId="326362598" sldId="579"/>
            <ac:cxnSpMk id="245" creationId="{09BA3689-5F37-0FBE-7FFE-997600C658CC}"/>
          </ac:cxnSpMkLst>
        </pc:cxnChg>
        <pc:cxnChg chg="del">
          <ac:chgData name="Bullinger, Marvin" userId="5b54ce5a-dc89-476f-af33-5abd75d5b1e8" providerId="ADAL" clId="{43B71669-8A80-4333-9349-B258A9296B49}" dt="2024-02-27T16:45:49.996" v="387" actId="478"/>
          <ac:cxnSpMkLst>
            <pc:docMk/>
            <pc:sldMk cId="326362598" sldId="579"/>
            <ac:cxnSpMk id="248" creationId="{64AFDF24-9705-A4AA-D7F0-577823C7E253}"/>
          </ac:cxnSpMkLst>
        </pc:cxnChg>
        <pc:cxnChg chg="del">
          <ac:chgData name="Bullinger, Marvin" userId="5b54ce5a-dc89-476f-af33-5abd75d5b1e8" providerId="ADAL" clId="{43B71669-8A80-4333-9349-B258A9296B49}" dt="2024-02-27T16:45:49.996" v="388" actId="478"/>
          <ac:cxnSpMkLst>
            <pc:docMk/>
            <pc:sldMk cId="326362598" sldId="579"/>
            <ac:cxnSpMk id="251" creationId="{BDAAE491-571C-1386-F730-DD967E064195}"/>
          </ac:cxnSpMkLst>
        </pc:cxnChg>
        <pc:cxnChg chg="del">
          <ac:chgData name="Bullinger, Marvin" userId="5b54ce5a-dc89-476f-af33-5abd75d5b1e8" providerId="ADAL" clId="{43B71669-8A80-4333-9349-B258A9296B49}" dt="2024-02-27T16:45:49.996" v="389" actId="478"/>
          <ac:cxnSpMkLst>
            <pc:docMk/>
            <pc:sldMk cId="326362598" sldId="579"/>
            <ac:cxnSpMk id="254" creationId="{08192739-20AF-0A50-918D-8737D643E1D4}"/>
          </ac:cxnSpMkLst>
        </pc:cxnChg>
        <pc:cxnChg chg="del">
          <ac:chgData name="Bullinger, Marvin" userId="5b54ce5a-dc89-476f-af33-5abd75d5b1e8" providerId="ADAL" clId="{43B71669-8A80-4333-9349-B258A9296B49}" dt="2024-02-27T16:45:49.996" v="390" actId="478"/>
          <ac:cxnSpMkLst>
            <pc:docMk/>
            <pc:sldMk cId="326362598" sldId="579"/>
            <ac:cxnSpMk id="255" creationId="{34372D47-A9B0-DF29-6765-FE9AFD077494}"/>
          </ac:cxnSpMkLst>
        </pc:cxnChg>
        <pc:cxnChg chg="del ord replST">
          <ac:chgData name="Bullinger, Marvin" userId="5b54ce5a-dc89-476f-af33-5abd75d5b1e8" providerId="ADAL" clId="{43B71669-8A80-4333-9349-B258A9296B49}" dt="2024-02-27T16:46:20.238" v="1162" actId="478"/>
          <ac:cxnSpMkLst>
            <pc:docMk/>
            <pc:sldMk cId="326362598" sldId="579"/>
            <ac:cxnSpMk id="263" creationId="{45986A5F-D026-73F0-8BA2-00A89D34B549}"/>
          </ac:cxnSpMkLst>
        </pc:cxnChg>
        <pc:cxnChg chg="del ord replST">
          <ac:chgData name="Bullinger, Marvin" userId="5b54ce5a-dc89-476f-af33-5abd75d5b1e8" providerId="ADAL" clId="{43B71669-8A80-4333-9349-B258A9296B49}" dt="2024-02-27T16:46:20.238" v="1164" actId="478"/>
          <ac:cxnSpMkLst>
            <pc:docMk/>
            <pc:sldMk cId="326362598" sldId="579"/>
            <ac:cxnSpMk id="269" creationId="{4AFFC016-51A9-2FCA-7738-E858F831CDF0}"/>
          </ac:cxnSpMkLst>
        </pc:cxnChg>
        <pc:cxnChg chg="del ord replST">
          <ac:chgData name="Bullinger, Marvin" userId="5b54ce5a-dc89-476f-af33-5abd75d5b1e8" providerId="ADAL" clId="{43B71669-8A80-4333-9349-B258A9296B49}" dt="2024-02-27T16:46:20.238" v="1165" actId="478"/>
          <ac:cxnSpMkLst>
            <pc:docMk/>
            <pc:sldMk cId="326362598" sldId="579"/>
            <ac:cxnSpMk id="272" creationId="{7B95AA3E-D460-1356-FA27-4E8D948680A0}"/>
          </ac:cxnSpMkLst>
        </pc:cxnChg>
        <pc:cxnChg chg="del ord replST">
          <ac:chgData name="Bullinger, Marvin" userId="5b54ce5a-dc89-476f-af33-5abd75d5b1e8" providerId="ADAL" clId="{43B71669-8A80-4333-9349-B258A9296B49}" dt="2024-02-27T16:46:20.238" v="1166" actId="478"/>
          <ac:cxnSpMkLst>
            <pc:docMk/>
            <pc:sldMk cId="326362598" sldId="579"/>
            <ac:cxnSpMk id="275" creationId="{A4F7B2CF-EFEC-3CFB-1D0E-D3AAC6482404}"/>
          </ac:cxnSpMkLst>
        </pc:cxnChg>
        <pc:cxnChg chg="del ord replST">
          <ac:chgData name="Bullinger, Marvin" userId="5b54ce5a-dc89-476f-af33-5abd75d5b1e8" providerId="ADAL" clId="{43B71669-8A80-4333-9349-B258A9296B49}" dt="2024-02-27T16:46:20.238" v="1167" actId="478"/>
          <ac:cxnSpMkLst>
            <pc:docMk/>
            <pc:sldMk cId="326362598" sldId="579"/>
            <ac:cxnSpMk id="278" creationId="{08CC1DB4-D9DF-1EF8-6EF6-FF687005B9B5}"/>
          </ac:cxnSpMkLst>
        </pc:cxnChg>
        <pc:cxnChg chg="del ord replST">
          <ac:chgData name="Bullinger, Marvin" userId="5b54ce5a-dc89-476f-af33-5abd75d5b1e8" providerId="ADAL" clId="{43B71669-8A80-4333-9349-B258A9296B49}" dt="2024-02-27T16:46:20.238" v="1168" actId="478"/>
          <ac:cxnSpMkLst>
            <pc:docMk/>
            <pc:sldMk cId="326362598" sldId="579"/>
            <ac:cxnSpMk id="279" creationId="{00622451-1CCE-D29E-43FA-4E0A9FD01029}"/>
          </ac:cxnSpMkLst>
        </pc:cxnChg>
        <pc:cxnChg chg="add del ord replST">
          <ac:chgData name="Bullinger, Marvin" userId="5b54ce5a-dc89-476f-af33-5abd75d5b1e8" providerId="ADAL" clId="{43B71669-8A80-4333-9349-B258A9296B49}" dt="2024-02-27T17:21:07.277" v="3539" actId="478"/>
          <ac:cxnSpMkLst>
            <pc:docMk/>
            <pc:sldMk cId="326362598" sldId="579"/>
            <ac:cxnSpMk id="359" creationId="{FF137956-D88E-5016-D4C9-722AAAD67815}"/>
          </ac:cxnSpMkLst>
        </pc:cxnChg>
        <pc:cxnChg chg="add del ord replST">
          <ac:chgData name="Bullinger, Marvin" userId="5b54ce5a-dc89-476f-af33-5abd75d5b1e8" providerId="ADAL" clId="{43B71669-8A80-4333-9349-B258A9296B49}" dt="2024-02-27T17:21:07.277" v="3541" actId="478"/>
          <ac:cxnSpMkLst>
            <pc:docMk/>
            <pc:sldMk cId="326362598" sldId="579"/>
            <ac:cxnSpMk id="365" creationId="{995F214A-847F-F106-E391-B4A969A371EB}"/>
          </ac:cxnSpMkLst>
        </pc:cxnChg>
        <pc:cxnChg chg="add del ord replST">
          <ac:chgData name="Bullinger, Marvin" userId="5b54ce5a-dc89-476f-af33-5abd75d5b1e8" providerId="ADAL" clId="{43B71669-8A80-4333-9349-B258A9296B49}" dt="2024-02-27T17:21:07.277" v="3542" actId="478"/>
          <ac:cxnSpMkLst>
            <pc:docMk/>
            <pc:sldMk cId="326362598" sldId="579"/>
            <ac:cxnSpMk id="368" creationId="{5042E1D8-18C5-414D-266F-D8CF121E855E}"/>
          </ac:cxnSpMkLst>
        </pc:cxnChg>
        <pc:cxnChg chg="add del ord replST">
          <ac:chgData name="Bullinger, Marvin" userId="5b54ce5a-dc89-476f-af33-5abd75d5b1e8" providerId="ADAL" clId="{43B71669-8A80-4333-9349-B258A9296B49}" dt="2024-02-27T17:21:07.277" v="3543" actId="478"/>
          <ac:cxnSpMkLst>
            <pc:docMk/>
            <pc:sldMk cId="326362598" sldId="579"/>
            <ac:cxnSpMk id="371" creationId="{44435A90-0179-C38B-258F-6A1424173568}"/>
          </ac:cxnSpMkLst>
        </pc:cxnChg>
        <pc:cxnChg chg="add del ord replST">
          <ac:chgData name="Bullinger, Marvin" userId="5b54ce5a-dc89-476f-af33-5abd75d5b1e8" providerId="ADAL" clId="{43B71669-8A80-4333-9349-B258A9296B49}" dt="2024-02-27T17:21:07.277" v="3544" actId="478"/>
          <ac:cxnSpMkLst>
            <pc:docMk/>
            <pc:sldMk cId="326362598" sldId="579"/>
            <ac:cxnSpMk id="374" creationId="{58D65A49-02B5-E192-4736-CE6C2DE15680}"/>
          </ac:cxnSpMkLst>
        </pc:cxnChg>
        <pc:cxnChg chg="add del ord replST">
          <ac:chgData name="Bullinger, Marvin" userId="5b54ce5a-dc89-476f-af33-5abd75d5b1e8" providerId="ADAL" clId="{43B71669-8A80-4333-9349-B258A9296B49}" dt="2024-02-27T17:21:07.277" v="3545" actId="478"/>
          <ac:cxnSpMkLst>
            <pc:docMk/>
            <pc:sldMk cId="326362598" sldId="579"/>
            <ac:cxnSpMk id="375" creationId="{AE629FD7-B9F5-865D-0719-5925AFE5C634}"/>
          </ac:cxnSpMkLst>
        </pc:cxnChg>
        <pc:cxnChg chg="del ord replST">
          <ac:chgData name="Bullinger, Marvin" userId="5b54ce5a-dc89-476f-af33-5abd75d5b1e8" providerId="ADAL" clId="{43B71669-8A80-4333-9349-B258A9296B49}" dt="2024-02-27T17:26:23.130" v="4499" actId="478"/>
          <ac:cxnSpMkLst>
            <pc:docMk/>
            <pc:sldMk cId="326362598" sldId="579"/>
            <ac:cxnSpMk id="391" creationId="{FFCC3D69-D4EA-28BB-1765-D90C42BEB469}"/>
          </ac:cxnSpMkLst>
        </pc:cxnChg>
        <pc:cxnChg chg="del ord replST">
          <ac:chgData name="Bullinger, Marvin" userId="5b54ce5a-dc89-476f-af33-5abd75d5b1e8" providerId="ADAL" clId="{43B71669-8A80-4333-9349-B258A9296B49}" dt="2024-02-27T17:26:23.130" v="4501" actId="478"/>
          <ac:cxnSpMkLst>
            <pc:docMk/>
            <pc:sldMk cId="326362598" sldId="579"/>
            <ac:cxnSpMk id="397" creationId="{C7485B05-B859-6A51-6F18-DC6DF5FA7C85}"/>
          </ac:cxnSpMkLst>
        </pc:cxnChg>
        <pc:cxnChg chg="del ord replST">
          <ac:chgData name="Bullinger, Marvin" userId="5b54ce5a-dc89-476f-af33-5abd75d5b1e8" providerId="ADAL" clId="{43B71669-8A80-4333-9349-B258A9296B49}" dt="2024-02-27T17:26:23.138" v="4502" actId="478"/>
          <ac:cxnSpMkLst>
            <pc:docMk/>
            <pc:sldMk cId="326362598" sldId="579"/>
            <ac:cxnSpMk id="400" creationId="{FF960C12-E68A-F154-BD58-49A02249FEF7}"/>
          </ac:cxnSpMkLst>
        </pc:cxnChg>
        <pc:cxnChg chg="del ord replST">
          <ac:chgData name="Bullinger, Marvin" userId="5b54ce5a-dc89-476f-af33-5abd75d5b1e8" providerId="ADAL" clId="{43B71669-8A80-4333-9349-B258A9296B49}" dt="2024-02-27T17:26:23.138" v="4503" actId="478"/>
          <ac:cxnSpMkLst>
            <pc:docMk/>
            <pc:sldMk cId="326362598" sldId="579"/>
            <ac:cxnSpMk id="403" creationId="{0ADB4B80-B9A9-1BA9-269B-F465370E7B2A}"/>
          </ac:cxnSpMkLst>
        </pc:cxnChg>
        <pc:cxnChg chg="del ord replST">
          <ac:chgData name="Bullinger, Marvin" userId="5b54ce5a-dc89-476f-af33-5abd75d5b1e8" providerId="ADAL" clId="{43B71669-8A80-4333-9349-B258A9296B49}" dt="2024-02-27T17:26:23.138" v="4504" actId="478"/>
          <ac:cxnSpMkLst>
            <pc:docMk/>
            <pc:sldMk cId="326362598" sldId="579"/>
            <ac:cxnSpMk id="406" creationId="{A75C6F5B-865E-0728-80A4-93175D15734F}"/>
          </ac:cxnSpMkLst>
        </pc:cxnChg>
        <pc:cxnChg chg="del ord replST">
          <ac:chgData name="Bullinger, Marvin" userId="5b54ce5a-dc89-476f-af33-5abd75d5b1e8" providerId="ADAL" clId="{43B71669-8A80-4333-9349-B258A9296B49}" dt="2024-02-27T17:26:23.138" v="4505" actId="478"/>
          <ac:cxnSpMkLst>
            <pc:docMk/>
            <pc:sldMk cId="326362598" sldId="579"/>
            <ac:cxnSpMk id="409" creationId="{6C5A1CF1-BF78-3D26-31C8-B89134B29060}"/>
          </ac:cxnSpMkLst>
        </pc:cxnChg>
        <pc:cxnChg chg="del ord replST">
          <ac:chgData name="Bullinger, Marvin" userId="5b54ce5a-dc89-476f-af33-5abd75d5b1e8" providerId="ADAL" clId="{43B71669-8A80-4333-9349-B258A9296B49}" dt="2024-02-27T17:26:23.138" v="4506" actId="478"/>
          <ac:cxnSpMkLst>
            <pc:docMk/>
            <pc:sldMk cId="326362598" sldId="579"/>
            <ac:cxnSpMk id="410" creationId="{8A5F6181-7B3C-A24D-FFA1-F273A83B52FC}"/>
          </ac:cxnSpMkLst>
        </pc:cxnChg>
        <pc:cxnChg chg="mod ord replST delST">
          <ac:chgData name="Bullinger, Marvin" userId="5b54ce5a-dc89-476f-af33-5abd75d5b1e8" providerId="ADAL" clId="{43B71669-8A80-4333-9349-B258A9296B49}" dt="2024-02-27T16:53:49.050" v="3382"/>
          <ac:cxnSpMkLst>
            <pc:docMk/>
            <pc:sldMk cId="326362598" sldId="579"/>
            <ac:cxnSpMk id="455" creationId="{DA69E2F1-F7A5-671B-4D4E-502479F9A03E}"/>
          </ac:cxnSpMkLst>
        </pc:cxnChg>
        <pc:cxnChg chg="mod ord replST delST">
          <ac:chgData name="Bullinger, Marvin" userId="5b54ce5a-dc89-476f-af33-5abd75d5b1e8" providerId="ADAL" clId="{43B71669-8A80-4333-9349-B258A9296B49}" dt="2024-02-27T16:53:49.050" v="3382"/>
          <ac:cxnSpMkLst>
            <pc:docMk/>
            <pc:sldMk cId="326362598" sldId="579"/>
            <ac:cxnSpMk id="461" creationId="{D4A1ACAA-E330-72A2-5375-66AE6F55762B}"/>
          </ac:cxnSpMkLst>
        </pc:cxnChg>
        <pc:cxnChg chg="mod ord replST delST">
          <ac:chgData name="Bullinger, Marvin" userId="5b54ce5a-dc89-476f-af33-5abd75d5b1e8" providerId="ADAL" clId="{43B71669-8A80-4333-9349-B258A9296B49}" dt="2024-02-27T16:53:49.050" v="3382"/>
          <ac:cxnSpMkLst>
            <pc:docMk/>
            <pc:sldMk cId="326362598" sldId="579"/>
            <ac:cxnSpMk id="464" creationId="{2CEDD925-AF8E-B81F-6D7E-DEBFB963D5AC}"/>
          </ac:cxnSpMkLst>
        </pc:cxnChg>
        <pc:cxnChg chg="mod ord replST delST">
          <ac:chgData name="Bullinger, Marvin" userId="5b54ce5a-dc89-476f-af33-5abd75d5b1e8" providerId="ADAL" clId="{43B71669-8A80-4333-9349-B258A9296B49}" dt="2024-02-27T16:53:49.050" v="3382"/>
          <ac:cxnSpMkLst>
            <pc:docMk/>
            <pc:sldMk cId="326362598" sldId="579"/>
            <ac:cxnSpMk id="467" creationId="{C26AB236-352D-14DA-8F21-3096D80E9F71}"/>
          </ac:cxnSpMkLst>
        </pc:cxnChg>
        <pc:cxnChg chg="mod ord replST delST">
          <ac:chgData name="Bullinger, Marvin" userId="5b54ce5a-dc89-476f-af33-5abd75d5b1e8" providerId="ADAL" clId="{43B71669-8A80-4333-9349-B258A9296B49}" dt="2024-02-27T16:53:49.050" v="3382"/>
          <ac:cxnSpMkLst>
            <pc:docMk/>
            <pc:sldMk cId="326362598" sldId="579"/>
            <ac:cxnSpMk id="470" creationId="{1F3BFE7C-53E1-E2E1-2454-09C1E92C1C71}"/>
          </ac:cxnSpMkLst>
        </pc:cxnChg>
        <pc:cxnChg chg="mod ord replST delST">
          <ac:chgData name="Bullinger, Marvin" userId="5b54ce5a-dc89-476f-af33-5abd75d5b1e8" providerId="ADAL" clId="{43B71669-8A80-4333-9349-B258A9296B49}" dt="2024-02-27T16:53:49.050" v="3382"/>
          <ac:cxnSpMkLst>
            <pc:docMk/>
            <pc:sldMk cId="326362598" sldId="579"/>
            <ac:cxnSpMk id="471" creationId="{6856B586-C1F8-B3DF-2D27-D2F670256BC2}"/>
          </ac:cxnSpMkLst>
        </pc:cxnChg>
        <pc:cxnChg chg="del ord replST">
          <ac:chgData name="Bullinger, Marvin" userId="5b54ce5a-dc89-476f-af33-5abd75d5b1e8" providerId="ADAL" clId="{43B71669-8A80-4333-9349-B258A9296B49}" dt="2024-02-27T17:26:59.122" v="5827" actId="478"/>
          <ac:cxnSpMkLst>
            <pc:docMk/>
            <pc:sldMk cId="326362598" sldId="579"/>
            <ac:cxnSpMk id="490" creationId="{AB8D33F8-9F4F-32D1-A232-7D5E89A0B824}"/>
          </ac:cxnSpMkLst>
        </pc:cxnChg>
        <pc:cxnChg chg="del ord replST">
          <ac:chgData name="Bullinger, Marvin" userId="5b54ce5a-dc89-476f-af33-5abd75d5b1e8" providerId="ADAL" clId="{43B71669-8A80-4333-9349-B258A9296B49}" dt="2024-02-27T17:26:59.122" v="5829" actId="478"/>
          <ac:cxnSpMkLst>
            <pc:docMk/>
            <pc:sldMk cId="326362598" sldId="579"/>
            <ac:cxnSpMk id="496" creationId="{44853898-951E-DDE8-26B4-21526D952A00}"/>
          </ac:cxnSpMkLst>
        </pc:cxnChg>
        <pc:cxnChg chg="del ord replST">
          <ac:chgData name="Bullinger, Marvin" userId="5b54ce5a-dc89-476f-af33-5abd75d5b1e8" providerId="ADAL" clId="{43B71669-8A80-4333-9349-B258A9296B49}" dt="2024-02-27T17:26:59.122" v="5830" actId="478"/>
          <ac:cxnSpMkLst>
            <pc:docMk/>
            <pc:sldMk cId="326362598" sldId="579"/>
            <ac:cxnSpMk id="499" creationId="{68197F37-60C7-687D-C658-1F05D7B07882}"/>
          </ac:cxnSpMkLst>
        </pc:cxnChg>
        <pc:cxnChg chg="del ord replST">
          <ac:chgData name="Bullinger, Marvin" userId="5b54ce5a-dc89-476f-af33-5abd75d5b1e8" providerId="ADAL" clId="{43B71669-8A80-4333-9349-B258A9296B49}" dt="2024-02-27T17:26:59.122" v="5831" actId="478"/>
          <ac:cxnSpMkLst>
            <pc:docMk/>
            <pc:sldMk cId="326362598" sldId="579"/>
            <ac:cxnSpMk id="502" creationId="{F328C504-4E5E-1FE9-D68A-E55FCB5BB3BB}"/>
          </ac:cxnSpMkLst>
        </pc:cxnChg>
        <pc:cxnChg chg="del ord replST">
          <ac:chgData name="Bullinger, Marvin" userId="5b54ce5a-dc89-476f-af33-5abd75d5b1e8" providerId="ADAL" clId="{43B71669-8A80-4333-9349-B258A9296B49}" dt="2024-02-27T17:26:59.122" v="5832" actId="478"/>
          <ac:cxnSpMkLst>
            <pc:docMk/>
            <pc:sldMk cId="326362598" sldId="579"/>
            <ac:cxnSpMk id="505" creationId="{7498E7F5-F169-6796-FC25-72DCBF4041A7}"/>
          </ac:cxnSpMkLst>
        </pc:cxnChg>
        <pc:cxnChg chg="del ord replST">
          <ac:chgData name="Bullinger, Marvin" userId="5b54ce5a-dc89-476f-af33-5abd75d5b1e8" providerId="ADAL" clId="{43B71669-8A80-4333-9349-B258A9296B49}" dt="2024-02-27T17:26:59.122" v="5833" actId="478"/>
          <ac:cxnSpMkLst>
            <pc:docMk/>
            <pc:sldMk cId="326362598" sldId="579"/>
            <ac:cxnSpMk id="508" creationId="{39948D9A-4BA6-5A9F-D0A7-AADDAC424E17}"/>
          </ac:cxnSpMkLst>
        </pc:cxnChg>
        <pc:cxnChg chg="del ord replST">
          <ac:chgData name="Bullinger, Marvin" userId="5b54ce5a-dc89-476f-af33-5abd75d5b1e8" providerId="ADAL" clId="{43B71669-8A80-4333-9349-B258A9296B49}" dt="2024-02-27T17:26:59.122" v="5834" actId="478"/>
          <ac:cxnSpMkLst>
            <pc:docMk/>
            <pc:sldMk cId="326362598" sldId="579"/>
            <ac:cxnSpMk id="511" creationId="{ADCA7ECA-0EC4-C33F-7A07-A0F3B6A7CBCA}"/>
          </ac:cxnSpMkLst>
        </pc:cxnChg>
        <pc:cxnChg chg="del ord replST">
          <ac:chgData name="Bullinger, Marvin" userId="5b54ce5a-dc89-476f-af33-5abd75d5b1e8" providerId="ADAL" clId="{43B71669-8A80-4333-9349-B258A9296B49}" dt="2024-02-27T17:26:59.122" v="5835" actId="478"/>
          <ac:cxnSpMkLst>
            <pc:docMk/>
            <pc:sldMk cId="326362598" sldId="579"/>
            <ac:cxnSpMk id="514" creationId="{629DA905-927E-2EED-43A3-CECC975B5C16}"/>
          </ac:cxnSpMkLst>
        </pc:cxnChg>
        <pc:cxnChg chg="del ord replST">
          <ac:chgData name="Bullinger, Marvin" userId="5b54ce5a-dc89-476f-af33-5abd75d5b1e8" providerId="ADAL" clId="{43B71669-8A80-4333-9349-B258A9296B49}" dt="2024-02-27T17:26:59.138" v="5836" actId="478"/>
          <ac:cxnSpMkLst>
            <pc:docMk/>
            <pc:sldMk cId="326362598" sldId="579"/>
            <ac:cxnSpMk id="515" creationId="{FF214A65-1021-2FB8-8AD5-4BD9E3A5532D}"/>
          </ac:cxnSpMkLst>
        </pc:cxnChg>
        <pc:cxnChg chg="del ord replST">
          <ac:chgData name="Bullinger, Marvin" userId="5b54ce5a-dc89-476f-af33-5abd75d5b1e8" providerId="ADAL" clId="{43B71669-8A80-4333-9349-B258A9296B49}" dt="2024-02-27T17:27:36.818" v="6933" actId="478"/>
          <ac:cxnSpMkLst>
            <pc:docMk/>
            <pc:sldMk cId="326362598" sldId="579"/>
            <ac:cxnSpMk id="595" creationId="{2440F3DE-E922-A4C1-7A0B-544F8524EF51}"/>
          </ac:cxnSpMkLst>
        </pc:cxnChg>
        <pc:cxnChg chg="del ord replST">
          <ac:chgData name="Bullinger, Marvin" userId="5b54ce5a-dc89-476f-af33-5abd75d5b1e8" providerId="ADAL" clId="{43B71669-8A80-4333-9349-B258A9296B49}" dt="2024-02-27T17:27:36.826" v="6935" actId="478"/>
          <ac:cxnSpMkLst>
            <pc:docMk/>
            <pc:sldMk cId="326362598" sldId="579"/>
            <ac:cxnSpMk id="601" creationId="{3E888D7E-381C-1FD9-7471-07173F19A5F3}"/>
          </ac:cxnSpMkLst>
        </pc:cxnChg>
        <pc:cxnChg chg="del ord replST">
          <ac:chgData name="Bullinger, Marvin" userId="5b54ce5a-dc89-476f-af33-5abd75d5b1e8" providerId="ADAL" clId="{43B71669-8A80-4333-9349-B258A9296B49}" dt="2024-02-27T17:27:36.826" v="6936" actId="478"/>
          <ac:cxnSpMkLst>
            <pc:docMk/>
            <pc:sldMk cId="326362598" sldId="579"/>
            <ac:cxnSpMk id="604" creationId="{0B51475E-66A4-2FAF-CB58-064CD400E23E}"/>
          </ac:cxnSpMkLst>
        </pc:cxnChg>
        <pc:cxnChg chg="del ord replST">
          <ac:chgData name="Bullinger, Marvin" userId="5b54ce5a-dc89-476f-af33-5abd75d5b1e8" providerId="ADAL" clId="{43B71669-8A80-4333-9349-B258A9296B49}" dt="2024-02-27T17:27:36.826" v="6937" actId="478"/>
          <ac:cxnSpMkLst>
            <pc:docMk/>
            <pc:sldMk cId="326362598" sldId="579"/>
            <ac:cxnSpMk id="607" creationId="{B7530789-549B-8ABB-5DC2-76C2A8B9D088}"/>
          </ac:cxnSpMkLst>
        </pc:cxnChg>
        <pc:cxnChg chg="del ord replST">
          <ac:chgData name="Bullinger, Marvin" userId="5b54ce5a-dc89-476f-af33-5abd75d5b1e8" providerId="ADAL" clId="{43B71669-8A80-4333-9349-B258A9296B49}" dt="2024-02-27T17:27:36.826" v="6938" actId="478"/>
          <ac:cxnSpMkLst>
            <pc:docMk/>
            <pc:sldMk cId="326362598" sldId="579"/>
            <ac:cxnSpMk id="610" creationId="{4967BD2C-220F-9B81-AE14-15DCA8AA0D91}"/>
          </ac:cxnSpMkLst>
        </pc:cxnChg>
        <pc:cxnChg chg="del ord replST">
          <ac:chgData name="Bullinger, Marvin" userId="5b54ce5a-dc89-476f-af33-5abd75d5b1e8" providerId="ADAL" clId="{43B71669-8A80-4333-9349-B258A9296B49}" dt="2024-02-27T17:27:36.826" v="6939" actId="478"/>
          <ac:cxnSpMkLst>
            <pc:docMk/>
            <pc:sldMk cId="326362598" sldId="579"/>
            <ac:cxnSpMk id="613" creationId="{CC3AA500-1292-AA3D-F2D3-19ED1D752EE3}"/>
          </ac:cxnSpMkLst>
        </pc:cxnChg>
        <pc:cxnChg chg="del ord replST">
          <ac:chgData name="Bullinger, Marvin" userId="5b54ce5a-dc89-476f-af33-5abd75d5b1e8" providerId="ADAL" clId="{43B71669-8A80-4333-9349-B258A9296B49}" dt="2024-02-27T17:27:36.834" v="6940" actId="478"/>
          <ac:cxnSpMkLst>
            <pc:docMk/>
            <pc:sldMk cId="326362598" sldId="579"/>
            <ac:cxnSpMk id="616" creationId="{DA2A9A44-AFED-9128-C54F-B8AD2F45476C}"/>
          </ac:cxnSpMkLst>
        </pc:cxnChg>
        <pc:cxnChg chg="del ord replST">
          <ac:chgData name="Bullinger, Marvin" userId="5b54ce5a-dc89-476f-af33-5abd75d5b1e8" providerId="ADAL" clId="{43B71669-8A80-4333-9349-B258A9296B49}" dt="2024-02-27T17:27:36.834" v="6941" actId="478"/>
          <ac:cxnSpMkLst>
            <pc:docMk/>
            <pc:sldMk cId="326362598" sldId="579"/>
            <ac:cxnSpMk id="617" creationId="{0F113966-DFBF-3E93-6135-AC010AE8B8DF}"/>
          </ac:cxnSpMkLst>
        </pc:cxnChg>
        <pc:cxnChg chg="ord replST">
          <ac:chgData name="Bullinger, Marvin" userId="5b54ce5a-dc89-476f-af33-5abd75d5b1e8" providerId="ADAL" clId="{43B71669-8A80-4333-9349-B258A9296B49}" dt="2024-02-27T17:27:37.418" v="7375"/>
          <ac:cxnSpMkLst>
            <pc:docMk/>
            <pc:sldMk cId="326362598" sldId="579"/>
            <ac:cxnSpMk id="700" creationId="{D192D492-B669-F9D6-B35A-8D1A403CF0AA}"/>
          </ac:cxnSpMkLst>
        </pc:cxnChg>
        <pc:cxnChg chg="ord replST">
          <ac:chgData name="Bullinger, Marvin" userId="5b54ce5a-dc89-476f-af33-5abd75d5b1e8" providerId="ADAL" clId="{43B71669-8A80-4333-9349-B258A9296B49}" dt="2024-02-27T17:27:37.426" v="7376"/>
          <ac:cxnSpMkLst>
            <pc:docMk/>
            <pc:sldMk cId="326362598" sldId="579"/>
            <ac:cxnSpMk id="703" creationId="{568C64F7-3119-FAE1-5F02-C116D0C99144}"/>
          </ac:cxnSpMkLst>
        </pc:cxnChg>
        <pc:cxnChg chg="ord replST">
          <ac:chgData name="Bullinger, Marvin" userId="5b54ce5a-dc89-476f-af33-5abd75d5b1e8" providerId="ADAL" clId="{43B71669-8A80-4333-9349-B258A9296B49}" dt="2024-02-27T17:27:37.426" v="7377"/>
          <ac:cxnSpMkLst>
            <pc:docMk/>
            <pc:sldMk cId="326362598" sldId="579"/>
            <ac:cxnSpMk id="706" creationId="{427D9992-6F5D-CF2B-0CE5-8881EB3D519E}"/>
          </ac:cxnSpMkLst>
        </pc:cxnChg>
        <pc:cxnChg chg="ord replST">
          <ac:chgData name="Bullinger, Marvin" userId="5b54ce5a-dc89-476f-af33-5abd75d5b1e8" providerId="ADAL" clId="{43B71669-8A80-4333-9349-B258A9296B49}" dt="2024-02-27T17:27:37.426" v="7378"/>
          <ac:cxnSpMkLst>
            <pc:docMk/>
            <pc:sldMk cId="326362598" sldId="579"/>
            <ac:cxnSpMk id="709" creationId="{E2763225-A0C0-956E-837C-9F6069225976}"/>
          </ac:cxnSpMkLst>
        </pc:cxnChg>
        <pc:cxnChg chg="ord replST">
          <ac:chgData name="Bullinger, Marvin" userId="5b54ce5a-dc89-476f-af33-5abd75d5b1e8" providerId="ADAL" clId="{43B71669-8A80-4333-9349-B258A9296B49}" dt="2024-02-27T17:27:37.426" v="7379"/>
          <ac:cxnSpMkLst>
            <pc:docMk/>
            <pc:sldMk cId="326362598" sldId="579"/>
            <ac:cxnSpMk id="712" creationId="{BC1DDFD2-042F-1E40-EBCC-C27BA6574425}"/>
          </ac:cxnSpMkLst>
        </pc:cxnChg>
        <pc:cxnChg chg="ord replST">
          <ac:chgData name="Bullinger, Marvin" userId="5b54ce5a-dc89-476f-af33-5abd75d5b1e8" providerId="ADAL" clId="{43B71669-8A80-4333-9349-B258A9296B49}" dt="2024-02-27T17:27:37.435" v="7380"/>
          <ac:cxnSpMkLst>
            <pc:docMk/>
            <pc:sldMk cId="326362598" sldId="579"/>
            <ac:cxnSpMk id="715" creationId="{4A77FB95-EDDB-0A0C-31F1-E18F6A01C724}"/>
          </ac:cxnSpMkLst>
        </pc:cxnChg>
        <pc:cxnChg chg="ord replST">
          <ac:chgData name="Bullinger, Marvin" userId="5b54ce5a-dc89-476f-af33-5abd75d5b1e8" providerId="ADAL" clId="{43B71669-8A80-4333-9349-B258A9296B49}" dt="2024-02-27T17:27:37.435" v="7381"/>
          <ac:cxnSpMkLst>
            <pc:docMk/>
            <pc:sldMk cId="326362598" sldId="579"/>
            <ac:cxnSpMk id="716" creationId="{14742289-84C3-1348-C861-3523030E1D59}"/>
          </ac:cxnSpMkLst>
        </pc:cxnChg>
      </pc:sldChg>
      <pc:sldChg chg="addSp delSp modSp mod ord modTransition">
        <pc:chgData name="Bullinger, Marvin" userId="5b54ce5a-dc89-476f-af33-5abd75d5b1e8" providerId="ADAL" clId="{43B71669-8A80-4333-9349-B258A9296B49}" dt="2024-02-27T17:30:52.327" v="7810" actId="478"/>
        <pc:sldMkLst>
          <pc:docMk/>
          <pc:sldMk cId="459806595" sldId="580"/>
        </pc:sldMkLst>
        <pc:spChg chg="del mod">
          <ac:chgData name="Bullinger, Marvin" userId="5b54ce5a-dc89-476f-af33-5abd75d5b1e8" providerId="ADAL" clId="{43B71669-8A80-4333-9349-B258A9296B49}" dt="2024-02-27T17:30:52.327" v="7810" actId="478"/>
          <ac:spMkLst>
            <pc:docMk/>
            <pc:sldMk cId="459806595" sldId="580"/>
            <ac:spMk id="26" creationId="{189B8AA0-AD8E-835D-F9ED-FDFB29DA7F8C}"/>
          </ac:spMkLst>
        </pc:spChg>
        <pc:spChg chg="mod">
          <ac:chgData name="Bullinger, Marvin" userId="5b54ce5a-dc89-476f-af33-5abd75d5b1e8" providerId="ADAL" clId="{43B71669-8A80-4333-9349-B258A9296B49}" dt="2024-02-27T16:53:49.050" v="3382"/>
          <ac:spMkLst>
            <pc:docMk/>
            <pc:sldMk cId="459806595" sldId="580"/>
            <ac:spMk id="27" creationId="{82DC56F2-72F0-856A-9521-27D4C7018933}"/>
          </ac:spMkLst>
        </pc:spChg>
        <pc:spChg chg="del">
          <ac:chgData name="Bullinger, Marvin" userId="5b54ce5a-dc89-476f-af33-5abd75d5b1e8" providerId="ADAL" clId="{43B71669-8A80-4333-9349-B258A9296B49}" dt="2024-02-27T16:45:50.043" v="463" actId="478"/>
          <ac:spMkLst>
            <pc:docMk/>
            <pc:sldMk cId="459806595" sldId="580"/>
            <ac:spMk id="192" creationId="{989F7911-1513-0AB4-BC7D-7E9E1B46E48F}"/>
          </ac:spMkLst>
        </pc:spChg>
        <pc:spChg chg="del">
          <ac:chgData name="Bullinger, Marvin" userId="5b54ce5a-dc89-476f-af33-5abd75d5b1e8" providerId="ADAL" clId="{43B71669-8A80-4333-9349-B258A9296B49}" dt="2024-02-27T16:45:50.043" v="462" actId="478"/>
          <ac:spMkLst>
            <pc:docMk/>
            <pc:sldMk cId="459806595" sldId="580"/>
            <ac:spMk id="193" creationId="{1807E221-F111-B1B6-8AEA-7DF2987D671B}"/>
          </ac:spMkLst>
        </pc:spChg>
        <pc:spChg chg="del">
          <ac:chgData name="Bullinger, Marvin" userId="5b54ce5a-dc89-476f-af33-5abd75d5b1e8" providerId="ADAL" clId="{43B71669-8A80-4333-9349-B258A9296B49}" dt="2024-02-27T16:45:50.043" v="461" actId="478"/>
          <ac:spMkLst>
            <pc:docMk/>
            <pc:sldMk cId="459806595" sldId="580"/>
            <ac:spMk id="194" creationId="{7B49A581-F996-2154-1EC3-035A5DA551B3}"/>
          </ac:spMkLst>
        </pc:spChg>
        <pc:spChg chg="del">
          <ac:chgData name="Bullinger, Marvin" userId="5b54ce5a-dc89-476f-af33-5abd75d5b1e8" providerId="ADAL" clId="{43B71669-8A80-4333-9349-B258A9296B49}" dt="2024-02-27T16:45:50.043" v="460" actId="478"/>
          <ac:spMkLst>
            <pc:docMk/>
            <pc:sldMk cId="459806595" sldId="580"/>
            <ac:spMk id="195" creationId="{4C932A72-B5ED-66D1-6213-C62531DB5F8C}"/>
          </ac:spMkLst>
        </pc:spChg>
        <pc:spChg chg="del">
          <ac:chgData name="Bullinger, Marvin" userId="5b54ce5a-dc89-476f-af33-5abd75d5b1e8" providerId="ADAL" clId="{43B71669-8A80-4333-9349-B258A9296B49}" dt="2024-02-27T16:45:50.043" v="459" actId="478"/>
          <ac:spMkLst>
            <pc:docMk/>
            <pc:sldMk cId="459806595" sldId="580"/>
            <ac:spMk id="196" creationId="{4D61B503-2D8B-F525-CE12-0354C1A13B10}"/>
          </ac:spMkLst>
        </pc:spChg>
        <pc:spChg chg="del">
          <ac:chgData name="Bullinger, Marvin" userId="5b54ce5a-dc89-476f-af33-5abd75d5b1e8" providerId="ADAL" clId="{43B71669-8A80-4333-9349-B258A9296B49}" dt="2024-02-27T16:45:50.043" v="456" actId="478"/>
          <ac:spMkLst>
            <pc:docMk/>
            <pc:sldMk cId="459806595" sldId="580"/>
            <ac:spMk id="197" creationId="{91FF0ED0-0772-A075-0D61-DB389C023714}"/>
          </ac:spMkLst>
        </pc:spChg>
        <pc:spChg chg="del">
          <ac:chgData name="Bullinger, Marvin" userId="5b54ce5a-dc89-476f-af33-5abd75d5b1e8" providerId="ADAL" clId="{43B71669-8A80-4333-9349-B258A9296B49}" dt="2024-02-27T16:45:50.043" v="455" actId="478"/>
          <ac:spMkLst>
            <pc:docMk/>
            <pc:sldMk cId="459806595" sldId="580"/>
            <ac:spMk id="198" creationId="{2290136D-5429-47B4-25F3-FCA88DC12941}"/>
          </ac:spMkLst>
        </pc:spChg>
        <pc:spChg chg="del">
          <ac:chgData name="Bullinger, Marvin" userId="5b54ce5a-dc89-476f-af33-5abd75d5b1e8" providerId="ADAL" clId="{43B71669-8A80-4333-9349-B258A9296B49}" dt="2024-02-27T16:45:50.029" v="428" actId="478"/>
          <ac:spMkLst>
            <pc:docMk/>
            <pc:sldMk cId="459806595" sldId="580"/>
            <ac:spMk id="199" creationId="{6F6205F3-722F-611E-03DA-6E0B699C121F}"/>
          </ac:spMkLst>
        </pc:spChg>
        <pc:spChg chg="del">
          <ac:chgData name="Bullinger, Marvin" userId="5b54ce5a-dc89-476f-af33-5abd75d5b1e8" providerId="ADAL" clId="{43B71669-8A80-4333-9349-B258A9296B49}" dt="2024-02-27T16:45:50.043" v="454" actId="478"/>
          <ac:spMkLst>
            <pc:docMk/>
            <pc:sldMk cId="459806595" sldId="580"/>
            <ac:spMk id="200" creationId="{5968985B-427F-F0CB-BAC8-2782C14F2AC1}"/>
          </ac:spMkLst>
        </pc:spChg>
        <pc:spChg chg="del">
          <ac:chgData name="Bullinger, Marvin" userId="5b54ce5a-dc89-476f-af33-5abd75d5b1e8" providerId="ADAL" clId="{43B71669-8A80-4333-9349-B258A9296B49}" dt="2024-02-27T16:45:50.043" v="453" actId="478"/>
          <ac:spMkLst>
            <pc:docMk/>
            <pc:sldMk cId="459806595" sldId="580"/>
            <ac:spMk id="201" creationId="{FF38E7E3-9074-9316-A944-05B1D4C996C3}"/>
          </ac:spMkLst>
        </pc:spChg>
        <pc:spChg chg="del">
          <ac:chgData name="Bullinger, Marvin" userId="5b54ce5a-dc89-476f-af33-5abd75d5b1e8" providerId="ADAL" clId="{43B71669-8A80-4333-9349-B258A9296B49}" dt="2024-02-27T16:45:50.043" v="452" actId="478"/>
          <ac:spMkLst>
            <pc:docMk/>
            <pc:sldMk cId="459806595" sldId="580"/>
            <ac:spMk id="202" creationId="{9F8F188D-55A1-BA06-4767-0950D73CC954}"/>
          </ac:spMkLst>
        </pc:spChg>
        <pc:spChg chg="del">
          <ac:chgData name="Bullinger, Marvin" userId="5b54ce5a-dc89-476f-af33-5abd75d5b1e8" providerId="ADAL" clId="{43B71669-8A80-4333-9349-B258A9296B49}" dt="2024-02-27T16:45:50.043" v="451" actId="478"/>
          <ac:spMkLst>
            <pc:docMk/>
            <pc:sldMk cId="459806595" sldId="580"/>
            <ac:spMk id="203" creationId="{B04FAEB7-6550-FFCE-ED5E-F77163868BEB}"/>
          </ac:spMkLst>
        </pc:spChg>
        <pc:spChg chg="del">
          <ac:chgData name="Bullinger, Marvin" userId="5b54ce5a-dc89-476f-af33-5abd75d5b1e8" providerId="ADAL" clId="{43B71669-8A80-4333-9349-B258A9296B49}" dt="2024-02-27T16:45:50.043" v="472" actId="478"/>
          <ac:spMkLst>
            <pc:docMk/>
            <pc:sldMk cId="459806595" sldId="580"/>
            <ac:spMk id="204" creationId="{8F3D5F3B-FF3B-406C-3ED8-738A7724CF87}"/>
          </ac:spMkLst>
        </pc:spChg>
        <pc:spChg chg="del">
          <ac:chgData name="Bullinger, Marvin" userId="5b54ce5a-dc89-476f-af33-5abd75d5b1e8" providerId="ADAL" clId="{43B71669-8A80-4333-9349-B258A9296B49}" dt="2024-02-27T16:45:50.043" v="471" actId="478"/>
          <ac:spMkLst>
            <pc:docMk/>
            <pc:sldMk cId="459806595" sldId="580"/>
            <ac:spMk id="205" creationId="{3F67F588-89F7-E4DE-37A2-486CB8188D9B}"/>
          </ac:spMkLst>
        </pc:spChg>
        <pc:spChg chg="del">
          <ac:chgData name="Bullinger, Marvin" userId="5b54ce5a-dc89-476f-af33-5abd75d5b1e8" providerId="ADAL" clId="{43B71669-8A80-4333-9349-B258A9296B49}" dt="2024-02-27T16:45:50.043" v="470" actId="478"/>
          <ac:spMkLst>
            <pc:docMk/>
            <pc:sldMk cId="459806595" sldId="580"/>
            <ac:spMk id="206" creationId="{74B02411-E776-720B-2DD7-797C3D5F29CF}"/>
          </ac:spMkLst>
        </pc:spChg>
        <pc:spChg chg="del">
          <ac:chgData name="Bullinger, Marvin" userId="5b54ce5a-dc89-476f-af33-5abd75d5b1e8" providerId="ADAL" clId="{43B71669-8A80-4333-9349-B258A9296B49}" dt="2024-02-27T16:45:50.043" v="469" actId="478"/>
          <ac:spMkLst>
            <pc:docMk/>
            <pc:sldMk cId="459806595" sldId="580"/>
            <ac:spMk id="207" creationId="{B3762930-BB31-4798-F255-BEF3F41B394B}"/>
          </ac:spMkLst>
        </pc:spChg>
        <pc:spChg chg="del">
          <ac:chgData name="Bullinger, Marvin" userId="5b54ce5a-dc89-476f-af33-5abd75d5b1e8" providerId="ADAL" clId="{43B71669-8A80-4333-9349-B258A9296B49}" dt="2024-02-27T16:45:50.043" v="468" actId="478"/>
          <ac:spMkLst>
            <pc:docMk/>
            <pc:sldMk cId="459806595" sldId="580"/>
            <ac:spMk id="208" creationId="{9BA5C000-365F-77F7-B315-CA9B1DC226DB}"/>
          </ac:spMkLst>
        </pc:spChg>
        <pc:spChg chg="del">
          <ac:chgData name="Bullinger, Marvin" userId="5b54ce5a-dc89-476f-af33-5abd75d5b1e8" providerId="ADAL" clId="{43B71669-8A80-4333-9349-B258A9296B49}" dt="2024-02-27T16:45:50.043" v="467" actId="478"/>
          <ac:spMkLst>
            <pc:docMk/>
            <pc:sldMk cId="459806595" sldId="580"/>
            <ac:spMk id="209" creationId="{EDF279AA-5B71-49F8-9375-09727BE1B766}"/>
          </ac:spMkLst>
        </pc:spChg>
        <pc:spChg chg="del">
          <ac:chgData name="Bullinger, Marvin" userId="5b54ce5a-dc89-476f-af33-5abd75d5b1e8" providerId="ADAL" clId="{43B71669-8A80-4333-9349-B258A9296B49}" dt="2024-02-27T16:45:50.043" v="466" actId="478"/>
          <ac:spMkLst>
            <pc:docMk/>
            <pc:sldMk cId="459806595" sldId="580"/>
            <ac:spMk id="210" creationId="{C078C82F-8F08-464B-541C-F3A888211198}"/>
          </ac:spMkLst>
        </pc:spChg>
        <pc:spChg chg="del">
          <ac:chgData name="Bullinger, Marvin" userId="5b54ce5a-dc89-476f-af33-5abd75d5b1e8" providerId="ADAL" clId="{43B71669-8A80-4333-9349-B258A9296B49}" dt="2024-02-27T16:45:50.043" v="465" actId="478"/>
          <ac:spMkLst>
            <pc:docMk/>
            <pc:sldMk cId="459806595" sldId="580"/>
            <ac:spMk id="211" creationId="{9557B6A6-4A9F-7F2B-F7F3-412B036ADE21}"/>
          </ac:spMkLst>
        </pc:spChg>
        <pc:spChg chg="del">
          <ac:chgData name="Bullinger, Marvin" userId="5b54ce5a-dc89-476f-af33-5abd75d5b1e8" providerId="ADAL" clId="{43B71669-8A80-4333-9349-B258A9296B49}" dt="2024-02-27T16:45:50.043" v="457" actId="478"/>
          <ac:spMkLst>
            <pc:docMk/>
            <pc:sldMk cId="459806595" sldId="580"/>
            <ac:spMk id="212" creationId="{064A5000-180B-60B5-BBDB-89C247FE691A}"/>
          </ac:spMkLst>
        </pc:spChg>
        <pc:spChg chg="del">
          <ac:chgData name="Bullinger, Marvin" userId="5b54ce5a-dc89-476f-af33-5abd75d5b1e8" providerId="ADAL" clId="{43B71669-8A80-4333-9349-B258A9296B49}" dt="2024-02-27T16:45:50.043" v="450" actId="478"/>
          <ac:spMkLst>
            <pc:docMk/>
            <pc:sldMk cId="459806595" sldId="580"/>
            <ac:spMk id="213" creationId="{9C45829D-2DD5-C3C3-2816-6BDFF87ECE2D}"/>
          </ac:spMkLst>
        </pc:spChg>
        <pc:spChg chg="del">
          <ac:chgData name="Bullinger, Marvin" userId="5b54ce5a-dc89-476f-af33-5abd75d5b1e8" providerId="ADAL" clId="{43B71669-8A80-4333-9349-B258A9296B49}" dt="2024-02-27T16:45:50.043" v="458" actId="478"/>
          <ac:spMkLst>
            <pc:docMk/>
            <pc:sldMk cId="459806595" sldId="580"/>
            <ac:spMk id="214" creationId="{01E5C410-90DE-D506-3FA2-1501720661DA}"/>
          </ac:spMkLst>
        </pc:spChg>
        <pc:spChg chg="del">
          <ac:chgData name="Bullinger, Marvin" userId="5b54ce5a-dc89-476f-af33-5abd75d5b1e8" providerId="ADAL" clId="{43B71669-8A80-4333-9349-B258A9296B49}" dt="2024-02-27T16:45:50.043" v="449" actId="478"/>
          <ac:spMkLst>
            <pc:docMk/>
            <pc:sldMk cId="459806595" sldId="580"/>
            <ac:spMk id="215" creationId="{C3304CEE-715A-5DEF-02B1-E4E8431D311E}"/>
          </ac:spMkLst>
        </pc:spChg>
        <pc:spChg chg="del">
          <ac:chgData name="Bullinger, Marvin" userId="5b54ce5a-dc89-476f-af33-5abd75d5b1e8" providerId="ADAL" clId="{43B71669-8A80-4333-9349-B258A9296B49}" dt="2024-02-27T16:45:50.043" v="448" actId="478"/>
          <ac:spMkLst>
            <pc:docMk/>
            <pc:sldMk cId="459806595" sldId="580"/>
            <ac:spMk id="216" creationId="{428FBBF0-2C2E-82CF-1978-386F3A5D6DFF}"/>
          </ac:spMkLst>
        </pc:spChg>
        <pc:spChg chg="del">
          <ac:chgData name="Bullinger, Marvin" userId="5b54ce5a-dc89-476f-af33-5abd75d5b1e8" providerId="ADAL" clId="{43B71669-8A80-4333-9349-B258A9296B49}" dt="2024-02-27T16:45:50.043" v="447" actId="478"/>
          <ac:spMkLst>
            <pc:docMk/>
            <pc:sldMk cId="459806595" sldId="580"/>
            <ac:spMk id="217" creationId="{017DB80C-BC8E-3265-FAE2-5AC5861541FA}"/>
          </ac:spMkLst>
        </pc:spChg>
        <pc:spChg chg="del">
          <ac:chgData name="Bullinger, Marvin" userId="5b54ce5a-dc89-476f-af33-5abd75d5b1e8" providerId="ADAL" clId="{43B71669-8A80-4333-9349-B258A9296B49}" dt="2024-02-27T16:45:50.043" v="446" actId="478"/>
          <ac:spMkLst>
            <pc:docMk/>
            <pc:sldMk cId="459806595" sldId="580"/>
            <ac:spMk id="218" creationId="{609E5E31-3B20-B85E-77E0-502F9D2C68B9}"/>
          </ac:spMkLst>
        </pc:spChg>
        <pc:spChg chg="del">
          <ac:chgData name="Bullinger, Marvin" userId="5b54ce5a-dc89-476f-af33-5abd75d5b1e8" providerId="ADAL" clId="{43B71669-8A80-4333-9349-B258A9296B49}" dt="2024-02-27T16:45:50.043" v="445" actId="478"/>
          <ac:spMkLst>
            <pc:docMk/>
            <pc:sldMk cId="459806595" sldId="580"/>
            <ac:spMk id="219" creationId="{D062E6CA-F3F6-9AC4-3645-F741B3ABFD31}"/>
          </ac:spMkLst>
        </pc:spChg>
        <pc:spChg chg="del">
          <ac:chgData name="Bullinger, Marvin" userId="5b54ce5a-dc89-476f-af33-5abd75d5b1e8" providerId="ADAL" clId="{43B71669-8A80-4333-9349-B258A9296B49}" dt="2024-02-27T16:45:50.043" v="444" actId="478"/>
          <ac:spMkLst>
            <pc:docMk/>
            <pc:sldMk cId="459806595" sldId="580"/>
            <ac:spMk id="220" creationId="{A62C8324-A95D-CF70-411A-64CF5C486C54}"/>
          </ac:spMkLst>
        </pc:spChg>
        <pc:spChg chg="del">
          <ac:chgData name="Bullinger, Marvin" userId="5b54ce5a-dc89-476f-af33-5abd75d5b1e8" providerId="ADAL" clId="{43B71669-8A80-4333-9349-B258A9296B49}" dt="2024-02-27T16:45:50.043" v="443" actId="478"/>
          <ac:spMkLst>
            <pc:docMk/>
            <pc:sldMk cId="459806595" sldId="580"/>
            <ac:spMk id="221" creationId="{D4CB1719-67D3-AE4C-619D-535C7AC6F15E}"/>
          </ac:spMkLst>
        </pc:spChg>
        <pc:spChg chg="del">
          <ac:chgData name="Bullinger, Marvin" userId="5b54ce5a-dc89-476f-af33-5abd75d5b1e8" providerId="ADAL" clId="{43B71669-8A80-4333-9349-B258A9296B49}" dt="2024-02-27T16:45:50.043" v="442" actId="478"/>
          <ac:spMkLst>
            <pc:docMk/>
            <pc:sldMk cId="459806595" sldId="580"/>
            <ac:spMk id="222" creationId="{4DDD9E58-2CF3-CED1-618D-E45964C533BF}"/>
          </ac:spMkLst>
        </pc:spChg>
        <pc:spChg chg="del">
          <ac:chgData name="Bullinger, Marvin" userId="5b54ce5a-dc89-476f-af33-5abd75d5b1e8" providerId="ADAL" clId="{43B71669-8A80-4333-9349-B258A9296B49}" dt="2024-02-27T16:45:50.043" v="441" actId="478"/>
          <ac:spMkLst>
            <pc:docMk/>
            <pc:sldMk cId="459806595" sldId="580"/>
            <ac:spMk id="223" creationId="{2C638523-3243-76A6-74AC-B0C1BDF1DFE4}"/>
          </ac:spMkLst>
        </pc:spChg>
        <pc:spChg chg="add mod">
          <ac:chgData name="Bullinger, Marvin" userId="5b54ce5a-dc89-476f-af33-5abd75d5b1e8" providerId="ADAL" clId="{43B71669-8A80-4333-9349-B258A9296B49}" dt="2024-02-27T16:45:50.029" v="428" actId="478"/>
          <ac:spMkLst>
            <pc:docMk/>
            <pc:sldMk cId="459806595" sldId="580"/>
            <ac:spMk id="234" creationId="{5905E49E-F300-E8A6-2AA7-84D0992EFCA1}"/>
          </ac:spMkLst>
        </pc:spChg>
        <pc:spChg chg="del mod ord replST">
          <ac:chgData name="Bullinger, Marvin" userId="5b54ce5a-dc89-476f-af33-5abd75d5b1e8" providerId="ADAL" clId="{43B71669-8A80-4333-9349-B258A9296B49}" dt="2024-02-27T16:46:20.270" v="1206" actId="478"/>
          <ac:spMkLst>
            <pc:docMk/>
            <pc:sldMk cId="459806595" sldId="580"/>
            <ac:spMk id="235" creationId="{67D10C4E-F81C-24D4-E01E-C398BF451E87}"/>
          </ac:spMkLst>
        </pc:spChg>
        <pc:spChg chg="del">
          <ac:chgData name="Bullinger, Marvin" userId="5b54ce5a-dc89-476f-af33-5abd75d5b1e8" providerId="ADAL" clId="{43B71669-8A80-4333-9349-B258A9296B49}" dt="2024-02-27T16:45:50.043" v="464" actId="478"/>
          <ac:spMkLst>
            <pc:docMk/>
            <pc:sldMk cId="459806595" sldId="580"/>
            <ac:spMk id="236" creationId="{738EF4FD-D699-C4D4-4103-CCD5249E333F}"/>
          </ac:spMkLst>
        </pc:spChg>
        <pc:spChg chg="del">
          <ac:chgData name="Bullinger, Marvin" userId="5b54ce5a-dc89-476f-af33-5abd75d5b1e8" providerId="ADAL" clId="{43B71669-8A80-4333-9349-B258A9296B49}" dt="2024-02-27T16:45:50.031" v="431" actId="478"/>
          <ac:spMkLst>
            <pc:docMk/>
            <pc:sldMk cId="459806595" sldId="580"/>
            <ac:spMk id="245" creationId="{D744E39D-E903-FAC0-40B8-6B9F26E643F7}"/>
          </ac:spMkLst>
        </pc:spChg>
        <pc:spChg chg="del">
          <ac:chgData name="Bullinger, Marvin" userId="5b54ce5a-dc89-476f-af33-5abd75d5b1e8" providerId="ADAL" clId="{43B71669-8A80-4333-9349-B258A9296B49}" dt="2024-02-27T16:45:50.043" v="440" actId="478"/>
          <ac:spMkLst>
            <pc:docMk/>
            <pc:sldMk cId="459806595" sldId="580"/>
            <ac:spMk id="256" creationId="{A2F56503-DCC0-9DDF-9301-F580A9C7A6EC}"/>
          </ac:spMkLst>
        </pc:spChg>
        <pc:spChg chg="del">
          <ac:chgData name="Bullinger, Marvin" userId="5b54ce5a-dc89-476f-af33-5abd75d5b1e8" providerId="ADAL" clId="{43B71669-8A80-4333-9349-B258A9296B49}" dt="2024-02-27T16:45:50.043" v="439" actId="478"/>
          <ac:spMkLst>
            <pc:docMk/>
            <pc:sldMk cId="459806595" sldId="580"/>
            <ac:spMk id="257" creationId="{DE0E0074-02EE-46A2-2336-DD7433E43894}"/>
          </ac:spMkLst>
        </pc:spChg>
        <pc:spChg chg="del">
          <ac:chgData name="Bullinger, Marvin" userId="5b54ce5a-dc89-476f-af33-5abd75d5b1e8" providerId="ADAL" clId="{43B71669-8A80-4333-9349-B258A9296B49}" dt="2024-02-27T16:45:50.043" v="438" actId="478"/>
          <ac:spMkLst>
            <pc:docMk/>
            <pc:sldMk cId="459806595" sldId="580"/>
            <ac:spMk id="258" creationId="{C0A25606-1243-C7B3-81F6-25F91F7043A8}"/>
          </ac:spMkLst>
        </pc:spChg>
        <pc:spChg chg="del">
          <ac:chgData name="Bullinger, Marvin" userId="5b54ce5a-dc89-476f-af33-5abd75d5b1e8" providerId="ADAL" clId="{43B71669-8A80-4333-9349-B258A9296B49}" dt="2024-02-27T16:45:50.043" v="437" actId="478"/>
          <ac:spMkLst>
            <pc:docMk/>
            <pc:sldMk cId="459806595" sldId="580"/>
            <ac:spMk id="259" creationId="{CCE81C07-F428-3F1B-6F6F-3942841BFBFD}"/>
          </ac:spMkLst>
        </pc:spChg>
        <pc:spChg chg="del">
          <ac:chgData name="Bullinger, Marvin" userId="5b54ce5a-dc89-476f-af33-5abd75d5b1e8" providerId="ADAL" clId="{43B71669-8A80-4333-9349-B258A9296B49}" dt="2024-02-27T16:45:50.042" v="436" actId="478"/>
          <ac:spMkLst>
            <pc:docMk/>
            <pc:sldMk cId="459806595" sldId="580"/>
            <ac:spMk id="260" creationId="{58E3C03A-D374-6900-9E44-26CC4F859DE0}"/>
          </ac:spMkLst>
        </pc:spChg>
        <pc:spChg chg="replST">
          <ac:chgData name="Bullinger, Marvin" userId="5b54ce5a-dc89-476f-af33-5abd75d5b1e8" providerId="ADAL" clId="{43B71669-8A80-4333-9349-B258A9296B49}" dt="2024-02-27T16:45:50.428" v="770"/>
          <ac:spMkLst>
            <pc:docMk/>
            <pc:sldMk cId="459806595" sldId="580"/>
            <ac:spMk id="261" creationId="{9C25EE85-4E7D-8D98-E402-9BCB6071073D}"/>
          </ac:spMkLst>
        </pc:spChg>
        <pc:spChg chg="replST">
          <ac:chgData name="Bullinger, Marvin" userId="5b54ce5a-dc89-476f-af33-5abd75d5b1e8" providerId="ADAL" clId="{43B71669-8A80-4333-9349-B258A9296B49}" dt="2024-02-27T16:45:50.428" v="773"/>
          <ac:spMkLst>
            <pc:docMk/>
            <pc:sldMk cId="459806595" sldId="580"/>
            <ac:spMk id="262" creationId="{845AFCFB-158F-9847-AE2B-07C58F67744B}"/>
          </ac:spMkLst>
        </pc:spChg>
        <pc:spChg chg="replST">
          <ac:chgData name="Bullinger, Marvin" userId="5b54ce5a-dc89-476f-af33-5abd75d5b1e8" providerId="ADAL" clId="{43B71669-8A80-4333-9349-B258A9296B49}" dt="2024-02-27T16:45:50.444" v="777"/>
          <ac:spMkLst>
            <pc:docMk/>
            <pc:sldMk cId="459806595" sldId="580"/>
            <ac:spMk id="264" creationId="{6288002B-52CA-A727-C889-D2F3A5445B86}"/>
          </ac:spMkLst>
        </pc:spChg>
        <pc:spChg chg="replST">
          <ac:chgData name="Bullinger, Marvin" userId="5b54ce5a-dc89-476f-af33-5abd75d5b1e8" providerId="ADAL" clId="{43B71669-8A80-4333-9349-B258A9296B49}" dt="2024-02-27T16:45:50.447" v="780"/>
          <ac:spMkLst>
            <pc:docMk/>
            <pc:sldMk cId="459806595" sldId="580"/>
            <ac:spMk id="265" creationId="{352FA489-BFCC-D13E-E3C4-9A4B57986DDB}"/>
          </ac:spMkLst>
        </pc:spChg>
        <pc:spChg chg="replST">
          <ac:chgData name="Bullinger, Marvin" userId="5b54ce5a-dc89-476f-af33-5abd75d5b1e8" providerId="ADAL" clId="{43B71669-8A80-4333-9349-B258A9296B49}" dt="2024-02-27T16:45:50.452" v="784"/>
          <ac:spMkLst>
            <pc:docMk/>
            <pc:sldMk cId="459806595" sldId="580"/>
            <ac:spMk id="267" creationId="{7A8046A7-F960-8286-21F3-CE66F8CB802E}"/>
          </ac:spMkLst>
        </pc:spChg>
        <pc:spChg chg="replST">
          <ac:chgData name="Bullinger, Marvin" userId="5b54ce5a-dc89-476f-af33-5abd75d5b1e8" providerId="ADAL" clId="{43B71669-8A80-4333-9349-B258A9296B49}" dt="2024-02-27T16:45:50.455" v="787"/>
          <ac:spMkLst>
            <pc:docMk/>
            <pc:sldMk cId="459806595" sldId="580"/>
            <ac:spMk id="268" creationId="{694986CE-41DF-22CD-B2BD-E240C1F55DF1}"/>
          </ac:spMkLst>
        </pc:spChg>
        <pc:spChg chg="del ord replST">
          <ac:chgData name="Bullinger, Marvin" userId="5b54ce5a-dc89-476f-af33-5abd75d5b1e8" providerId="ADAL" clId="{43B71669-8A80-4333-9349-B258A9296B49}" dt="2024-02-27T16:46:20.270" v="1209" actId="478"/>
          <ac:spMkLst>
            <pc:docMk/>
            <pc:sldMk cId="459806595" sldId="580"/>
            <ac:spMk id="269" creationId="{3C99FC57-4D6B-3427-AB72-5BA46BF1C00A}"/>
          </ac:spMkLst>
        </pc:spChg>
        <pc:spChg chg="replST">
          <ac:chgData name="Bullinger, Marvin" userId="5b54ce5a-dc89-476f-af33-5abd75d5b1e8" providerId="ADAL" clId="{43B71669-8A80-4333-9349-B258A9296B49}" dt="2024-02-27T16:45:50.460" v="791"/>
          <ac:spMkLst>
            <pc:docMk/>
            <pc:sldMk cId="459806595" sldId="580"/>
            <ac:spMk id="270" creationId="{88DC8243-57F5-5FCF-1D20-A0889751A021}"/>
          </ac:spMkLst>
        </pc:spChg>
        <pc:spChg chg="replST">
          <ac:chgData name="Bullinger, Marvin" userId="5b54ce5a-dc89-476f-af33-5abd75d5b1e8" providerId="ADAL" clId="{43B71669-8A80-4333-9349-B258A9296B49}" dt="2024-02-27T16:45:50.463" v="794"/>
          <ac:spMkLst>
            <pc:docMk/>
            <pc:sldMk cId="459806595" sldId="580"/>
            <ac:spMk id="271" creationId="{FEBE3416-F7F5-D6FE-21CF-42DDB0E0A942}"/>
          </ac:spMkLst>
        </pc:spChg>
        <pc:spChg chg="replST">
          <ac:chgData name="Bullinger, Marvin" userId="5b54ce5a-dc89-476f-af33-5abd75d5b1e8" providerId="ADAL" clId="{43B71669-8A80-4333-9349-B258A9296B49}" dt="2024-02-27T16:45:50.468" v="798"/>
          <ac:spMkLst>
            <pc:docMk/>
            <pc:sldMk cId="459806595" sldId="580"/>
            <ac:spMk id="273" creationId="{96E564D6-37C3-C006-E9DC-C5C03DA3571E}"/>
          </ac:spMkLst>
        </pc:spChg>
        <pc:spChg chg="replST">
          <ac:chgData name="Bullinger, Marvin" userId="5b54ce5a-dc89-476f-af33-5abd75d5b1e8" providerId="ADAL" clId="{43B71669-8A80-4333-9349-B258A9296B49}" dt="2024-02-27T16:45:50.471" v="801"/>
          <ac:spMkLst>
            <pc:docMk/>
            <pc:sldMk cId="459806595" sldId="580"/>
            <ac:spMk id="274" creationId="{A2FBA17A-83FD-456A-428C-9672711899BE}"/>
          </ac:spMkLst>
        </pc:spChg>
        <pc:spChg chg="replST">
          <ac:chgData name="Bullinger, Marvin" userId="5b54ce5a-dc89-476f-af33-5abd75d5b1e8" providerId="ADAL" clId="{43B71669-8A80-4333-9349-B258A9296B49}" dt="2024-02-27T16:45:50.476" v="805"/>
          <ac:spMkLst>
            <pc:docMk/>
            <pc:sldMk cId="459806595" sldId="580"/>
            <ac:spMk id="276" creationId="{A33A98BF-4832-A996-D04E-B5D46416DB5F}"/>
          </ac:spMkLst>
        </pc:spChg>
        <pc:spChg chg="replST">
          <ac:chgData name="Bullinger, Marvin" userId="5b54ce5a-dc89-476f-af33-5abd75d5b1e8" providerId="ADAL" clId="{43B71669-8A80-4333-9349-B258A9296B49}" dt="2024-02-27T16:45:50.479" v="808"/>
          <ac:spMkLst>
            <pc:docMk/>
            <pc:sldMk cId="459806595" sldId="580"/>
            <ac:spMk id="277" creationId="{005E2770-D054-255D-DA4B-26DB3FA0B3BF}"/>
          </ac:spMkLst>
        </pc:spChg>
        <pc:spChg chg="add mod">
          <ac:chgData name="Bullinger, Marvin" userId="5b54ce5a-dc89-476f-af33-5abd75d5b1e8" providerId="ADAL" clId="{43B71669-8A80-4333-9349-B258A9296B49}" dt="2024-02-27T17:21:07.342" v="3583" actId="478"/>
          <ac:spMkLst>
            <pc:docMk/>
            <pc:sldMk cId="459806595" sldId="580"/>
            <ac:spMk id="298" creationId="{42C2E5D6-EEE1-9CDE-28CB-9109C201DDAF}"/>
          </ac:spMkLst>
        </pc:spChg>
        <pc:spChg chg="del mod ord replST">
          <ac:chgData name="Bullinger, Marvin" userId="5b54ce5a-dc89-476f-af33-5abd75d5b1e8" providerId="ADAL" clId="{43B71669-8A80-4333-9349-B258A9296B49}" dt="2024-02-27T17:26:23.196" v="4544" actId="478"/>
          <ac:spMkLst>
            <pc:docMk/>
            <pc:sldMk cId="459806595" sldId="580"/>
            <ac:spMk id="299" creationId="{56B23895-CA14-AA87-73F2-617ECE6AC16B}"/>
          </ac:spMkLst>
        </pc:spChg>
        <pc:spChg chg="del">
          <ac:chgData name="Bullinger, Marvin" userId="5b54ce5a-dc89-476f-af33-5abd75d5b1e8" providerId="ADAL" clId="{43B71669-8A80-4333-9349-B258A9296B49}" dt="2024-02-27T17:21:07.377" v="3619" actId="478"/>
          <ac:spMkLst>
            <pc:docMk/>
            <pc:sldMk cId="459806595" sldId="580"/>
            <ac:spMk id="300" creationId="{28B8080F-B3E3-4277-59EE-D487A51CCB9C}"/>
          </ac:spMkLst>
        </pc:spChg>
        <pc:spChg chg="del">
          <ac:chgData name="Bullinger, Marvin" userId="5b54ce5a-dc89-476f-af33-5abd75d5b1e8" providerId="ADAL" clId="{43B71669-8A80-4333-9349-B258A9296B49}" dt="2024-02-27T17:21:07.377" v="3618" actId="478"/>
          <ac:spMkLst>
            <pc:docMk/>
            <pc:sldMk cId="459806595" sldId="580"/>
            <ac:spMk id="301" creationId="{4E86F461-63B5-F3D2-BA8F-4CC8745A4920}"/>
          </ac:spMkLst>
        </pc:spChg>
        <pc:spChg chg="del">
          <ac:chgData name="Bullinger, Marvin" userId="5b54ce5a-dc89-476f-af33-5abd75d5b1e8" providerId="ADAL" clId="{43B71669-8A80-4333-9349-B258A9296B49}" dt="2024-02-27T17:21:07.377" v="3617" actId="478"/>
          <ac:spMkLst>
            <pc:docMk/>
            <pc:sldMk cId="459806595" sldId="580"/>
            <ac:spMk id="302" creationId="{F2F0CB37-42C6-2555-166F-875656C93511}"/>
          </ac:spMkLst>
        </pc:spChg>
        <pc:spChg chg="del">
          <ac:chgData name="Bullinger, Marvin" userId="5b54ce5a-dc89-476f-af33-5abd75d5b1e8" providerId="ADAL" clId="{43B71669-8A80-4333-9349-B258A9296B49}" dt="2024-02-27T17:21:07.377" v="3616" actId="478"/>
          <ac:spMkLst>
            <pc:docMk/>
            <pc:sldMk cId="459806595" sldId="580"/>
            <ac:spMk id="303" creationId="{1F32C9C3-3ED3-242F-D991-50E494F02337}"/>
          </ac:spMkLst>
        </pc:spChg>
        <pc:spChg chg="del">
          <ac:chgData name="Bullinger, Marvin" userId="5b54ce5a-dc89-476f-af33-5abd75d5b1e8" providerId="ADAL" clId="{43B71669-8A80-4333-9349-B258A9296B49}" dt="2024-02-27T17:21:07.377" v="3615" actId="478"/>
          <ac:spMkLst>
            <pc:docMk/>
            <pc:sldMk cId="459806595" sldId="580"/>
            <ac:spMk id="304" creationId="{6966B5E4-D83F-8972-C9DC-64DC97BF5E71}"/>
          </ac:spMkLst>
        </pc:spChg>
        <pc:spChg chg="del">
          <ac:chgData name="Bullinger, Marvin" userId="5b54ce5a-dc89-476f-af33-5abd75d5b1e8" providerId="ADAL" clId="{43B71669-8A80-4333-9349-B258A9296B49}" dt="2024-02-27T17:21:07.377" v="3614" actId="478"/>
          <ac:spMkLst>
            <pc:docMk/>
            <pc:sldMk cId="459806595" sldId="580"/>
            <ac:spMk id="305" creationId="{FC125DC4-B24E-560B-7337-0A4E7F1BC14A}"/>
          </ac:spMkLst>
        </pc:spChg>
        <pc:spChg chg="del">
          <ac:chgData name="Bullinger, Marvin" userId="5b54ce5a-dc89-476f-af33-5abd75d5b1e8" providerId="ADAL" clId="{43B71669-8A80-4333-9349-B258A9296B49}" dt="2024-02-27T17:21:07.377" v="3611" actId="478"/>
          <ac:spMkLst>
            <pc:docMk/>
            <pc:sldMk cId="459806595" sldId="580"/>
            <ac:spMk id="306" creationId="{1EB38244-CD18-A758-124C-EBFCBDAE0195}"/>
          </ac:spMkLst>
        </pc:spChg>
        <pc:spChg chg="del">
          <ac:chgData name="Bullinger, Marvin" userId="5b54ce5a-dc89-476f-af33-5abd75d5b1e8" providerId="ADAL" clId="{43B71669-8A80-4333-9349-B258A9296B49}" dt="2024-02-27T17:21:07.377" v="3610" actId="478"/>
          <ac:spMkLst>
            <pc:docMk/>
            <pc:sldMk cId="459806595" sldId="580"/>
            <ac:spMk id="307" creationId="{AB537BB9-648F-8521-42ED-B8024765C3AC}"/>
          </ac:spMkLst>
        </pc:spChg>
        <pc:spChg chg="del">
          <ac:chgData name="Bullinger, Marvin" userId="5b54ce5a-dc89-476f-af33-5abd75d5b1e8" providerId="ADAL" clId="{43B71669-8A80-4333-9349-B258A9296B49}" dt="2024-02-27T17:21:07.377" v="3609" actId="478"/>
          <ac:spMkLst>
            <pc:docMk/>
            <pc:sldMk cId="459806595" sldId="580"/>
            <ac:spMk id="308" creationId="{A6CD560A-D6B2-CE12-7829-B2A903D40A86}"/>
          </ac:spMkLst>
        </pc:spChg>
        <pc:spChg chg="del">
          <ac:chgData name="Bullinger, Marvin" userId="5b54ce5a-dc89-476f-af33-5abd75d5b1e8" providerId="ADAL" clId="{43B71669-8A80-4333-9349-B258A9296B49}" dt="2024-02-27T17:21:07.377" v="3608" actId="478"/>
          <ac:spMkLst>
            <pc:docMk/>
            <pc:sldMk cId="459806595" sldId="580"/>
            <ac:spMk id="309" creationId="{D6818590-6618-2897-50FF-AACA710C195B}"/>
          </ac:spMkLst>
        </pc:spChg>
        <pc:spChg chg="del">
          <ac:chgData name="Bullinger, Marvin" userId="5b54ce5a-dc89-476f-af33-5abd75d5b1e8" providerId="ADAL" clId="{43B71669-8A80-4333-9349-B258A9296B49}" dt="2024-02-27T17:21:07.377" v="3607" actId="478"/>
          <ac:spMkLst>
            <pc:docMk/>
            <pc:sldMk cId="459806595" sldId="580"/>
            <ac:spMk id="310" creationId="{C2DFAB1C-92E6-61E2-9227-7A542581F44A}"/>
          </ac:spMkLst>
        </pc:spChg>
        <pc:spChg chg="del">
          <ac:chgData name="Bullinger, Marvin" userId="5b54ce5a-dc89-476f-af33-5abd75d5b1e8" providerId="ADAL" clId="{43B71669-8A80-4333-9349-B258A9296B49}" dt="2024-02-27T17:21:07.377" v="3606" actId="478"/>
          <ac:spMkLst>
            <pc:docMk/>
            <pc:sldMk cId="459806595" sldId="580"/>
            <ac:spMk id="311" creationId="{E8A973DF-018B-9630-1A6D-3E4425E06458}"/>
          </ac:spMkLst>
        </pc:spChg>
        <pc:spChg chg="del">
          <ac:chgData name="Bullinger, Marvin" userId="5b54ce5a-dc89-476f-af33-5abd75d5b1e8" providerId="ADAL" clId="{43B71669-8A80-4333-9349-B258A9296B49}" dt="2024-02-27T17:21:07.377" v="3627" actId="478"/>
          <ac:spMkLst>
            <pc:docMk/>
            <pc:sldMk cId="459806595" sldId="580"/>
            <ac:spMk id="312" creationId="{A67ADD7A-0A05-B64F-8BE5-22847B201A56}"/>
          </ac:spMkLst>
        </pc:spChg>
        <pc:spChg chg="del">
          <ac:chgData name="Bullinger, Marvin" userId="5b54ce5a-dc89-476f-af33-5abd75d5b1e8" providerId="ADAL" clId="{43B71669-8A80-4333-9349-B258A9296B49}" dt="2024-02-27T17:21:07.377" v="3626" actId="478"/>
          <ac:spMkLst>
            <pc:docMk/>
            <pc:sldMk cId="459806595" sldId="580"/>
            <ac:spMk id="313" creationId="{4CD4586F-41D7-34BE-E442-BB3CF654AD7F}"/>
          </ac:spMkLst>
        </pc:spChg>
        <pc:spChg chg="del">
          <ac:chgData name="Bullinger, Marvin" userId="5b54ce5a-dc89-476f-af33-5abd75d5b1e8" providerId="ADAL" clId="{43B71669-8A80-4333-9349-B258A9296B49}" dt="2024-02-27T17:21:07.377" v="3625" actId="478"/>
          <ac:spMkLst>
            <pc:docMk/>
            <pc:sldMk cId="459806595" sldId="580"/>
            <ac:spMk id="314" creationId="{DF27C804-0A5E-ECC9-B311-3506D8B2B257}"/>
          </ac:spMkLst>
        </pc:spChg>
        <pc:spChg chg="del">
          <ac:chgData name="Bullinger, Marvin" userId="5b54ce5a-dc89-476f-af33-5abd75d5b1e8" providerId="ADAL" clId="{43B71669-8A80-4333-9349-B258A9296B49}" dt="2024-02-27T17:21:07.377" v="3624" actId="478"/>
          <ac:spMkLst>
            <pc:docMk/>
            <pc:sldMk cId="459806595" sldId="580"/>
            <ac:spMk id="315" creationId="{19CE3E27-13E1-2FCC-816C-046A91624CC3}"/>
          </ac:spMkLst>
        </pc:spChg>
        <pc:spChg chg="del">
          <ac:chgData name="Bullinger, Marvin" userId="5b54ce5a-dc89-476f-af33-5abd75d5b1e8" providerId="ADAL" clId="{43B71669-8A80-4333-9349-B258A9296B49}" dt="2024-02-27T17:21:07.377" v="3623" actId="478"/>
          <ac:spMkLst>
            <pc:docMk/>
            <pc:sldMk cId="459806595" sldId="580"/>
            <ac:spMk id="316" creationId="{4EB5F3A9-AC52-CC14-CC71-46326B04734E}"/>
          </ac:spMkLst>
        </pc:spChg>
        <pc:spChg chg="del">
          <ac:chgData name="Bullinger, Marvin" userId="5b54ce5a-dc89-476f-af33-5abd75d5b1e8" providerId="ADAL" clId="{43B71669-8A80-4333-9349-B258A9296B49}" dt="2024-02-27T17:21:07.377" v="3622" actId="478"/>
          <ac:spMkLst>
            <pc:docMk/>
            <pc:sldMk cId="459806595" sldId="580"/>
            <ac:spMk id="317" creationId="{B3213310-E0EE-BBEF-A0A9-1E57FFEDE8F5}"/>
          </ac:spMkLst>
        </pc:spChg>
        <pc:spChg chg="add mod">
          <ac:chgData name="Bullinger, Marvin" userId="5b54ce5a-dc89-476f-af33-5abd75d5b1e8" providerId="ADAL" clId="{43B71669-8A80-4333-9349-B258A9296B49}" dt="2024-02-27T16:46:20.270" v="1206" actId="478"/>
          <ac:spMkLst>
            <pc:docMk/>
            <pc:sldMk cId="459806595" sldId="580"/>
            <ac:spMk id="318" creationId="{3DD71A2D-A3D4-BB08-3EC5-7D9C6CAD7D2A}"/>
          </ac:spMkLst>
        </pc:spChg>
        <pc:spChg chg="del">
          <ac:chgData name="Bullinger, Marvin" userId="5b54ce5a-dc89-476f-af33-5abd75d5b1e8" providerId="ADAL" clId="{43B71669-8A80-4333-9349-B258A9296B49}" dt="2024-02-27T17:21:07.377" v="3621" actId="478"/>
          <ac:spMkLst>
            <pc:docMk/>
            <pc:sldMk cId="459806595" sldId="580"/>
            <ac:spMk id="318" creationId="{CFD4CAF7-67AC-38C4-D002-88D208300EC8}"/>
          </ac:spMkLst>
        </pc:spChg>
        <pc:spChg chg="add del mod ord replST">
          <ac:chgData name="Bullinger, Marvin" userId="5b54ce5a-dc89-476f-af33-5abd75d5b1e8" providerId="ADAL" clId="{43B71669-8A80-4333-9349-B258A9296B49}" dt="2024-02-27T17:21:07.342" v="3583" actId="478"/>
          <ac:spMkLst>
            <pc:docMk/>
            <pc:sldMk cId="459806595" sldId="580"/>
            <ac:spMk id="319" creationId="{2CB3CF72-C556-2DF3-24A7-188997E17434}"/>
          </ac:spMkLst>
        </pc:spChg>
        <pc:spChg chg="del">
          <ac:chgData name="Bullinger, Marvin" userId="5b54ce5a-dc89-476f-af33-5abd75d5b1e8" providerId="ADAL" clId="{43B71669-8A80-4333-9349-B258A9296B49}" dt="2024-02-27T16:46:20.304" v="1242" actId="478"/>
          <ac:spMkLst>
            <pc:docMk/>
            <pc:sldMk cId="459806595" sldId="580"/>
            <ac:spMk id="320" creationId="{2E505174-CADB-3B64-3921-F4FEB32705CB}"/>
          </ac:spMkLst>
        </pc:spChg>
        <pc:spChg chg="del">
          <ac:chgData name="Bullinger, Marvin" userId="5b54ce5a-dc89-476f-af33-5abd75d5b1e8" providerId="ADAL" clId="{43B71669-8A80-4333-9349-B258A9296B49}" dt="2024-02-27T16:46:20.303" v="1241" actId="478"/>
          <ac:spMkLst>
            <pc:docMk/>
            <pc:sldMk cId="459806595" sldId="580"/>
            <ac:spMk id="321" creationId="{8A83ADA2-046F-30A1-D65D-5F663008623B}"/>
          </ac:spMkLst>
        </pc:spChg>
        <pc:spChg chg="del">
          <ac:chgData name="Bullinger, Marvin" userId="5b54ce5a-dc89-476f-af33-5abd75d5b1e8" providerId="ADAL" clId="{43B71669-8A80-4333-9349-B258A9296B49}" dt="2024-02-27T16:46:20.303" v="1240" actId="478"/>
          <ac:spMkLst>
            <pc:docMk/>
            <pc:sldMk cId="459806595" sldId="580"/>
            <ac:spMk id="322" creationId="{CB9AB656-CCA4-8D70-AF4A-C7FB42169835}"/>
          </ac:spMkLst>
        </pc:spChg>
        <pc:spChg chg="del">
          <ac:chgData name="Bullinger, Marvin" userId="5b54ce5a-dc89-476f-af33-5abd75d5b1e8" providerId="ADAL" clId="{43B71669-8A80-4333-9349-B258A9296B49}" dt="2024-02-27T16:46:20.303" v="1239" actId="478"/>
          <ac:spMkLst>
            <pc:docMk/>
            <pc:sldMk cId="459806595" sldId="580"/>
            <ac:spMk id="323" creationId="{59C27C78-CF86-E9D7-2B9A-0A6E5E7D0123}"/>
          </ac:spMkLst>
        </pc:spChg>
        <pc:spChg chg="del">
          <ac:chgData name="Bullinger, Marvin" userId="5b54ce5a-dc89-476f-af33-5abd75d5b1e8" providerId="ADAL" clId="{43B71669-8A80-4333-9349-B258A9296B49}" dt="2024-02-27T16:46:20.302" v="1238" actId="478"/>
          <ac:spMkLst>
            <pc:docMk/>
            <pc:sldMk cId="459806595" sldId="580"/>
            <ac:spMk id="324" creationId="{BDC27298-8462-A29C-066A-11AA3C0343E6}"/>
          </ac:spMkLst>
        </pc:spChg>
        <pc:spChg chg="del">
          <ac:chgData name="Bullinger, Marvin" userId="5b54ce5a-dc89-476f-af33-5abd75d5b1e8" providerId="ADAL" clId="{43B71669-8A80-4333-9349-B258A9296B49}" dt="2024-02-27T16:46:20.302" v="1237" actId="478"/>
          <ac:spMkLst>
            <pc:docMk/>
            <pc:sldMk cId="459806595" sldId="580"/>
            <ac:spMk id="325" creationId="{D057B161-2ACA-43A2-53AD-E78D21DE48AF}"/>
          </ac:spMkLst>
        </pc:spChg>
        <pc:spChg chg="del">
          <ac:chgData name="Bullinger, Marvin" userId="5b54ce5a-dc89-476f-af33-5abd75d5b1e8" providerId="ADAL" clId="{43B71669-8A80-4333-9349-B258A9296B49}" dt="2024-02-27T16:46:20.301" v="1234" actId="478"/>
          <ac:spMkLst>
            <pc:docMk/>
            <pc:sldMk cId="459806595" sldId="580"/>
            <ac:spMk id="326" creationId="{098AE963-C9FC-2039-4EF0-B5865942705A}"/>
          </ac:spMkLst>
        </pc:spChg>
        <pc:spChg chg="del">
          <ac:chgData name="Bullinger, Marvin" userId="5b54ce5a-dc89-476f-af33-5abd75d5b1e8" providerId="ADAL" clId="{43B71669-8A80-4333-9349-B258A9296B49}" dt="2024-02-27T16:46:20.301" v="1233" actId="478"/>
          <ac:spMkLst>
            <pc:docMk/>
            <pc:sldMk cId="459806595" sldId="580"/>
            <ac:spMk id="327" creationId="{D92760DD-27AD-F8C1-C207-2063F8C9FA4A}"/>
          </ac:spMkLst>
        </pc:spChg>
        <pc:spChg chg="del">
          <ac:chgData name="Bullinger, Marvin" userId="5b54ce5a-dc89-476f-af33-5abd75d5b1e8" providerId="ADAL" clId="{43B71669-8A80-4333-9349-B258A9296B49}" dt="2024-02-27T16:46:20.285" v="1232" actId="478"/>
          <ac:spMkLst>
            <pc:docMk/>
            <pc:sldMk cId="459806595" sldId="580"/>
            <ac:spMk id="328" creationId="{8D783988-8D2F-1C57-59BD-AE365A6EBEB1}"/>
          </ac:spMkLst>
        </pc:spChg>
        <pc:spChg chg="del">
          <ac:chgData name="Bullinger, Marvin" userId="5b54ce5a-dc89-476f-af33-5abd75d5b1e8" providerId="ADAL" clId="{43B71669-8A80-4333-9349-B258A9296B49}" dt="2024-02-27T16:46:20.285" v="1231" actId="478"/>
          <ac:spMkLst>
            <pc:docMk/>
            <pc:sldMk cId="459806595" sldId="580"/>
            <ac:spMk id="329" creationId="{5BF18BEF-7EE3-8A80-91F9-88930A7D5C0D}"/>
          </ac:spMkLst>
        </pc:spChg>
        <pc:spChg chg="del">
          <ac:chgData name="Bullinger, Marvin" userId="5b54ce5a-dc89-476f-af33-5abd75d5b1e8" providerId="ADAL" clId="{43B71669-8A80-4333-9349-B258A9296B49}" dt="2024-02-27T16:46:20.285" v="1230" actId="478"/>
          <ac:spMkLst>
            <pc:docMk/>
            <pc:sldMk cId="459806595" sldId="580"/>
            <ac:spMk id="330" creationId="{D282DE2A-6442-3718-C336-8CDC3D7B6952}"/>
          </ac:spMkLst>
        </pc:spChg>
        <pc:spChg chg="del">
          <ac:chgData name="Bullinger, Marvin" userId="5b54ce5a-dc89-476f-af33-5abd75d5b1e8" providerId="ADAL" clId="{43B71669-8A80-4333-9349-B258A9296B49}" dt="2024-02-27T16:46:20.285" v="1229" actId="478"/>
          <ac:spMkLst>
            <pc:docMk/>
            <pc:sldMk cId="459806595" sldId="580"/>
            <ac:spMk id="331" creationId="{C4E03E2E-B84B-CB1C-6922-BC365784CE6A}"/>
          </ac:spMkLst>
        </pc:spChg>
        <pc:spChg chg="del">
          <ac:chgData name="Bullinger, Marvin" userId="5b54ce5a-dc89-476f-af33-5abd75d5b1e8" providerId="ADAL" clId="{43B71669-8A80-4333-9349-B258A9296B49}" dt="2024-02-27T16:46:20.307" v="1250" actId="478"/>
          <ac:spMkLst>
            <pc:docMk/>
            <pc:sldMk cId="459806595" sldId="580"/>
            <ac:spMk id="332" creationId="{07802FE9-BB92-4F05-BECE-A1F1328CEEC0}"/>
          </ac:spMkLst>
        </pc:spChg>
        <pc:spChg chg="del">
          <ac:chgData name="Bullinger, Marvin" userId="5b54ce5a-dc89-476f-af33-5abd75d5b1e8" providerId="ADAL" clId="{43B71669-8A80-4333-9349-B258A9296B49}" dt="2024-02-27T16:46:20.306" v="1249" actId="478"/>
          <ac:spMkLst>
            <pc:docMk/>
            <pc:sldMk cId="459806595" sldId="580"/>
            <ac:spMk id="333" creationId="{C6EBD2C8-C159-DD0A-D4C8-43A943B10677}"/>
          </ac:spMkLst>
        </pc:spChg>
        <pc:spChg chg="del">
          <ac:chgData name="Bullinger, Marvin" userId="5b54ce5a-dc89-476f-af33-5abd75d5b1e8" providerId="ADAL" clId="{43B71669-8A80-4333-9349-B258A9296B49}" dt="2024-02-27T16:46:20.306" v="1248" actId="478"/>
          <ac:spMkLst>
            <pc:docMk/>
            <pc:sldMk cId="459806595" sldId="580"/>
            <ac:spMk id="334" creationId="{E6813B55-28AE-E344-3B30-8FBFCB750EC9}"/>
          </ac:spMkLst>
        </pc:spChg>
        <pc:spChg chg="del">
          <ac:chgData name="Bullinger, Marvin" userId="5b54ce5a-dc89-476f-af33-5abd75d5b1e8" providerId="ADAL" clId="{43B71669-8A80-4333-9349-B258A9296B49}" dt="2024-02-27T16:46:20.306" v="1247" actId="478"/>
          <ac:spMkLst>
            <pc:docMk/>
            <pc:sldMk cId="459806595" sldId="580"/>
            <ac:spMk id="335" creationId="{0F483076-DEA8-2A65-B017-E9633EF809B8}"/>
          </ac:spMkLst>
        </pc:spChg>
        <pc:spChg chg="del">
          <ac:chgData name="Bullinger, Marvin" userId="5b54ce5a-dc89-476f-af33-5abd75d5b1e8" providerId="ADAL" clId="{43B71669-8A80-4333-9349-B258A9296B49}" dt="2024-02-27T16:46:20.305" v="1246" actId="478"/>
          <ac:spMkLst>
            <pc:docMk/>
            <pc:sldMk cId="459806595" sldId="580"/>
            <ac:spMk id="336" creationId="{DED6F2E1-7923-55C3-D751-B1E25BD6EB3C}"/>
          </ac:spMkLst>
        </pc:spChg>
        <pc:spChg chg="del">
          <ac:chgData name="Bullinger, Marvin" userId="5b54ce5a-dc89-476f-af33-5abd75d5b1e8" providerId="ADAL" clId="{43B71669-8A80-4333-9349-B258A9296B49}" dt="2024-02-27T16:46:20.305" v="1245" actId="478"/>
          <ac:spMkLst>
            <pc:docMk/>
            <pc:sldMk cId="459806595" sldId="580"/>
            <ac:spMk id="337" creationId="{348DE1A6-F7BB-90D1-EF59-FD9A348F37F3}"/>
          </ac:spMkLst>
        </pc:spChg>
        <pc:spChg chg="del">
          <ac:chgData name="Bullinger, Marvin" userId="5b54ce5a-dc89-476f-af33-5abd75d5b1e8" providerId="ADAL" clId="{43B71669-8A80-4333-9349-B258A9296B49}" dt="2024-02-27T16:46:20.305" v="1244" actId="478"/>
          <ac:spMkLst>
            <pc:docMk/>
            <pc:sldMk cId="459806595" sldId="580"/>
            <ac:spMk id="338" creationId="{50895CA1-3404-817A-E140-6B574F741F8D}"/>
          </ac:spMkLst>
        </pc:spChg>
        <pc:spChg chg="del">
          <ac:chgData name="Bullinger, Marvin" userId="5b54ce5a-dc89-476f-af33-5abd75d5b1e8" providerId="ADAL" clId="{43B71669-8A80-4333-9349-B258A9296B49}" dt="2024-02-27T16:46:20.304" v="1243" actId="478"/>
          <ac:spMkLst>
            <pc:docMk/>
            <pc:sldMk cId="459806595" sldId="580"/>
            <ac:spMk id="339" creationId="{8A49E1A6-C0E6-2D2B-405B-A072BDCB1516}"/>
          </ac:spMkLst>
        </pc:spChg>
        <pc:spChg chg="del">
          <ac:chgData name="Bullinger, Marvin" userId="5b54ce5a-dc89-476f-af33-5abd75d5b1e8" providerId="ADAL" clId="{43B71669-8A80-4333-9349-B258A9296B49}" dt="2024-02-27T16:46:20.301" v="1235" actId="478"/>
          <ac:spMkLst>
            <pc:docMk/>
            <pc:sldMk cId="459806595" sldId="580"/>
            <ac:spMk id="340" creationId="{506522BD-87C2-8D5F-7B8D-60FFC9BBD7B4}"/>
          </ac:spMkLst>
        </pc:spChg>
        <pc:spChg chg="del">
          <ac:chgData name="Bullinger, Marvin" userId="5b54ce5a-dc89-476f-af33-5abd75d5b1e8" providerId="ADAL" clId="{43B71669-8A80-4333-9349-B258A9296B49}" dt="2024-02-27T16:46:20.285" v="1228" actId="478"/>
          <ac:spMkLst>
            <pc:docMk/>
            <pc:sldMk cId="459806595" sldId="580"/>
            <ac:spMk id="341" creationId="{1CFF92BD-0B81-A17B-96DF-C39F4BF17E9A}"/>
          </ac:spMkLst>
        </pc:spChg>
        <pc:spChg chg="del">
          <ac:chgData name="Bullinger, Marvin" userId="5b54ce5a-dc89-476f-af33-5abd75d5b1e8" providerId="ADAL" clId="{43B71669-8A80-4333-9349-B258A9296B49}" dt="2024-02-27T16:46:20.302" v="1236" actId="478"/>
          <ac:spMkLst>
            <pc:docMk/>
            <pc:sldMk cId="459806595" sldId="580"/>
            <ac:spMk id="342" creationId="{1AE15DD2-DFCF-80D4-310E-A3620077CEE1}"/>
          </ac:spMkLst>
        </pc:spChg>
        <pc:spChg chg="del">
          <ac:chgData name="Bullinger, Marvin" userId="5b54ce5a-dc89-476f-af33-5abd75d5b1e8" providerId="ADAL" clId="{43B71669-8A80-4333-9349-B258A9296B49}" dt="2024-02-27T16:46:20.285" v="1227" actId="478"/>
          <ac:spMkLst>
            <pc:docMk/>
            <pc:sldMk cId="459806595" sldId="580"/>
            <ac:spMk id="343" creationId="{49E23776-D481-700B-7A8B-29EE5D875C34}"/>
          </ac:spMkLst>
        </pc:spChg>
        <pc:spChg chg="del">
          <ac:chgData name="Bullinger, Marvin" userId="5b54ce5a-dc89-476f-af33-5abd75d5b1e8" providerId="ADAL" clId="{43B71669-8A80-4333-9349-B258A9296B49}" dt="2024-02-27T16:46:20.285" v="1226" actId="478"/>
          <ac:spMkLst>
            <pc:docMk/>
            <pc:sldMk cId="459806595" sldId="580"/>
            <ac:spMk id="344" creationId="{EB5B4DD7-B3D5-D6B8-660E-8C00AC547AC5}"/>
          </ac:spMkLst>
        </pc:spChg>
        <pc:spChg chg="del">
          <ac:chgData name="Bullinger, Marvin" userId="5b54ce5a-dc89-476f-af33-5abd75d5b1e8" providerId="ADAL" clId="{43B71669-8A80-4333-9349-B258A9296B49}" dt="2024-02-27T16:46:20.285" v="1225" actId="478"/>
          <ac:spMkLst>
            <pc:docMk/>
            <pc:sldMk cId="459806595" sldId="580"/>
            <ac:spMk id="345" creationId="{5805D740-A650-5A16-4116-758529700941}"/>
          </ac:spMkLst>
        </pc:spChg>
        <pc:spChg chg="del">
          <ac:chgData name="Bullinger, Marvin" userId="5b54ce5a-dc89-476f-af33-5abd75d5b1e8" providerId="ADAL" clId="{43B71669-8A80-4333-9349-B258A9296B49}" dt="2024-02-27T16:46:20.285" v="1224" actId="478"/>
          <ac:spMkLst>
            <pc:docMk/>
            <pc:sldMk cId="459806595" sldId="580"/>
            <ac:spMk id="346" creationId="{49897260-7106-F072-E546-AC000F02C8E1}"/>
          </ac:spMkLst>
        </pc:spChg>
        <pc:spChg chg="del">
          <ac:chgData name="Bullinger, Marvin" userId="5b54ce5a-dc89-476f-af33-5abd75d5b1e8" providerId="ADAL" clId="{43B71669-8A80-4333-9349-B258A9296B49}" dt="2024-02-27T16:46:20.285" v="1223" actId="478"/>
          <ac:spMkLst>
            <pc:docMk/>
            <pc:sldMk cId="459806595" sldId="580"/>
            <ac:spMk id="347" creationId="{ECDDBDE4-3435-1B00-0D89-5B20E3F60914}"/>
          </ac:spMkLst>
        </pc:spChg>
        <pc:spChg chg="del">
          <ac:chgData name="Bullinger, Marvin" userId="5b54ce5a-dc89-476f-af33-5abd75d5b1e8" providerId="ADAL" clId="{43B71669-8A80-4333-9349-B258A9296B49}" dt="2024-02-27T16:46:20.285" v="1222" actId="478"/>
          <ac:spMkLst>
            <pc:docMk/>
            <pc:sldMk cId="459806595" sldId="580"/>
            <ac:spMk id="348" creationId="{84866941-A20D-D5A4-65CD-4153541893ED}"/>
          </ac:spMkLst>
        </pc:spChg>
        <pc:spChg chg="del">
          <ac:chgData name="Bullinger, Marvin" userId="5b54ce5a-dc89-476f-af33-5abd75d5b1e8" providerId="ADAL" clId="{43B71669-8A80-4333-9349-B258A9296B49}" dt="2024-02-27T16:46:20.285" v="1221" actId="478"/>
          <ac:spMkLst>
            <pc:docMk/>
            <pc:sldMk cId="459806595" sldId="580"/>
            <ac:spMk id="349" creationId="{AB0B39BD-62E2-447F-5844-6E888F836DCF}"/>
          </ac:spMkLst>
        </pc:spChg>
        <pc:spChg chg="del">
          <ac:chgData name="Bullinger, Marvin" userId="5b54ce5a-dc89-476f-af33-5abd75d5b1e8" providerId="ADAL" clId="{43B71669-8A80-4333-9349-B258A9296B49}" dt="2024-02-27T16:46:20.285" v="1220" actId="478"/>
          <ac:spMkLst>
            <pc:docMk/>
            <pc:sldMk cId="459806595" sldId="580"/>
            <ac:spMk id="350" creationId="{2F5ED094-E2B9-7AA3-F737-FBA22939B744}"/>
          </ac:spMkLst>
        </pc:spChg>
        <pc:spChg chg="del">
          <ac:chgData name="Bullinger, Marvin" userId="5b54ce5a-dc89-476f-af33-5abd75d5b1e8" providerId="ADAL" clId="{43B71669-8A80-4333-9349-B258A9296B49}" dt="2024-02-27T16:46:20.285" v="1219" actId="478"/>
          <ac:spMkLst>
            <pc:docMk/>
            <pc:sldMk cId="459806595" sldId="580"/>
            <ac:spMk id="351" creationId="{286A5FD5-68F0-754D-97DF-915CC3A69C68}"/>
          </ac:spMkLst>
        </pc:spChg>
        <pc:spChg chg="del">
          <ac:chgData name="Bullinger, Marvin" userId="5b54ce5a-dc89-476f-af33-5abd75d5b1e8" providerId="ADAL" clId="{43B71669-8A80-4333-9349-B258A9296B49}" dt="2024-02-27T16:46:20.285" v="1218" actId="478"/>
          <ac:spMkLst>
            <pc:docMk/>
            <pc:sldMk cId="459806595" sldId="580"/>
            <ac:spMk id="352" creationId="{256197E5-0A3A-1AFB-230F-408782BD0FCD}"/>
          </ac:spMkLst>
        </pc:spChg>
        <pc:spChg chg="del">
          <ac:chgData name="Bullinger, Marvin" userId="5b54ce5a-dc89-476f-af33-5abd75d5b1e8" providerId="ADAL" clId="{43B71669-8A80-4333-9349-B258A9296B49}" dt="2024-02-27T17:21:07.377" v="3620" actId="478"/>
          <ac:spMkLst>
            <pc:docMk/>
            <pc:sldMk cId="459806595" sldId="580"/>
            <ac:spMk id="352" creationId="{DC3D8A15-D89A-F3CC-191D-BB2FFB7999EE}"/>
          </ac:spMkLst>
        </pc:spChg>
        <pc:spChg chg="del">
          <ac:chgData name="Bullinger, Marvin" userId="5b54ce5a-dc89-476f-af33-5abd75d5b1e8" providerId="ADAL" clId="{43B71669-8A80-4333-9349-B258A9296B49}" dt="2024-02-27T16:46:20.285" v="1217" actId="478"/>
          <ac:spMkLst>
            <pc:docMk/>
            <pc:sldMk cId="459806595" sldId="580"/>
            <ac:spMk id="353" creationId="{348A5E41-9F8F-304E-5A7E-C168DDC8EA24}"/>
          </ac:spMkLst>
        </pc:spChg>
        <pc:spChg chg="del">
          <ac:chgData name="Bullinger, Marvin" userId="5b54ce5a-dc89-476f-af33-5abd75d5b1e8" providerId="ADAL" clId="{43B71669-8A80-4333-9349-B258A9296B49}" dt="2024-02-27T17:21:07.377" v="3612" actId="478"/>
          <ac:spMkLst>
            <pc:docMk/>
            <pc:sldMk cId="459806595" sldId="580"/>
            <ac:spMk id="353" creationId="{8D86F6AC-DF81-1E2F-271A-3D00C2384AD0}"/>
          </ac:spMkLst>
        </pc:spChg>
        <pc:spChg chg="del">
          <ac:chgData name="Bullinger, Marvin" userId="5b54ce5a-dc89-476f-af33-5abd75d5b1e8" providerId="ADAL" clId="{43B71669-8A80-4333-9349-B258A9296B49}" dt="2024-02-27T16:46:20.285" v="1216" actId="478"/>
          <ac:spMkLst>
            <pc:docMk/>
            <pc:sldMk cId="459806595" sldId="580"/>
            <ac:spMk id="354" creationId="{40526B52-7108-43F0-A6C7-A02F55E27ED4}"/>
          </ac:spMkLst>
        </pc:spChg>
        <pc:spChg chg="del">
          <ac:chgData name="Bullinger, Marvin" userId="5b54ce5a-dc89-476f-af33-5abd75d5b1e8" providerId="ADAL" clId="{43B71669-8A80-4333-9349-B258A9296B49}" dt="2024-02-27T17:21:07.377" v="3605" actId="478"/>
          <ac:spMkLst>
            <pc:docMk/>
            <pc:sldMk cId="459806595" sldId="580"/>
            <ac:spMk id="354" creationId="{D609DFC4-C613-D4D9-9AFC-A1E7009C90D4}"/>
          </ac:spMkLst>
        </pc:spChg>
        <pc:spChg chg="del">
          <ac:chgData name="Bullinger, Marvin" userId="5b54ce5a-dc89-476f-af33-5abd75d5b1e8" providerId="ADAL" clId="{43B71669-8A80-4333-9349-B258A9296B49}" dt="2024-02-27T17:21:07.377" v="3613" actId="478"/>
          <ac:spMkLst>
            <pc:docMk/>
            <pc:sldMk cId="459806595" sldId="580"/>
            <ac:spMk id="355" creationId="{107B91AB-1A43-8BF4-5BCA-41C37C47D94D}"/>
          </ac:spMkLst>
        </pc:spChg>
        <pc:spChg chg="del">
          <ac:chgData name="Bullinger, Marvin" userId="5b54ce5a-dc89-476f-af33-5abd75d5b1e8" providerId="ADAL" clId="{43B71669-8A80-4333-9349-B258A9296B49}" dt="2024-02-27T16:46:20.285" v="1215" actId="478"/>
          <ac:spMkLst>
            <pc:docMk/>
            <pc:sldMk cId="459806595" sldId="580"/>
            <ac:spMk id="355" creationId="{8A552088-BF67-0C09-FB9E-170177E23102}"/>
          </ac:spMkLst>
        </pc:spChg>
        <pc:spChg chg="del">
          <ac:chgData name="Bullinger, Marvin" userId="5b54ce5a-dc89-476f-af33-5abd75d5b1e8" providerId="ADAL" clId="{43B71669-8A80-4333-9349-B258A9296B49}" dt="2024-02-27T17:21:07.377" v="3604" actId="478"/>
          <ac:spMkLst>
            <pc:docMk/>
            <pc:sldMk cId="459806595" sldId="580"/>
            <ac:spMk id="356" creationId="{149C166D-C217-9390-9F19-8A72ACA30DC8}"/>
          </ac:spMkLst>
        </pc:spChg>
        <pc:spChg chg="del">
          <ac:chgData name="Bullinger, Marvin" userId="5b54ce5a-dc89-476f-af33-5abd75d5b1e8" providerId="ADAL" clId="{43B71669-8A80-4333-9349-B258A9296B49}" dt="2024-02-27T16:46:20.285" v="1214" actId="478"/>
          <ac:spMkLst>
            <pc:docMk/>
            <pc:sldMk cId="459806595" sldId="580"/>
            <ac:spMk id="356" creationId="{707DD19D-CF75-A8A5-F27C-332F2A92D1FA}"/>
          </ac:spMkLst>
        </pc:spChg>
        <pc:spChg chg="add replST">
          <ac:chgData name="Bullinger, Marvin" userId="5b54ce5a-dc89-476f-af33-5abd75d5b1e8" providerId="ADAL" clId="{43B71669-8A80-4333-9349-B258A9296B49}" dt="2024-02-27T16:53:49.050" v="3382"/>
          <ac:spMkLst>
            <pc:docMk/>
            <pc:sldMk cId="459806595" sldId="580"/>
            <ac:spMk id="357" creationId="{C54C1A08-B5D0-2526-5245-D4BE94DE358B}"/>
          </ac:spMkLst>
        </pc:spChg>
        <pc:spChg chg="add replST">
          <ac:chgData name="Bullinger, Marvin" userId="5b54ce5a-dc89-476f-af33-5abd75d5b1e8" providerId="ADAL" clId="{43B71669-8A80-4333-9349-B258A9296B49}" dt="2024-02-27T16:53:49.050" v="3382"/>
          <ac:spMkLst>
            <pc:docMk/>
            <pc:sldMk cId="459806595" sldId="580"/>
            <ac:spMk id="358" creationId="{046E04FC-A4C2-3BD0-43A6-BDDD699C5297}"/>
          </ac:spMkLst>
        </pc:spChg>
        <pc:spChg chg="add replST">
          <ac:chgData name="Bullinger, Marvin" userId="5b54ce5a-dc89-476f-af33-5abd75d5b1e8" providerId="ADAL" clId="{43B71669-8A80-4333-9349-B258A9296B49}" dt="2024-02-27T16:53:49.050" v="3382"/>
          <ac:spMkLst>
            <pc:docMk/>
            <pc:sldMk cId="459806595" sldId="580"/>
            <ac:spMk id="360" creationId="{62D6B075-A5A0-9558-38EF-7EDEA9208EE6}"/>
          </ac:spMkLst>
        </pc:spChg>
        <pc:spChg chg="add replST">
          <ac:chgData name="Bullinger, Marvin" userId="5b54ce5a-dc89-476f-af33-5abd75d5b1e8" providerId="ADAL" clId="{43B71669-8A80-4333-9349-B258A9296B49}" dt="2024-02-27T16:53:49.050" v="3382"/>
          <ac:spMkLst>
            <pc:docMk/>
            <pc:sldMk cId="459806595" sldId="580"/>
            <ac:spMk id="361" creationId="{DBEFA7DA-89F7-CC39-A94B-37A3D4D8B9A3}"/>
          </ac:spMkLst>
        </pc:spChg>
        <pc:spChg chg="add replST">
          <ac:chgData name="Bullinger, Marvin" userId="5b54ce5a-dc89-476f-af33-5abd75d5b1e8" providerId="ADAL" clId="{43B71669-8A80-4333-9349-B258A9296B49}" dt="2024-02-27T16:53:49.050" v="3382"/>
          <ac:spMkLst>
            <pc:docMk/>
            <pc:sldMk cId="459806595" sldId="580"/>
            <ac:spMk id="363" creationId="{9227169D-46BB-42AD-F2FE-8847DA165879}"/>
          </ac:spMkLst>
        </pc:spChg>
        <pc:spChg chg="add replST">
          <ac:chgData name="Bullinger, Marvin" userId="5b54ce5a-dc89-476f-af33-5abd75d5b1e8" providerId="ADAL" clId="{43B71669-8A80-4333-9349-B258A9296B49}" dt="2024-02-27T16:53:49.050" v="3382"/>
          <ac:spMkLst>
            <pc:docMk/>
            <pc:sldMk cId="459806595" sldId="580"/>
            <ac:spMk id="364" creationId="{264914A1-8DF0-E641-89C3-B188272DB0FA}"/>
          </ac:spMkLst>
        </pc:spChg>
        <pc:spChg chg="add del ord replST">
          <ac:chgData name="Bullinger, Marvin" userId="5b54ce5a-dc89-476f-af33-5abd75d5b1e8" providerId="ADAL" clId="{43B71669-8A80-4333-9349-B258A9296B49}" dt="2024-02-27T17:21:07.350" v="3586" actId="478"/>
          <ac:spMkLst>
            <pc:docMk/>
            <pc:sldMk cId="459806595" sldId="580"/>
            <ac:spMk id="365" creationId="{3931B257-7C3F-A986-51E8-7D591189CD52}"/>
          </ac:spMkLst>
        </pc:spChg>
        <pc:spChg chg="add replST">
          <ac:chgData name="Bullinger, Marvin" userId="5b54ce5a-dc89-476f-af33-5abd75d5b1e8" providerId="ADAL" clId="{43B71669-8A80-4333-9349-B258A9296B49}" dt="2024-02-27T16:53:49.050" v="3382"/>
          <ac:spMkLst>
            <pc:docMk/>
            <pc:sldMk cId="459806595" sldId="580"/>
            <ac:spMk id="366" creationId="{8314ED8E-6405-B322-3142-CC9C19AACD4A}"/>
          </ac:spMkLst>
        </pc:spChg>
        <pc:spChg chg="add replST">
          <ac:chgData name="Bullinger, Marvin" userId="5b54ce5a-dc89-476f-af33-5abd75d5b1e8" providerId="ADAL" clId="{43B71669-8A80-4333-9349-B258A9296B49}" dt="2024-02-27T16:53:49.050" v="3382"/>
          <ac:spMkLst>
            <pc:docMk/>
            <pc:sldMk cId="459806595" sldId="580"/>
            <ac:spMk id="367" creationId="{0BC69C6D-B8DB-47A4-3AF0-D8A253895B40}"/>
          </ac:spMkLst>
        </pc:spChg>
        <pc:spChg chg="add replST">
          <ac:chgData name="Bullinger, Marvin" userId="5b54ce5a-dc89-476f-af33-5abd75d5b1e8" providerId="ADAL" clId="{43B71669-8A80-4333-9349-B258A9296B49}" dt="2024-02-27T16:53:49.050" v="3382"/>
          <ac:spMkLst>
            <pc:docMk/>
            <pc:sldMk cId="459806595" sldId="580"/>
            <ac:spMk id="369" creationId="{C553552C-FA69-5015-E70E-2E75639ACD94}"/>
          </ac:spMkLst>
        </pc:spChg>
        <pc:spChg chg="add replST">
          <ac:chgData name="Bullinger, Marvin" userId="5b54ce5a-dc89-476f-af33-5abd75d5b1e8" providerId="ADAL" clId="{43B71669-8A80-4333-9349-B258A9296B49}" dt="2024-02-27T16:53:49.050" v="3382"/>
          <ac:spMkLst>
            <pc:docMk/>
            <pc:sldMk cId="459806595" sldId="580"/>
            <ac:spMk id="370" creationId="{CE2E13B1-D696-92C9-C6ED-4E37AAE65577}"/>
          </ac:spMkLst>
        </pc:spChg>
        <pc:spChg chg="add replST">
          <ac:chgData name="Bullinger, Marvin" userId="5b54ce5a-dc89-476f-af33-5abd75d5b1e8" providerId="ADAL" clId="{43B71669-8A80-4333-9349-B258A9296B49}" dt="2024-02-27T16:53:49.050" v="3382"/>
          <ac:spMkLst>
            <pc:docMk/>
            <pc:sldMk cId="459806595" sldId="580"/>
            <ac:spMk id="372" creationId="{CD1ADCA0-4030-BF3F-C9E2-3B5809E86A57}"/>
          </ac:spMkLst>
        </pc:spChg>
        <pc:spChg chg="add replST">
          <ac:chgData name="Bullinger, Marvin" userId="5b54ce5a-dc89-476f-af33-5abd75d5b1e8" providerId="ADAL" clId="{43B71669-8A80-4333-9349-B258A9296B49}" dt="2024-02-27T16:53:49.050" v="3382"/>
          <ac:spMkLst>
            <pc:docMk/>
            <pc:sldMk cId="459806595" sldId="580"/>
            <ac:spMk id="373" creationId="{3778961D-712B-E39E-7D6C-19FA61271F54}"/>
          </ac:spMkLst>
        </pc:spChg>
        <pc:spChg chg="del">
          <ac:chgData name="Bullinger, Marvin" userId="5b54ce5a-dc89-476f-af33-5abd75d5b1e8" providerId="ADAL" clId="{43B71669-8A80-4333-9349-B258A9296B49}" dt="2024-02-27T17:21:07.377" v="3603" actId="478"/>
          <ac:spMkLst>
            <pc:docMk/>
            <pc:sldMk cId="459806595" sldId="580"/>
            <ac:spMk id="376" creationId="{E00C054F-BBD9-7AA8-F566-AF079C369679}"/>
          </ac:spMkLst>
        </pc:spChg>
        <pc:spChg chg="add">
          <ac:chgData name="Bullinger, Marvin" userId="5b54ce5a-dc89-476f-af33-5abd75d5b1e8" providerId="ADAL" clId="{43B71669-8A80-4333-9349-B258A9296B49}" dt="2024-02-27T16:53:49.050" v="3382"/>
          <ac:spMkLst>
            <pc:docMk/>
            <pc:sldMk cId="459806595" sldId="580"/>
            <ac:spMk id="376" creationId="{F1B5844C-CC5B-05FD-E8B0-DDA42138CE95}"/>
          </ac:spMkLst>
        </pc:spChg>
        <pc:spChg chg="del">
          <ac:chgData name="Bullinger, Marvin" userId="5b54ce5a-dc89-476f-af33-5abd75d5b1e8" providerId="ADAL" clId="{43B71669-8A80-4333-9349-B258A9296B49}" dt="2024-02-27T17:21:07.374" v="3602" actId="478"/>
          <ac:spMkLst>
            <pc:docMk/>
            <pc:sldMk cId="459806595" sldId="580"/>
            <ac:spMk id="377" creationId="{2B0DA64E-B4EB-D08E-DA81-65CFAB05C662}"/>
          </ac:spMkLst>
        </pc:spChg>
        <pc:spChg chg="add">
          <ac:chgData name="Bullinger, Marvin" userId="5b54ce5a-dc89-476f-af33-5abd75d5b1e8" providerId="ADAL" clId="{43B71669-8A80-4333-9349-B258A9296B49}" dt="2024-02-27T16:53:49.050" v="3382"/>
          <ac:spMkLst>
            <pc:docMk/>
            <pc:sldMk cId="459806595" sldId="580"/>
            <ac:spMk id="377" creationId="{D4FD9C1E-330A-181A-19AA-31A1D6E658B5}"/>
          </ac:spMkLst>
        </pc:spChg>
        <pc:spChg chg="del">
          <ac:chgData name="Bullinger, Marvin" userId="5b54ce5a-dc89-476f-af33-5abd75d5b1e8" providerId="ADAL" clId="{43B71669-8A80-4333-9349-B258A9296B49}" dt="2024-02-27T17:21:07.374" v="3601" actId="478"/>
          <ac:spMkLst>
            <pc:docMk/>
            <pc:sldMk cId="459806595" sldId="580"/>
            <ac:spMk id="378" creationId="{CF2B04C5-1B1C-0F99-E20E-3ED949F261A1}"/>
          </ac:spMkLst>
        </pc:spChg>
        <pc:spChg chg="add">
          <ac:chgData name="Bullinger, Marvin" userId="5b54ce5a-dc89-476f-af33-5abd75d5b1e8" providerId="ADAL" clId="{43B71669-8A80-4333-9349-B258A9296B49}" dt="2024-02-27T16:53:49.050" v="3382"/>
          <ac:spMkLst>
            <pc:docMk/>
            <pc:sldMk cId="459806595" sldId="580"/>
            <ac:spMk id="378" creationId="{D5A2E571-1620-8C68-A644-7E50EE45FE2C}"/>
          </ac:spMkLst>
        </pc:spChg>
        <pc:spChg chg="del">
          <ac:chgData name="Bullinger, Marvin" userId="5b54ce5a-dc89-476f-af33-5abd75d5b1e8" providerId="ADAL" clId="{43B71669-8A80-4333-9349-B258A9296B49}" dt="2024-02-27T17:21:07.374" v="3600" actId="478"/>
          <ac:spMkLst>
            <pc:docMk/>
            <pc:sldMk cId="459806595" sldId="580"/>
            <ac:spMk id="379" creationId="{10FF70DB-2EC6-B56C-DB7E-0ECC34BD508B}"/>
          </ac:spMkLst>
        </pc:spChg>
        <pc:spChg chg="add">
          <ac:chgData name="Bullinger, Marvin" userId="5b54ce5a-dc89-476f-af33-5abd75d5b1e8" providerId="ADAL" clId="{43B71669-8A80-4333-9349-B258A9296B49}" dt="2024-02-27T16:53:49.050" v="3382"/>
          <ac:spMkLst>
            <pc:docMk/>
            <pc:sldMk cId="459806595" sldId="580"/>
            <ac:spMk id="379" creationId="{EEE19B3F-3FC2-00EC-A0EF-39B88CBF4B39}"/>
          </ac:spMkLst>
        </pc:spChg>
        <pc:spChg chg="del">
          <ac:chgData name="Bullinger, Marvin" userId="5b54ce5a-dc89-476f-af33-5abd75d5b1e8" providerId="ADAL" clId="{43B71669-8A80-4333-9349-B258A9296B49}" dt="2024-02-27T17:21:07.374" v="3599" actId="478"/>
          <ac:spMkLst>
            <pc:docMk/>
            <pc:sldMk cId="459806595" sldId="580"/>
            <ac:spMk id="380" creationId="{5FC788F1-98FB-8326-A8DA-C9EF658A48F5}"/>
          </ac:spMkLst>
        </pc:spChg>
        <pc:spChg chg="add">
          <ac:chgData name="Bullinger, Marvin" userId="5b54ce5a-dc89-476f-af33-5abd75d5b1e8" providerId="ADAL" clId="{43B71669-8A80-4333-9349-B258A9296B49}" dt="2024-02-27T16:53:49.050" v="3382"/>
          <ac:spMkLst>
            <pc:docMk/>
            <pc:sldMk cId="459806595" sldId="580"/>
            <ac:spMk id="380" creationId="{F52E94EB-BA28-6B85-E9AB-1BC0CAF24B74}"/>
          </ac:spMkLst>
        </pc:spChg>
        <pc:spChg chg="add">
          <ac:chgData name="Bullinger, Marvin" userId="5b54ce5a-dc89-476f-af33-5abd75d5b1e8" providerId="ADAL" clId="{43B71669-8A80-4333-9349-B258A9296B49}" dt="2024-02-27T16:53:49.050" v="3382"/>
          <ac:spMkLst>
            <pc:docMk/>
            <pc:sldMk cId="459806595" sldId="580"/>
            <ac:spMk id="381" creationId="{24D9D270-69B8-56FE-583E-524E7934CB49}"/>
          </ac:spMkLst>
        </pc:spChg>
        <pc:spChg chg="del">
          <ac:chgData name="Bullinger, Marvin" userId="5b54ce5a-dc89-476f-af33-5abd75d5b1e8" providerId="ADAL" clId="{43B71669-8A80-4333-9349-B258A9296B49}" dt="2024-02-27T17:21:07.374" v="3598" actId="478"/>
          <ac:spMkLst>
            <pc:docMk/>
            <pc:sldMk cId="459806595" sldId="580"/>
            <ac:spMk id="381" creationId="{72E51B23-45F3-06AE-3B6D-9EFC31C96541}"/>
          </ac:spMkLst>
        </pc:spChg>
        <pc:spChg chg="add">
          <ac:chgData name="Bullinger, Marvin" userId="5b54ce5a-dc89-476f-af33-5abd75d5b1e8" providerId="ADAL" clId="{43B71669-8A80-4333-9349-B258A9296B49}" dt="2024-02-27T16:53:49.050" v="3382"/>
          <ac:spMkLst>
            <pc:docMk/>
            <pc:sldMk cId="459806595" sldId="580"/>
            <ac:spMk id="382" creationId="{6E559009-22CB-FC28-D582-EA38C14E6640}"/>
          </ac:spMkLst>
        </pc:spChg>
        <pc:spChg chg="del">
          <ac:chgData name="Bullinger, Marvin" userId="5b54ce5a-dc89-476f-af33-5abd75d5b1e8" providerId="ADAL" clId="{43B71669-8A80-4333-9349-B258A9296B49}" dt="2024-02-27T17:21:07.374" v="3597" actId="478"/>
          <ac:spMkLst>
            <pc:docMk/>
            <pc:sldMk cId="459806595" sldId="580"/>
            <ac:spMk id="382" creationId="{9AA8A522-E644-F925-102C-46EBEB0232B3}"/>
          </ac:spMkLst>
        </pc:spChg>
        <pc:spChg chg="del">
          <ac:chgData name="Bullinger, Marvin" userId="5b54ce5a-dc89-476f-af33-5abd75d5b1e8" providerId="ADAL" clId="{43B71669-8A80-4333-9349-B258A9296B49}" dt="2024-02-27T17:21:07.366" v="3596" actId="478"/>
          <ac:spMkLst>
            <pc:docMk/>
            <pc:sldMk cId="459806595" sldId="580"/>
            <ac:spMk id="383" creationId="{B4D8A6BB-4994-B098-E5DF-373E2CC3639F}"/>
          </ac:spMkLst>
        </pc:spChg>
        <pc:spChg chg="add">
          <ac:chgData name="Bullinger, Marvin" userId="5b54ce5a-dc89-476f-af33-5abd75d5b1e8" providerId="ADAL" clId="{43B71669-8A80-4333-9349-B258A9296B49}" dt="2024-02-27T16:53:49.050" v="3382"/>
          <ac:spMkLst>
            <pc:docMk/>
            <pc:sldMk cId="459806595" sldId="580"/>
            <ac:spMk id="383" creationId="{D186E71C-7D52-7E72-8D9E-75F36E907111}"/>
          </ac:spMkLst>
        </pc:spChg>
        <pc:spChg chg="add">
          <ac:chgData name="Bullinger, Marvin" userId="5b54ce5a-dc89-476f-af33-5abd75d5b1e8" providerId="ADAL" clId="{43B71669-8A80-4333-9349-B258A9296B49}" dt="2024-02-27T16:53:49.050" v="3382"/>
          <ac:spMkLst>
            <pc:docMk/>
            <pc:sldMk cId="459806595" sldId="580"/>
            <ac:spMk id="384" creationId="{49B5C9BF-7CDB-94BC-C4C2-96E0120CF685}"/>
          </ac:spMkLst>
        </pc:spChg>
        <pc:spChg chg="del">
          <ac:chgData name="Bullinger, Marvin" userId="5b54ce5a-dc89-476f-af33-5abd75d5b1e8" providerId="ADAL" clId="{43B71669-8A80-4333-9349-B258A9296B49}" dt="2024-02-27T17:21:07.366" v="3595" actId="478"/>
          <ac:spMkLst>
            <pc:docMk/>
            <pc:sldMk cId="459806595" sldId="580"/>
            <ac:spMk id="384" creationId="{9E64B118-1AFD-CBA2-0460-495B5381279A}"/>
          </ac:spMkLst>
        </pc:spChg>
        <pc:spChg chg="add">
          <ac:chgData name="Bullinger, Marvin" userId="5b54ce5a-dc89-476f-af33-5abd75d5b1e8" providerId="ADAL" clId="{43B71669-8A80-4333-9349-B258A9296B49}" dt="2024-02-27T16:53:49.050" v="3382"/>
          <ac:spMkLst>
            <pc:docMk/>
            <pc:sldMk cId="459806595" sldId="580"/>
            <ac:spMk id="385" creationId="{2468BB21-D1E2-5D2F-3589-C1776FCCB4B2}"/>
          </ac:spMkLst>
        </pc:spChg>
        <pc:spChg chg="del">
          <ac:chgData name="Bullinger, Marvin" userId="5b54ce5a-dc89-476f-af33-5abd75d5b1e8" providerId="ADAL" clId="{43B71669-8A80-4333-9349-B258A9296B49}" dt="2024-02-27T17:21:07.366" v="3594" actId="478"/>
          <ac:spMkLst>
            <pc:docMk/>
            <pc:sldMk cId="459806595" sldId="580"/>
            <ac:spMk id="385" creationId="{5CABE698-49E9-EFF8-F3E6-BAF4AC3F35E0}"/>
          </ac:spMkLst>
        </pc:spChg>
        <pc:spChg chg="add">
          <ac:chgData name="Bullinger, Marvin" userId="5b54ce5a-dc89-476f-af33-5abd75d5b1e8" providerId="ADAL" clId="{43B71669-8A80-4333-9349-B258A9296B49}" dt="2024-02-27T16:53:49.050" v="3382"/>
          <ac:spMkLst>
            <pc:docMk/>
            <pc:sldMk cId="459806595" sldId="580"/>
            <ac:spMk id="386" creationId="{0ECED205-FF96-3E69-CB1B-57BCD4F55B5B}"/>
          </ac:spMkLst>
        </pc:spChg>
        <pc:spChg chg="del">
          <ac:chgData name="Bullinger, Marvin" userId="5b54ce5a-dc89-476f-af33-5abd75d5b1e8" providerId="ADAL" clId="{43B71669-8A80-4333-9349-B258A9296B49}" dt="2024-02-27T17:21:07.366" v="3593" actId="478"/>
          <ac:spMkLst>
            <pc:docMk/>
            <pc:sldMk cId="459806595" sldId="580"/>
            <ac:spMk id="386" creationId="{FF874979-5F4E-9D4D-0B19-1E5645B2E4D2}"/>
          </ac:spMkLst>
        </pc:spChg>
        <pc:spChg chg="add">
          <ac:chgData name="Bullinger, Marvin" userId="5b54ce5a-dc89-476f-af33-5abd75d5b1e8" providerId="ADAL" clId="{43B71669-8A80-4333-9349-B258A9296B49}" dt="2024-02-27T16:53:49.050" v="3382"/>
          <ac:spMkLst>
            <pc:docMk/>
            <pc:sldMk cId="459806595" sldId="580"/>
            <ac:spMk id="387" creationId="{6C833585-6288-321D-635C-5E9F936F341A}"/>
          </ac:spMkLst>
        </pc:spChg>
        <pc:spChg chg="del">
          <ac:chgData name="Bullinger, Marvin" userId="5b54ce5a-dc89-476f-af33-5abd75d5b1e8" providerId="ADAL" clId="{43B71669-8A80-4333-9349-B258A9296B49}" dt="2024-02-27T17:21:07.366" v="3592" actId="478"/>
          <ac:spMkLst>
            <pc:docMk/>
            <pc:sldMk cId="459806595" sldId="580"/>
            <ac:spMk id="387" creationId="{9E48EA24-697A-74BE-AA6F-1491DD32D758}"/>
          </ac:spMkLst>
        </pc:spChg>
        <pc:spChg chg="del">
          <ac:chgData name="Bullinger, Marvin" userId="5b54ce5a-dc89-476f-af33-5abd75d5b1e8" providerId="ADAL" clId="{43B71669-8A80-4333-9349-B258A9296B49}" dt="2024-02-27T17:21:07.366" v="3591" actId="478"/>
          <ac:spMkLst>
            <pc:docMk/>
            <pc:sldMk cId="459806595" sldId="580"/>
            <ac:spMk id="388" creationId="{149DE282-9452-98AC-CDD7-217053AA9E57}"/>
          </ac:spMkLst>
        </pc:spChg>
        <pc:spChg chg="add">
          <ac:chgData name="Bullinger, Marvin" userId="5b54ce5a-dc89-476f-af33-5abd75d5b1e8" providerId="ADAL" clId="{43B71669-8A80-4333-9349-B258A9296B49}" dt="2024-02-27T16:53:49.050" v="3382"/>
          <ac:spMkLst>
            <pc:docMk/>
            <pc:sldMk cId="459806595" sldId="580"/>
            <ac:spMk id="388" creationId="{8935C8E9-46D7-3DE7-CBB5-92F58E40E412}"/>
          </ac:spMkLst>
        </pc:spChg>
        <pc:spChg chg="add">
          <ac:chgData name="Bullinger, Marvin" userId="5b54ce5a-dc89-476f-af33-5abd75d5b1e8" providerId="ADAL" clId="{43B71669-8A80-4333-9349-B258A9296B49}" dt="2024-02-27T16:53:49.050" v="3382"/>
          <ac:spMkLst>
            <pc:docMk/>
            <pc:sldMk cId="459806595" sldId="580"/>
            <ac:spMk id="389" creationId="{7E478817-DF81-A935-B546-981B9C0E45F4}"/>
          </ac:spMkLst>
        </pc:spChg>
        <pc:spChg chg="replST">
          <ac:chgData name="Bullinger, Marvin" userId="5b54ce5a-dc89-476f-af33-5abd75d5b1e8" providerId="ADAL" clId="{43B71669-8A80-4333-9349-B258A9296B49}" dt="2024-02-27T17:21:08.071" v="3987"/>
          <ac:spMkLst>
            <pc:docMk/>
            <pc:sldMk cId="459806595" sldId="580"/>
            <ac:spMk id="389" creationId="{7ED1D06D-A4F9-15F3-D799-398D5C8FFD44}"/>
          </ac:spMkLst>
        </pc:spChg>
        <pc:spChg chg="replST">
          <ac:chgData name="Bullinger, Marvin" userId="5b54ce5a-dc89-476f-af33-5abd75d5b1e8" providerId="ADAL" clId="{43B71669-8A80-4333-9349-B258A9296B49}" dt="2024-02-27T17:21:08.081" v="3990"/>
          <ac:spMkLst>
            <pc:docMk/>
            <pc:sldMk cId="459806595" sldId="580"/>
            <ac:spMk id="390" creationId="{9175C450-4838-0FD4-4486-9F1B9CB446E5}"/>
          </ac:spMkLst>
        </pc:spChg>
        <pc:spChg chg="add">
          <ac:chgData name="Bullinger, Marvin" userId="5b54ce5a-dc89-476f-af33-5abd75d5b1e8" providerId="ADAL" clId="{43B71669-8A80-4333-9349-B258A9296B49}" dt="2024-02-27T16:53:49.050" v="3382"/>
          <ac:spMkLst>
            <pc:docMk/>
            <pc:sldMk cId="459806595" sldId="580"/>
            <ac:spMk id="390" creationId="{C5168D58-7B24-E31D-4F3A-9D39AD3EF59C}"/>
          </ac:spMkLst>
        </pc:spChg>
        <pc:spChg chg="add">
          <ac:chgData name="Bullinger, Marvin" userId="5b54ce5a-dc89-476f-af33-5abd75d5b1e8" providerId="ADAL" clId="{43B71669-8A80-4333-9349-B258A9296B49}" dt="2024-02-27T16:53:49.050" v="3382"/>
          <ac:spMkLst>
            <pc:docMk/>
            <pc:sldMk cId="459806595" sldId="580"/>
            <ac:spMk id="391" creationId="{002FBE81-34F2-75FF-E6BB-227769A1DB14}"/>
          </ac:spMkLst>
        </pc:spChg>
        <pc:spChg chg="replST">
          <ac:chgData name="Bullinger, Marvin" userId="5b54ce5a-dc89-476f-af33-5abd75d5b1e8" providerId="ADAL" clId="{43B71669-8A80-4333-9349-B258A9296B49}" dt="2024-02-27T17:21:08.089" v="3994"/>
          <ac:spMkLst>
            <pc:docMk/>
            <pc:sldMk cId="459806595" sldId="580"/>
            <ac:spMk id="392" creationId="{608E1D2A-95C0-A914-CD77-6E98DDD5BE8A}"/>
          </ac:spMkLst>
        </pc:spChg>
        <pc:spChg chg="add">
          <ac:chgData name="Bullinger, Marvin" userId="5b54ce5a-dc89-476f-af33-5abd75d5b1e8" providerId="ADAL" clId="{43B71669-8A80-4333-9349-B258A9296B49}" dt="2024-02-27T16:53:49.050" v="3382"/>
          <ac:spMkLst>
            <pc:docMk/>
            <pc:sldMk cId="459806595" sldId="580"/>
            <ac:spMk id="392" creationId="{EDB838FB-BE62-E42B-F326-62A86963C041}"/>
          </ac:spMkLst>
        </pc:spChg>
        <pc:spChg chg="add">
          <ac:chgData name="Bullinger, Marvin" userId="5b54ce5a-dc89-476f-af33-5abd75d5b1e8" providerId="ADAL" clId="{43B71669-8A80-4333-9349-B258A9296B49}" dt="2024-02-27T16:53:49.050" v="3382"/>
          <ac:spMkLst>
            <pc:docMk/>
            <pc:sldMk cId="459806595" sldId="580"/>
            <ac:spMk id="393" creationId="{488BA911-3B9B-73C8-5651-38E67510F8D0}"/>
          </ac:spMkLst>
        </pc:spChg>
        <pc:spChg chg="replST">
          <ac:chgData name="Bullinger, Marvin" userId="5b54ce5a-dc89-476f-af33-5abd75d5b1e8" providerId="ADAL" clId="{43B71669-8A80-4333-9349-B258A9296B49}" dt="2024-02-27T17:21:08.089" v="3997"/>
          <ac:spMkLst>
            <pc:docMk/>
            <pc:sldMk cId="459806595" sldId="580"/>
            <ac:spMk id="393" creationId="{FAC326B4-5694-CA5A-DCF5-9F642AC2E21D}"/>
          </ac:spMkLst>
        </pc:spChg>
        <pc:spChg chg="add">
          <ac:chgData name="Bullinger, Marvin" userId="5b54ce5a-dc89-476f-af33-5abd75d5b1e8" providerId="ADAL" clId="{43B71669-8A80-4333-9349-B258A9296B49}" dt="2024-02-27T16:53:49.050" v="3382"/>
          <ac:spMkLst>
            <pc:docMk/>
            <pc:sldMk cId="459806595" sldId="580"/>
            <ac:spMk id="394" creationId="{A936E66B-3468-BF9F-9622-C9501FF5192A}"/>
          </ac:spMkLst>
        </pc:spChg>
        <pc:spChg chg="replST">
          <ac:chgData name="Bullinger, Marvin" userId="5b54ce5a-dc89-476f-af33-5abd75d5b1e8" providerId="ADAL" clId="{43B71669-8A80-4333-9349-B258A9296B49}" dt="2024-02-27T17:21:08.102" v="4001"/>
          <ac:spMkLst>
            <pc:docMk/>
            <pc:sldMk cId="459806595" sldId="580"/>
            <ac:spMk id="395" creationId="{69249A39-DD01-23BC-72E6-4B65673DDE50}"/>
          </ac:spMkLst>
        </pc:spChg>
        <pc:spChg chg="add">
          <ac:chgData name="Bullinger, Marvin" userId="5b54ce5a-dc89-476f-af33-5abd75d5b1e8" providerId="ADAL" clId="{43B71669-8A80-4333-9349-B258A9296B49}" dt="2024-02-27T16:53:49.050" v="3382"/>
          <ac:spMkLst>
            <pc:docMk/>
            <pc:sldMk cId="459806595" sldId="580"/>
            <ac:spMk id="395" creationId="{C8F492E6-E2EE-BDED-EE79-E9873FAA06BC}"/>
          </ac:spMkLst>
        </pc:spChg>
        <pc:spChg chg="add">
          <ac:chgData name="Bullinger, Marvin" userId="5b54ce5a-dc89-476f-af33-5abd75d5b1e8" providerId="ADAL" clId="{43B71669-8A80-4333-9349-B258A9296B49}" dt="2024-02-27T16:53:49.050" v="3382"/>
          <ac:spMkLst>
            <pc:docMk/>
            <pc:sldMk cId="459806595" sldId="580"/>
            <ac:spMk id="396" creationId="{0F2CED86-9A2B-79CD-AD15-63182F00FD23}"/>
          </ac:spMkLst>
        </pc:spChg>
        <pc:spChg chg="replST">
          <ac:chgData name="Bullinger, Marvin" userId="5b54ce5a-dc89-476f-af33-5abd75d5b1e8" providerId="ADAL" clId="{43B71669-8A80-4333-9349-B258A9296B49}" dt="2024-02-27T17:21:08.112" v="4004"/>
          <ac:spMkLst>
            <pc:docMk/>
            <pc:sldMk cId="459806595" sldId="580"/>
            <ac:spMk id="396" creationId="{C9793A0C-1122-D5C2-31BD-524E0DF97BC1}"/>
          </ac:spMkLst>
        </pc:spChg>
        <pc:spChg chg="del ord replST">
          <ac:chgData name="Bullinger, Marvin" userId="5b54ce5a-dc89-476f-af33-5abd75d5b1e8" providerId="ADAL" clId="{43B71669-8A80-4333-9349-B258A9296B49}" dt="2024-02-27T17:26:23.196" v="4547" actId="478"/>
          <ac:spMkLst>
            <pc:docMk/>
            <pc:sldMk cId="459806595" sldId="580"/>
            <ac:spMk id="397" creationId="{53272FE9-EE1D-0044-9C6B-685FA3DF3CC2}"/>
          </ac:spMkLst>
        </pc:spChg>
        <pc:spChg chg="add">
          <ac:chgData name="Bullinger, Marvin" userId="5b54ce5a-dc89-476f-af33-5abd75d5b1e8" providerId="ADAL" clId="{43B71669-8A80-4333-9349-B258A9296B49}" dt="2024-02-27T16:53:49.050" v="3382"/>
          <ac:spMkLst>
            <pc:docMk/>
            <pc:sldMk cId="459806595" sldId="580"/>
            <ac:spMk id="397" creationId="{5A864BCD-3945-93A3-6BE1-B1864AE59CE8}"/>
          </ac:spMkLst>
        </pc:spChg>
        <pc:spChg chg="replST">
          <ac:chgData name="Bullinger, Marvin" userId="5b54ce5a-dc89-476f-af33-5abd75d5b1e8" providerId="ADAL" clId="{43B71669-8A80-4333-9349-B258A9296B49}" dt="2024-02-27T17:21:08.130" v="4008"/>
          <ac:spMkLst>
            <pc:docMk/>
            <pc:sldMk cId="459806595" sldId="580"/>
            <ac:spMk id="398" creationId="{A1C88869-C5C9-1E27-467B-0EAA5C29E8CB}"/>
          </ac:spMkLst>
        </pc:spChg>
        <pc:spChg chg="add">
          <ac:chgData name="Bullinger, Marvin" userId="5b54ce5a-dc89-476f-af33-5abd75d5b1e8" providerId="ADAL" clId="{43B71669-8A80-4333-9349-B258A9296B49}" dt="2024-02-27T16:53:49.050" v="3382"/>
          <ac:spMkLst>
            <pc:docMk/>
            <pc:sldMk cId="459806595" sldId="580"/>
            <ac:spMk id="398" creationId="{BF3D9884-DA96-85ED-B094-075C78387430}"/>
          </ac:spMkLst>
        </pc:spChg>
        <pc:spChg chg="add">
          <ac:chgData name="Bullinger, Marvin" userId="5b54ce5a-dc89-476f-af33-5abd75d5b1e8" providerId="ADAL" clId="{43B71669-8A80-4333-9349-B258A9296B49}" dt="2024-02-27T16:53:49.050" v="3382"/>
          <ac:spMkLst>
            <pc:docMk/>
            <pc:sldMk cId="459806595" sldId="580"/>
            <ac:spMk id="399" creationId="{0D24717F-0F83-87AB-8A77-399338D74D7E}"/>
          </ac:spMkLst>
        </pc:spChg>
        <pc:spChg chg="replST">
          <ac:chgData name="Bullinger, Marvin" userId="5b54ce5a-dc89-476f-af33-5abd75d5b1e8" providerId="ADAL" clId="{43B71669-8A80-4333-9349-B258A9296B49}" dt="2024-02-27T17:21:08.140" v="4011"/>
          <ac:spMkLst>
            <pc:docMk/>
            <pc:sldMk cId="459806595" sldId="580"/>
            <ac:spMk id="399" creationId="{4285BDB4-D417-FBD8-A6EA-4122726DA31B}"/>
          </ac:spMkLst>
        </pc:spChg>
        <pc:spChg chg="add">
          <ac:chgData name="Bullinger, Marvin" userId="5b54ce5a-dc89-476f-af33-5abd75d5b1e8" providerId="ADAL" clId="{43B71669-8A80-4333-9349-B258A9296B49}" dt="2024-02-27T16:53:49.050" v="3382"/>
          <ac:spMkLst>
            <pc:docMk/>
            <pc:sldMk cId="459806595" sldId="580"/>
            <ac:spMk id="400" creationId="{B2712A2C-E22D-5C3A-EDCE-E5C383A7233E}"/>
          </ac:spMkLst>
        </pc:spChg>
        <pc:spChg chg="replST">
          <ac:chgData name="Bullinger, Marvin" userId="5b54ce5a-dc89-476f-af33-5abd75d5b1e8" providerId="ADAL" clId="{43B71669-8A80-4333-9349-B258A9296B49}" dt="2024-02-27T17:21:08.150" v="4015"/>
          <ac:spMkLst>
            <pc:docMk/>
            <pc:sldMk cId="459806595" sldId="580"/>
            <ac:spMk id="401" creationId="{BEE51E99-BC07-C369-5E22-4D0805E8814B}"/>
          </ac:spMkLst>
        </pc:spChg>
        <pc:spChg chg="add">
          <ac:chgData name="Bullinger, Marvin" userId="5b54ce5a-dc89-476f-af33-5abd75d5b1e8" providerId="ADAL" clId="{43B71669-8A80-4333-9349-B258A9296B49}" dt="2024-02-27T16:53:49.050" v="3382"/>
          <ac:spMkLst>
            <pc:docMk/>
            <pc:sldMk cId="459806595" sldId="580"/>
            <ac:spMk id="401" creationId="{F32DE1F0-7873-7EE7-AF98-E9F8704BC20D}"/>
          </ac:spMkLst>
        </pc:spChg>
        <pc:spChg chg="add">
          <ac:chgData name="Bullinger, Marvin" userId="5b54ce5a-dc89-476f-af33-5abd75d5b1e8" providerId="ADAL" clId="{43B71669-8A80-4333-9349-B258A9296B49}" dt="2024-02-27T16:53:49.050" v="3382"/>
          <ac:spMkLst>
            <pc:docMk/>
            <pc:sldMk cId="459806595" sldId="580"/>
            <ac:spMk id="402" creationId="{286C6DA9-12D0-B10C-8C04-7B6488490C2A}"/>
          </ac:spMkLst>
        </pc:spChg>
        <pc:spChg chg="replST">
          <ac:chgData name="Bullinger, Marvin" userId="5b54ce5a-dc89-476f-af33-5abd75d5b1e8" providerId="ADAL" clId="{43B71669-8A80-4333-9349-B258A9296B49}" dt="2024-02-27T17:21:08.152" v="4018"/>
          <ac:spMkLst>
            <pc:docMk/>
            <pc:sldMk cId="459806595" sldId="580"/>
            <ac:spMk id="402" creationId="{728E721A-D6D5-BF69-22C5-19D1DAE6917E}"/>
          </ac:spMkLst>
        </pc:spChg>
        <pc:spChg chg="add">
          <ac:chgData name="Bullinger, Marvin" userId="5b54ce5a-dc89-476f-af33-5abd75d5b1e8" providerId="ADAL" clId="{43B71669-8A80-4333-9349-B258A9296B49}" dt="2024-02-27T16:53:49.050" v="3382"/>
          <ac:spMkLst>
            <pc:docMk/>
            <pc:sldMk cId="459806595" sldId="580"/>
            <ac:spMk id="403" creationId="{6268F562-AE6D-9482-E462-56DE1388B4C6}"/>
          </ac:spMkLst>
        </pc:spChg>
        <pc:spChg chg="add">
          <ac:chgData name="Bullinger, Marvin" userId="5b54ce5a-dc89-476f-af33-5abd75d5b1e8" providerId="ADAL" clId="{43B71669-8A80-4333-9349-B258A9296B49}" dt="2024-02-27T16:53:49.050" v="3382"/>
          <ac:spMkLst>
            <pc:docMk/>
            <pc:sldMk cId="459806595" sldId="580"/>
            <ac:spMk id="404" creationId="{18E29C51-5107-4728-C2AA-C63DB897045A}"/>
          </ac:spMkLst>
        </pc:spChg>
        <pc:spChg chg="replST">
          <ac:chgData name="Bullinger, Marvin" userId="5b54ce5a-dc89-476f-af33-5abd75d5b1e8" providerId="ADAL" clId="{43B71669-8A80-4333-9349-B258A9296B49}" dt="2024-02-27T17:21:08.163" v="4022"/>
          <ac:spMkLst>
            <pc:docMk/>
            <pc:sldMk cId="459806595" sldId="580"/>
            <ac:spMk id="404" creationId="{7004D2E2-E39D-9549-0188-7C5256543F24}"/>
          </ac:spMkLst>
        </pc:spChg>
        <pc:spChg chg="add">
          <ac:chgData name="Bullinger, Marvin" userId="5b54ce5a-dc89-476f-af33-5abd75d5b1e8" providerId="ADAL" clId="{43B71669-8A80-4333-9349-B258A9296B49}" dt="2024-02-27T16:53:49.050" v="3382"/>
          <ac:spMkLst>
            <pc:docMk/>
            <pc:sldMk cId="459806595" sldId="580"/>
            <ac:spMk id="405" creationId="{2602B74F-248A-D896-B41D-5681CBA53D1E}"/>
          </ac:spMkLst>
        </pc:spChg>
        <pc:spChg chg="replST">
          <ac:chgData name="Bullinger, Marvin" userId="5b54ce5a-dc89-476f-af33-5abd75d5b1e8" providerId="ADAL" clId="{43B71669-8A80-4333-9349-B258A9296B49}" dt="2024-02-27T17:21:08.163" v="4025"/>
          <ac:spMkLst>
            <pc:docMk/>
            <pc:sldMk cId="459806595" sldId="580"/>
            <ac:spMk id="405" creationId="{F5D1B706-C23A-FE99-E45C-7CA83EA67191}"/>
          </ac:spMkLst>
        </pc:spChg>
        <pc:spChg chg="add">
          <ac:chgData name="Bullinger, Marvin" userId="5b54ce5a-dc89-476f-af33-5abd75d5b1e8" providerId="ADAL" clId="{43B71669-8A80-4333-9349-B258A9296B49}" dt="2024-02-27T16:53:49.050" v="3382"/>
          <ac:spMkLst>
            <pc:docMk/>
            <pc:sldMk cId="459806595" sldId="580"/>
            <ac:spMk id="406" creationId="{713CF959-2BC9-DE02-8C57-43B26BB5DC93}"/>
          </ac:spMkLst>
        </pc:spChg>
        <pc:spChg chg="add">
          <ac:chgData name="Bullinger, Marvin" userId="5b54ce5a-dc89-476f-af33-5abd75d5b1e8" providerId="ADAL" clId="{43B71669-8A80-4333-9349-B258A9296B49}" dt="2024-02-27T16:53:49.050" v="3382"/>
          <ac:spMkLst>
            <pc:docMk/>
            <pc:sldMk cId="459806595" sldId="580"/>
            <ac:spMk id="407" creationId="{71E6EE3D-A2B1-A587-61AC-25D94905EEB4}"/>
          </ac:spMkLst>
        </pc:spChg>
        <pc:spChg chg="replST">
          <ac:chgData name="Bullinger, Marvin" userId="5b54ce5a-dc89-476f-af33-5abd75d5b1e8" providerId="ADAL" clId="{43B71669-8A80-4333-9349-B258A9296B49}" dt="2024-02-27T17:21:08.173" v="4029"/>
          <ac:spMkLst>
            <pc:docMk/>
            <pc:sldMk cId="459806595" sldId="580"/>
            <ac:spMk id="407" creationId="{902DB912-6C0A-B8D6-03E7-4E05B2EBE5B7}"/>
          </ac:spMkLst>
        </pc:spChg>
        <pc:spChg chg="replST">
          <ac:chgData name="Bullinger, Marvin" userId="5b54ce5a-dc89-476f-af33-5abd75d5b1e8" providerId="ADAL" clId="{43B71669-8A80-4333-9349-B258A9296B49}" dt="2024-02-27T17:21:08.183" v="4032"/>
          <ac:spMkLst>
            <pc:docMk/>
            <pc:sldMk cId="459806595" sldId="580"/>
            <ac:spMk id="408" creationId="{730E52D8-6BFB-570A-EEEB-A64096B8624A}"/>
          </ac:spMkLst>
        </pc:spChg>
        <pc:spChg chg="add">
          <ac:chgData name="Bullinger, Marvin" userId="5b54ce5a-dc89-476f-af33-5abd75d5b1e8" providerId="ADAL" clId="{43B71669-8A80-4333-9349-B258A9296B49}" dt="2024-02-27T16:53:49.050" v="3382"/>
          <ac:spMkLst>
            <pc:docMk/>
            <pc:sldMk cId="459806595" sldId="580"/>
            <ac:spMk id="408" creationId="{8265DA58-FCBE-7532-D838-9CE92EECB2C0}"/>
          </ac:spMkLst>
        </pc:spChg>
        <pc:spChg chg="add">
          <ac:chgData name="Bullinger, Marvin" userId="5b54ce5a-dc89-476f-af33-5abd75d5b1e8" providerId="ADAL" clId="{43B71669-8A80-4333-9349-B258A9296B49}" dt="2024-02-27T16:53:49.050" v="3382"/>
          <ac:spMkLst>
            <pc:docMk/>
            <pc:sldMk cId="459806595" sldId="580"/>
            <ac:spMk id="409" creationId="{985E87CD-A7EE-7562-3756-AA31846762D7}"/>
          </ac:spMkLst>
        </pc:spChg>
        <pc:spChg chg="add">
          <ac:chgData name="Bullinger, Marvin" userId="5b54ce5a-dc89-476f-af33-5abd75d5b1e8" providerId="ADAL" clId="{43B71669-8A80-4333-9349-B258A9296B49}" dt="2024-02-27T16:53:49.050" v="3382"/>
          <ac:spMkLst>
            <pc:docMk/>
            <pc:sldMk cId="459806595" sldId="580"/>
            <ac:spMk id="410" creationId="{034A9BE2-FE2F-53AD-2DFF-5D37DD6019F2}"/>
          </ac:spMkLst>
        </pc:spChg>
        <pc:spChg chg="add">
          <ac:chgData name="Bullinger, Marvin" userId="5b54ce5a-dc89-476f-af33-5abd75d5b1e8" providerId="ADAL" clId="{43B71669-8A80-4333-9349-B258A9296B49}" dt="2024-02-27T16:53:49.050" v="3382"/>
          <ac:spMkLst>
            <pc:docMk/>
            <pc:sldMk cId="459806595" sldId="580"/>
            <ac:spMk id="411" creationId="{ED0A47EC-8446-C1F3-A3AC-38583DD38D38}"/>
          </ac:spMkLst>
        </pc:spChg>
        <pc:spChg chg="add">
          <ac:chgData name="Bullinger, Marvin" userId="5b54ce5a-dc89-476f-af33-5abd75d5b1e8" providerId="ADAL" clId="{43B71669-8A80-4333-9349-B258A9296B49}" dt="2024-02-27T16:53:49.050" v="3382"/>
          <ac:spMkLst>
            <pc:docMk/>
            <pc:sldMk cId="459806595" sldId="580"/>
            <ac:spMk id="412" creationId="{8C9A7F01-F76C-D04C-BB90-BA47E673D04C}"/>
          </ac:spMkLst>
        </pc:spChg>
        <pc:spChg chg="add del mod">
          <ac:chgData name="Bullinger, Marvin" userId="5b54ce5a-dc89-476f-af33-5abd75d5b1e8" providerId="ADAL" clId="{43B71669-8A80-4333-9349-B258A9296B49}" dt="2024-02-27T16:53:49.050" v="3382"/>
          <ac:spMkLst>
            <pc:docMk/>
            <pc:sldMk cId="459806595" sldId="580"/>
            <ac:spMk id="414" creationId="{A83E30FD-4A10-8C5C-1BFE-D746CB800742}"/>
          </ac:spMkLst>
        </pc:spChg>
        <pc:spChg chg="mod ord replST delST">
          <ac:chgData name="Bullinger, Marvin" userId="5b54ce5a-dc89-476f-af33-5abd75d5b1e8" providerId="ADAL" clId="{43B71669-8A80-4333-9349-B258A9296B49}" dt="2024-02-27T16:53:49.050" v="3382"/>
          <ac:spMkLst>
            <pc:docMk/>
            <pc:sldMk cId="459806595" sldId="580"/>
            <ac:spMk id="415" creationId="{E746BB08-84B4-B30B-00D5-38AE561746A0}"/>
          </ac:spMkLst>
        </pc:spChg>
        <pc:spChg chg="add del">
          <ac:chgData name="Bullinger, Marvin" userId="5b54ce5a-dc89-476f-af33-5abd75d5b1e8" providerId="ADAL" clId="{43B71669-8A80-4333-9349-B258A9296B49}" dt="2024-02-27T16:53:49.050" v="3382"/>
          <ac:spMkLst>
            <pc:docMk/>
            <pc:sldMk cId="459806595" sldId="580"/>
            <ac:spMk id="416" creationId="{26B765DE-D335-40C7-AB04-AC02267063C6}"/>
          </ac:spMkLst>
        </pc:spChg>
        <pc:spChg chg="add del">
          <ac:chgData name="Bullinger, Marvin" userId="5b54ce5a-dc89-476f-af33-5abd75d5b1e8" providerId="ADAL" clId="{43B71669-8A80-4333-9349-B258A9296B49}" dt="2024-02-27T16:53:49.050" v="3382"/>
          <ac:spMkLst>
            <pc:docMk/>
            <pc:sldMk cId="459806595" sldId="580"/>
            <ac:spMk id="417" creationId="{0FD3CEDC-7FE4-5719-3766-0341C113EDE7}"/>
          </ac:spMkLst>
        </pc:spChg>
        <pc:spChg chg="add del">
          <ac:chgData name="Bullinger, Marvin" userId="5b54ce5a-dc89-476f-af33-5abd75d5b1e8" providerId="ADAL" clId="{43B71669-8A80-4333-9349-B258A9296B49}" dt="2024-02-27T16:53:49.050" v="3382"/>
          <ac:spMkLst>
            <pc:docMk/>
            <pc:sldMk cId="459806595" sldId="580"/>
            <ac:spMk id="418" creationId="{BE9185E4-9968-E9E4-2DB1-F65951A83C85}"/>
          </ac:spMkLst>
        </pc:spChg>
        <pc:spChg chg="add del">
          <ac:chgData name="Bullinger, Marvin" userId="5b54ce5a-dc89-476f-af33-5abd75d5b1e8" providerId="ADAL" clId="{43B71669-8A80-4333-9349-B258A9296B49}" dt="2024-02-27T16:53:49.050" v="3382"/>
          <ac:spMkLst>
            <pc:docMk/>
            <pc:sldMk cId="459806595" sldId="580"/>
            <ac:spMk id="419" creationId="{E5C29DB7-1E39-A893-3727-A16BF7939FFC}"/>
          </ac:spMkLst>
        </pc:spChg>
        <pc:spChg chg="add del">
          <ac:chgData name="Bullinger, Marvin" userId="5b54ce5a-dc89-476f-af33-5abd75d5b1e8" providerId="ADAL" clId="{43B71669-8A80-4333-9349-B258A9296B49}" dt="2024-02-27T16:53:49.050" v="3382"/>
          <ac:spMkLst>
            <pc:docMk/>
            <pc:sldMk cId="459806595" sldId="580"/>
            <ac:spMk id="420" creationId="{88DF41CF-AD20-F348-8538-E85D45429E18}"/>
          </ac:spMkLst>
        </pc:spChg>
        <pc:spChg chg="add del">
          <ac:chgData name="Bullinger, Marvin" userId="5b54ce5a-dc89-476f-af33-5abd75d5b1e8" providerId="ADAL" clId="{43B71669-8A80-4333-9349-B258A9296B49}" dt="2024-02-27T16:53:49.050" v="3382"/>
          <ac:spMkLst>
            <pc:docMk/>
            <pc:sldMk cId="459806595" sldId="580"/>
            <ac:spMk id="421" creationId="{7F1BCFCC-2CE4-E958-073C-AB2B1DED6200}"/>
          </ac:spMkLst>
        </pc:spChg>
        <pc:spChg chg="add del">
          <ac:chgData name="Bullinger, Marvin" userId="5b54ce5a-dc89-476f-af33-5abd75d5b1e8" providerId="ADAL" clId="{43B71669-8A80-4333-9349-B258A9296B49}" dt="2024-02-27T16:53:49.050" v="3382"/>
          <ac:spMkLst>
            <pc:docMk/>
            <pc:sldMk cId="459806595" sldId="580"/>
            <ac:spMk id="422" creationId="{EF2621AA-7066-366E-6250-1504494C3242}"/>
          </ac:spMkLst>
        </pc:spChg>
        <pc:spChg chg="add del">
          <ac:chgData name="Bullinger, Marvin" userId="5b54ce5a-dc89-476f-af33-5abd75d5b1e8" providerId="ADAL" clId="{43B71669-8A80-4333-9349-B258A9296B49}" dt="2024-02-27T16:53:49.050" v="3382"/>
          <ac:spMkLst>
            <pc:docMk/>
            <pc:sldMk cId="459806595" sldId="580"/>
            <ac:spMk id="423" creationId="{E9ACF65B-AFDC-44DC-8E90-28E42F1AB255}"/>
          </ac:spMkLst>
        </pc:spChg>
        <pc:spChg chg="add del">
          <ac:chgData name="Bullinger, Marvin" userId="5b54ce5a-dc89-476f-af33-5abd75d5b1e8" providerId="ADAL" clId="{43B71669-8A80-4333-9349-B258A9296B49}" dt="2024-02-27T16:53:49.050" v="3382"/>
          <ac:spMkLst>
            <pc:docMk/>
            <pc:sldMk cId="459806595" sldId="580"/>
            <ac:spMk id="424" creationId="{F0F69004-3431-668B-23DB-6F2470E51941}"/>
          </ac:spMkLst>
        </pc:spChg>
        <pc:spChg chg="add del">
          <ac:chgData name="Bullinger, Marvin" userId="5b54ce5a-dc89-476f-af33-5abd75d5b1e8" providerId="ADAL" clId="{43B71669-8A80-4333-9349-B258A9296B49}" dt="2024-02-27T16:53:49.050" v="3382"/>
          <ac:spMkLst>
            <pc:docMk/>
            <pc:sldMk cId="459806595" sldId="580"/>
            <ac:spMk id="425" creationId="{0EE13948-8855-4ED4-B842-797A21101CC0}"/>
          </ac:spMkLst>
        </pc:spChg>
        <pc:spChg chg="add del">
          <ac:chgData name="Bullinger, Marvin" userId="5b54ce5a-dc89-476f-af33-5abd75d5b1e8" providerId="ADAL" clId="{43B71669-8A80-4333-9349-B258A9296B49}" dt="2024-02-27T16:53:49.050" v="3382"/>
          <ac:spMkLst>
            <pc:docMk/>
            <pc:sldMk cId="459806595" sldId="580"/>
            <ac:spMk id="426" creationId="{2288D272-E8A0-2692-7A5A-265E99ACC58F}"/>
          </ac:spMkLst>
        </pc:spChg>
        <pc:spChg chg="add del">
          <ac:chgData name="Bullinger, Marvin" userId="5b54ce5a-dc89-476f-af33-5abd75d5b1e8" providerId="ADAL" clId="{43B71669-8A80-4333-9349-B258A9296B49}" dt="2024-02-27T16:53:49.050" v="3382"/>
          <ac:spMkLst>
            <pc:docMk/>
            <pc:sldMk cId="459806595" sldId="580"/>
            <ac:spMk id="427" creationId="{8F8D3EBE-02DA-D4C1-E634-850CA4D51F91}"/>
          </ac:spMkLst>
        </pc:spChg>
        <pc:spChg chg="add del">
          <ac:chgData name="Bullinger, Marvin" userId="5b54ce5a-dc89-476f-af33-5abd75d5b1e8" providerId="ADAL" clId="{43B71669-8A80-4333-9349-B258A9296B49}" dt="2024-02-27T16:53:49.050" v="3382"/>
          <ac:spMkLst>
            <pc:docMk/>
            <pc:sldMk cId="459806595" sldId="580"/>
            <ac:spMk id="428" creationId="{3FD34E65-53ED-659F-6B8F-FE925050E206}"/>
          </ac:spMkLst>
        </pc:spChg>
        <pc:spChg chg="add del">
          <ac:chgData name="Bullinger, Marvin" userId="5b54ce5a-dc89-476f-af33-5abd75d5b1e8" providerId="ADAL" clId="{43B71669-8A80-4333-9349-B258A9296B49}" dt="2024-02-27T16:53:49.050" v="3382"/>
          <ac:spMkLst>
            <pc:docMk/>
            <pc:sldMk cId="459806595" sldId="580"/>
            <ac:spMk id="429" creationId="{FA180B5C-21F9-D81F-47CB-4F1E3EA169B3}"/>
          </ac:spMkLst>
        </pc:spChg>
        <pc:spChg chg="add del">
          <ac:chgData name="Bullinger, Marvin" userId="5b54ce5a-dc89-476f-af33-5abd75d5b1e8" providerId="ADAL" clId="{43B71669-8A80-4333-9349-B258A9296B49}" dt="2024-02-27T16:53:49.050" v="3382"/>
          <ac:spMkLst>
            <pc:docMk/>
            <pc:sldMk cId="459806595" sldId="580"/>
            <ac:spMk id="430" creationId="{443C663D-990A-928F-9869-16D7BF5564A5}"/>
          </ac:spMkLst>
        </pc:spChg>
        <pc:spChg chg="add del">
          <ac:chgData name="Bullinger, Marvin" userId="5b54ce5a-dc89-476f-af33-5abd75d5b1e8" providerId="ADAL" clId="{43B71669-8A80-4333-9349-B258A9296B49}" dt="2024-02-27T16:53:49.050" v="3382"/>
          <ac:spMkLst>
            <pc:docMk/>
            <pc:sldMk cId="459806595" sldId="580"/>
            <ac:spMk id="431" creationId="{0B05F9C1-1B16-BF4D-3358-0E869155039A}"/>
          </ac:spMkLst>
        </pc:spChg>
        <pc:spChg chg="add del">
          <ac:chgData name="Bullinger, Marvin" userId="5b54ce5a-dc89-476f-af33-5abd75d5b1e8" providerId="ADAL" clId="{43B71669-8A80-4333-9349-B258A9296B49}" dt="2024-02-27T16:53:49.050" v="3382"/>
          <ac:spMkLst>
            <pc:docMk/>
            <pc:sldMk cId="459806595" sldId="580"/>
            <ac:spMk id="432" creationId="{46D4886F-F35C-A678-1FD8-D15191F32B3A}"/>
          </ac:spMkLst>
        </pc:spChg>
        <pc:spChg chg="add del">
          <ac:chgData name="Bullinger, Marvin" userId="5b54ce5a-dc89-476f-af33-5abd75d5b1e8" providerId="ADAL" clId="{43B71669-8A80-4333-9349-B258A9296B49}" dt="2024-02-27T16:53:49.050" v="3382"/>
          <ac:spMkLst>
            <pc:docMk/>
            <pc:sldMk cId="459806595" sldId="580"/>
            <ac:spMk id="433" creationId="{AB575A9C-F378-D7E8-F876-5C8ED596C1F9}"/>
          </ac:spMkLst>
        </pc:spChg>
        <pc:spChg chg="add del">
          <ac:chgData name="Bullinger, Marvin" userId="5b54ce5a-dc89-476f-af33-5abd75d5b1e8" providerId="ADAL" clId="{43B71669-8A80-4333-9349-B258A9296B49}" dt="2024-02-27T16:53:49.050" v="3382"/>
          <ac:spMkLst>
            <pc:docMk/>
            <pc:sldMk cId="459806595" sldId="580"/>
            <ac:spMk id="434" creationId="{5BDD3E97-24BB-CDAC-8538-8EFFCA8064B0}"/>
          </ac:spMkLst>
        </pc:spChg>
        <pc:spChg chg="add del">
          <ac:chgData name="Bullinger, Marvin" userId="5b54ce5a-dc89-476f-af33-5abd75d5b1e8" providerId="ADAL" clId="{43B71669-8A80-4333-9349-B258A9296B49}" dt="2024-02-27T16:53:49.050" v="3382"/>
          <ac:spMkLst>
            <pc:docMk/>
            <pc:sldMk cId="459806595" sldId="580"/>
            <ac:spMk id="435" creationId="{393B6961-08E7-1F0D-F8F2-4C5B65DE29AF}"/>
          </ac:spMkLst>
        </pc:spChg>
        <pc:spChg chg="add del">
          <ac:chgData name="Bullinger, Marvin" userId="5b54ce5a-dc89-476f-af33-5abd75d5b1e8" providerId="ADAL" clId="{43B71669-8A80-4333-9349-B258A9296B49}" dt="2024-02-27T16:53:49.050" v="3382"/>
          <ac:spMkLst>
            <pc:docMk/>
            <pc:sldMk cId="459806595" sldId="580"/>
            <ac:spMk id="436" creationId="{228A1D8D-B916-61F2-97D2-448E59C3D5F1}"/>
          </ac:spMkLst>
        </pc:spChg>
        <pc:spChg chg="add del">
          <ac:chgData name="Bullinger, Marvin" userId="5b54ce5a-dc89-476f-af33-5abd75d5b1e8" providerId="ADAL" clId="{43B71669-8A80-4333-9349-B258A9296B49}" dt="2024-02-27T16:53:49.050" v="3382"/>
          <ac:spMkLst>
            <pc:docMk/>
            <pc:sldMk cId="459806595" sldId="580"/>
            <ac:spMk id="437" creationId="{B29C2E33-D388-B944-8C45-430E9BB16894}"/>
          </ac:spMkLst>
        </pc:spChg>
        <pc:spChg chg="add del">
          <ac:chgData name="Bullinger, Marvin" userId="5b54ce5a-dc89-476f-af33-5abd75d5b1e8" providerId="ADAL" clId="{43B71669-8A80-4333-9349-B258A9296B49}" dt="2024-02-27T16:53:49.050" v="3382"/>
          <ac:spMkLst>
            <pc:docMk/>
            <pc:sldMk cId="459806595" sldId="580"/>
            <ac:spMk id="438" creationId="{434B8910-2EF4-8E50-D6E5-F782688B85B0}"/>
          </ac:spMkLst>
        </pc:spChg>
        <pc:spChg chg="add del">
          <ac:chgData name="Bullinger, Marvin" userId="5b54ce5a-dc89-476f-af33-5abd75d5b1e8" providerId="ADAL" clId="{43B71669-8A80-4333-9349-B258A9296B49}" dt="2024-02-27T16:53:49.050" v="3382"/>
          <ac:spMkLst>
            <pc:docMk/>
            <pc:sldMk cId="459806595" sldId="580"/>
            <ac:spMk id="439" creationId="{473B10B2-A53D-10C3-3F65-ABB18B730ED6}"/>
          </ac:spMkLst>
        </pc:spChg>
        <pc:spChg chg="add del">
          <ac:chgData name="Bullinger, Marvin" userId="5b54ce5a-dc89-476f-af33-5abd75d5b1e8" providerId="ADAL" clId="{43B71669-8A80-4333-9349-B258A9296B49}" dt="2024-02-27T16:53:49.050" v="3382"/>
          <ac:spMkLst>
            <pc:docMk/>
            <pc:sldMk cId="459806595" sldId="580"/>
            <ac:spMk id="440" creationId="{B0EDD13F-755C-3627-2741-739DB0C61FF3}"/>
          </ac:spMkLst>
        </pc:spChg>
        <pc:spChg chg="add del">
          <ac:chgData name="Bullinger, Marvin" userId="5b54ce5a-dc89-476f-af33-5abd75d5b1e8" providerId="ADAL" clId="{43B71669-8A80-4333-9349-B258A9296B49}" dt="2024-02-27T16:53:49.050" v="3382"/>
          <ac:spMkLst>
            <pc:docMk/>
            <pc:sldMk cId="459806595" sldId="580"/>
            <ac:spMk id="441" creationId="{79F77F7B-5E29-2717-E20C-76912C4D79C7}"/>
          </ac:spMkLst>
        </pc:spChg>
        <pc:spChg chg="add del">
          <ac:chgData name="Bullinger, Marvin" userId="5b54ce5a-dc89-476f-af33-5abd75d5b1e8" providerId="ADAL" clId="{43B71669-8A80-4333-9349-B258A9296B49}" dt="2024-02-27T16:53:49.050" v="3382"/>
          <ac:spMkLst>
            <pc:docMk/>
            <pc:sldMk cId="459806595" sldId="580"/>
            <ac:spMk id="442" creationId="{F09C5866-0C58-6DB4-35EE-3987B2CADBE2}"/>
          </ac:spMkLst>
        </pc:spChg>
        <pc:spChg chg="add del">
          <ac:chgData name="Bullinger, Marvin" userId="5b54ce5a-dc89-476f-af33-5abd75d5b1e8" providerId="ADAL" clId="{43B71669-8A80-4333-9349-B258A9296B49}" dt="2024-02-27T16:53:49.050" v="3382"/>
          <ac:spMkLst>
            <pc:docMk/>
            <pc:sldMk cId="459806595" sldId="580"/>
            <ac:spMk id="443" creationId="{7C5312B8-E1DE-AEEF-D826-1ECD85B49A0B}"/>
          </ac:spMkLst>
        </pc:spChg>
        <pc:spChg chg="add del">
          <ac:chgData name="Bullinger, Marvin" userId="5b54ce5a-dc89-476f-af33-5abd75d5b1e8" providerId="ADAL" clId="{43B71669-8A80-4333-9349-B258A9296B49}" dt="2024-02-27T16:53:49.050" v="3382"/>
          <ac:spMkLst>
            <pc:docMk/>
            <pc:sldMk cId="459806595" sldId="580"/>
            <ac:spMk id="444" creationId="{B59FEBBC-60BE-8D11-B630-513020BEF181}"/>
          </ac:spMkLst>
        </pc:spChg>
        <pc:spChg chg="add del">
          <ac:chgData name="Bullinger, Marvin" userId="5b54ce5a-dc89-476f-af33-5abd75d5b1e8" providerId="ADAL" clId="{43B71669-8A80-4333-9349-B258A9296B49}" dt="2024-02-27T16:53:49.050" v="3382"/>
          <ac:spMkLst>
            <pc:docMk/>
            <pc:sldMk cId="459806595" sldId="580"/>
            <ac:spMk id="445" creationId="{F2070E6F-6C31-66B8-6864-9D038BF0B18B}"/>
          </ac:spMkLst>
        </pc:spChg>
        <pc:spChg chg="add del">
          <ac:chgData name="Bullinger, Marvin" userId="5b54ce5a-dc89-476f-af33-5abd75d5b1e8" providerId="ADAL" clId="{43B71669-8A80-4333-9349-B258A9296B49}" dt="2024-02-27T16:53:49.050" v="3382"/>
          <ac:spMkLst>
            <pc:docMk/>
            <pc:sldMk cId="459806595" sldId="580"/>
            <ac:spMk id="446" creationId="{0E2F9C18-1A2B-7FD1-E8A2-D440BF053814}"/>
          </ac:spMkLst>
        </pc:spChg>
        <pc:spChg chg="add del">
          <ac:chgData name="Bullinger, Marvin" userId="5b54ce5a-dc89-476f-af33-5abd75d5b1e8" providerId="ADAL" clId="{43B71669-8A80-4333-9349-B258A9296B49}" dt="2024-02-27T16:53:49.050" v="3382"/>
          <ac:spMkLst>
            <pc:docMk/>
            <pc:sldMk cId="459806595" sldId="580"/>
            <ac:spMk id="447" creationId="{F59EDE90-0621-D2FF-1109-F70A41842A08}"/>
          </ac:spMkLst>
        </pc:spChg>
        <pc:spChg chg="add del">
          <ac:chgData name="Bullinger, Marvin" userId="5b54ce5a-dc89-476f-af33-5abd75d5b1e8" providerId="ADAL" clId="{43B71669-8A80-4333-9349-B258A9296B49}" dt="2024-02-27T16:53:49.050" v="3382"/>
          <ac:spMkLst>
            <pc:docMk/>
            <pc:sldMk cId="459806595" sldId="580"/>
            <ac:spMk id="448" creationId="{B413B94F-AFAA-A17B-9728-A0525A35DB8E}"/>
          </ac:spMkLst>
        </pc:spChg>
        <pc:spChg chg="add mod">
          <ac:chgData name="Bullinger, Marvin" userId="5b54ce5a-dc89-476f-af33-5abd75d5b1e8" providerId="ADAL" clId="{43B71669-8A80-4333-9349-B258A9296B49}" dt="2024-02-27T17:26:23.196" v="4544" actId="478"/>
          <ac:spMkLst>
            <pc:docMk/>
            <pc:sldMk cId="459806595" sldId="580"/>
            <ac:spMk id="449" creationId="{86CA5CCF-89E5-BC0A-CBAD-728E70550BBE}"/>
          </ac:spMkLst>
        </pc:spChg>
        <pc:spChg chg="add del">
          <ac:chgData name="Bullinger, Marvin" userId="5b54ce5a-dc89-476f-af33-5abd75d5b1e8" providerId="ADAL" clId="{43B71669-8A80-4333-9349-B258A9296B49}" dt="2024-02-27T16:53:49.050" v="3382"/>
          <ac:spMkLst>
            <pc:docMk/>
            <pc:sldMk cId="459806595" sldId="580"/>
            <ac:spMk id="449" creationId="{8AC8BC4C-D42C-68AF-BBBB-E78EF9E51E88}"/>
          </ac:spMkLst>
        </pc:spChg>
        <pc:spChg chg="del mod ord replST">
          <ac:chgData name="Bullinger, Marvin" userId="5b54ce5a-dc89-476f-af33-5abd75d5b1e8" providerId="ADAL" clId="{43B71669-8A80-4333-9349-B258A9296B49}" dt="2024-02-27T17:26:59.172" v="5874" actId="478"/>
          <ac:spMkLst>
            <pc:docMk/>
            <pc:sldMk cId="459806595" sldId="580"/>
            <ac:spMk id="450" creationId="{7B33AE56-3DE2-AA7B-FCEF-CE40FC681023}"/>
          </ac:spMkLst>
        </pc:spChg>
        <pc:spChg chg="add del">
          <ac:chgData name="Bullinger, Marvin" userId="5b54ce5a-dc89-476f-af33-5abd75d5b1e8" providerId="ADAL" clId="{43B71669-8A80-4333-9349-B258A9296B49}" dt="2024-02-27T16:53:49.050" v="3382"/>
          <ac:spMkLst>
            <pc:docMk/>
            <pc:sldMk cId="459806595" sldId="580"/>
            <ac:spMk id="450" creationId="{BB41BBC6-151C-E548-5840-3C3871BE4503}"/>
          </ac:spMkLst>
        </pc:spChg>
        <pc:spChg chg="add del">
          <ac:chgData name="Bullinger, Marvin" userId="5b54ce5a-dc89-476f-af33-5abd75d5b1e8" providerId="ADAL" clId="{43B71669-8A80-4333-9349-B258A9296B49}" dt="2024-02-27T16:53:49.050" v="3382"/>
          <ac:spMkLst>
            <pc:docMk/>
            <pc:sldMk cId="459806595" sldId="580"/>
            <ac:spMk id="451" creationId="{229E0B1F-F20D-D3AF-96AA-5CFB141354E8}"/>
          </ac:spMkLst>
        </pc:spChg>
        <pc:spChg chg="del">
          <ac:chgData name="Bullinger, Marvin" userId="5b54ce5a-dc89-476f-af33-5abd75d5b1e8" providerId="ADAL" clId="{43B71669-8A80-4333-9349-B258A9296B49}" dt="2024-02-27T17:26:23.236" v="4581" actId="478"/>
          <ac:spMkLst>
            <pc:docMk/>
            <pc:sldMk cId="459806595" sldId="580"/>
            <ac:spMk id="451" creationId="{87A1C749-5B71-D47D-517A-E4AC00415758}"/>
          </ac:spMkLst>
        </pc:spChg>
        <pc:spChg chg="del">
          <ac:chgData name="Bullinger, Marvin" userId="5b54ce5a-dc89-476f-af33-5abd75d5b1e8" providerId="ADAL" clId="{43B71669-8A80-4333-9349-B258A9296B49}" dt="2024-02-27T17:26:23.236" v="4580" actId="478"/>
          <ac:spMkLst>
            <pc:docMk/>
            <pc:sldMk cId="459806595" sldId="580"/>
            <ac:spMk id="452" creationId="{36338735-82DA-9BBF-6DB8-13E75EA3186C}"/>
          </ac:spMkLst>
        </pc:spChg>
        <pc:spChg chg="add del">
          <ac:chgData name="Bullinger, Marvin" userId="5b54ce5a-dc89-476f-af33-5abd75d5b1e8" providerId="ADAL" clId="{43B71669-8A80-4333-9349-B258A9296B49}" dt="2024-02-27T16:53:49.050" v="3382"/>
          <ac:spMkLst>
            <pc:docMk/>
            <pc:sldMk cId="459806595" sldId="580"/>
            <ac:spMk id="452" creationId="{897600F5-891B-289F-5071-069CFB6204A9}"/>
          </ac:spMkLst>
        </pc:spChg>
        <pc:spChg chg="replST delST">
          <ac:chgData name="Bullinger, Marvin" userId="5b54ce5a-dc89-476f-af33-5abd75d5b1e8" providerId="ADAL" clId="{43B71669-8A80-4333-9349-B258A9296B49}" dt="2024-02-27T16:53:48.864" v="2856"/>
          <ac:spMkLst>
            <pc:docMk/>
            <pc:sldMk cId="459806595" sldId="580"/>
            <ac:spMk id="453" creationId="{75F52470-B3EF-08D6-424E-D555260D0A83}"/>
          </ac:spMkLst>
        </pc:spChg>
        <pc:spChg chg="del">
          <ac:chgData name="Bullinger, Marvin" userId="5b54ce5a-dc89-476f-af33-5abd75d5b1e8" providerId="ADAL" clId="{43B71669-8A80-4333-9349-B258A9296B49}" dt="2024-02-27T17:26:23.236" v="4579" actId="478"/>
          <ac:spMkLst>
            <pc:docMk/>
            <pc:sldMk cId="459806595" sldId="580"/>
            <ac:spMk id="453" creationId="{792097D2-64F6-C094-9238-DB3E3641E966}"/>
          </ac:spMkLst>
        </pc:spChg>
        <pc:spChg chg="del">
          <ac:chgData name="Bullinger, Marvin" userId="5b54ce5a-dc89-476f-af33-5abd75d5b1e8" providerId="ADAL" clId="{43B71669-8A80-4333-9349-B258A9296B49}" dt="2024-02-27T17:26:23.236" v="4578" actId="478"/>
          <ac:spMkLst>
            <pc:docMk/>
            <pc:sldMk cId="459806595" sldId="580"/>
            <ac:spMk id="454" creationId="{248545FD-1BB4-40F2-2BF0-A6FEFCF0DE05}"/>
          </ac:spMkLst>
        </pc:spChg>
        <pc:spChg chg="replST delST">
          <ac:chgData name="Bullinger, Marvin" userId="5b54ce5a-dc89-476f-af33-5abd75d5b1e8" providerId="ADAL" clId="{43B71669-8A80-4333-9349-B258A9296B49}" dt="2024-02-27T16:53:48.864" v="2853"/>
          <ac:spMkLst>
            <pc:docMk/>
            <pc:sldMk cId="459806595" sldId="580"/>
            <ac:spMk id="454" creationId="{D1E744AB-4236-39EB-89DF-80D41360F548}"/>
          </ac:spMkLst>
        </pc:spChg>
        <pc:spChg chg="del">
          <ac:chgData name="Bullinger, Marvin" userId="5b54ce5a-dc89-476f-af33-5abd75d5b1e8" providerId="ADAL" clId="{43B71669-8A80-4333-9349-B258A9296B49}" dt="2024-02-27T17:26:23.228" v="4577" actId="478"/>
          <ac:spMkLst>
            <pc:docMk/>
            <pc:sldMk cId="459806595" sldId="580"/>
            <ac:spMk id="455" creationId="{F03BA042-12FB-1B46-7B7E-2958A2A8FFF5}"/>
          </ac:spMkLst>
        </pc:spChg>
        <pc:spChg chg="replST delST">
          <ac:chgData name="Bullinger, Marvin" userId="5b54ce5a-dc89-476f-af33-5abd75d5b1e8" providerId="ADAL" clId="{43B71669-8A80-4333-9349-B258A9296B49}" dt="2024-02-27T16:53:48.864" v="2849"/>
          <ac:spMkLst>
            <pc:docMk/>
            <pc:sldMk cId="459806595" sldId="580"/>
            <ac:spMk id="456" creationId="{4B00E50A-6D89-5B89-260B-A16A4FF08B3C}"/>
          </ac:spMkLst>
        </pc:spChg>
        <pc:spChg chg="del">
          <ac:chgData name="Bullinger, Marvin" userId="5b54ce5a-dc89-476f-af33-5abd75d5b1e8" providerId="ADAL" clId="{43B71669-8A80-4333-9349-B258A9296B49}" dt="2024-02-27T17:26:23.228" v="4576" actId="478"/>
          <ac:spMkLst>
            <pc:docMk/>
            <pc:sldMk cId="459806595" sldId="580"/>
            <ac:spMk id="456" creationId="{BB36AB31-A525-EFA4-E80B-54FDC5ACBBA3}"/>
          </ac:spMkLst>
        </pc:spChg>
        <pc:spChg chg="replST delST">
          <ac:chgData name="Bullinger, Marvin" userId="5b54ce5a-dc89-476f-af33-5abd75d5b1e8" providerId="ADAL" clId="{43B71669-8A80-4333-9349-B258A9296B49}" dt="2024-02-27T16:53:48.864" v="2846"/>
          <ac:spMkLst>
            <pc:docMk/>
            <pc:sldMk cId="459806595" sldId="580"/>
            <ac:spMk id="457" creationId="{0CE0AB13-1BDF-C8CD-EBEA-0E96F4401D19}"/>
          </ac:spMkLst>
        </pc:spChg>
        <pc:spChg chg="del">
          <ac:chgData name="Bullinger, Marvin" userId="5b54ce5a-dc89-476f-af33-5abd75d5b1e8" providerId="ADAL" clId="{43B71669-8A80-4333-9349-B258A9296B49}" dt="2024-02-27T17:26:23.228" v="4573" actId="478"/>
          <ac:spMkLst>
            <pc:docMk/>
            <pc:sldMk cId="459806595" sldId="580"/>
            <ac:spMk id="457" creationId="{9A306FF4-75EA-1978-F981-3B97F630E0AB}"/>
          </ac:spMkLst>
        </pc:spChg>
        <pc:spChg chg="del">
          <ac:chgData name="Bullinger, Marvin" userId="5b54ce5a-dc89-476f-af33-5abd75d5b1e8" providerId="ADAL" clId="{43B71669-8A80-4333-9349-B258A9296B49}" dt="2024-02-27T17:26:23.228" v="4572" actId="478"/>
          <ac:spMkLst>
            <pc:docMk/>
            <pc:sldMk cId="459806595" sldId="580"/>
            <ac:spMk id="458" creationId="{065DFDDA-9A5C-AFD7-38AE-4DE3B17F25FE}"/>
          </ac:spMkLst>
        </pc:spChg>
        <pc:spChg chg="replST delST">
          <ac:chgData name="Bullinger, Marvin" userId="5b54ce5a-dc89-476f-af33-5abd75d5b1e8" providerId="ADAL" clId="{43B71669-8A80-4333-9349-B258A9296B49}" dt="2024-02-27T16:53:48.864" v="2842"/>
          <ac:spMkLst>
            <pc:docMk/>
            <pc:sldMk cId="459806595" sldId="580"/>
            <ac:spMk id="459" creationId="{B06092B2-1F6D-AD60-F6AB-3E3BC13ADE0A}"/>
          </ac:spMkLst>
        </pc:spChg>
        <pc:spChg chg="del">
          <ac:chgData name="Bullinger, Marvin" userId="5b54ce5a-dc89-476f-af33-5abd75d5b1e8" providerId="ADAL" clId="{43B71669-8A80-4333-9349-B258A9296B49}" dt="2024-02-27T17:26:23.228" v="4571" actId="478"/>
          <ac:spMkLst>
            <pc:docMk/>
            <pc:sldMk cId="459806595" sldId="580"/>
            <ac:spMk id="459" creationId="{FC550229-3258-8985-B38C-5DC89D6AA4CC}"/>
          </ac:spMkLst>
        </pc:spChg>
        <pc:spChg chg="del">
          <ac:chgData name="Bullinger, Marvin" userId="5b54ce5a-dc89-476f-af33-5abd75d5b1e8" providerId="ADAL" clId="{43B71669-8A80-4333-9349-B258A9296B49}" dt="2024-02-27T17:26:23.228" v="4570" actId="478"/>
          <ac:spMkLst>
            <pc:docMk/>
            <pc:sldMk cId="459806595" sldId="580"/>
            <ac:spMk id="460" creationId="{B877E76F-C59C-9DF9-9B6A-BFDA30B782AC}"/>
          </ac:spMkLst>
        </pc:spChg>
        <pc:spChg chg="replST delST">
          <ac:chgData name="Bullinger, Marvin" userId="5b54ce5a-dc89-476f-af33-5abd75d5b1e8" providerId="ADAL" clId="{43B71669-8A80-4333-9349-B258A9296B49}" dt="2024-02-27T16:53:48.864" v="2839"/>
          <ac:spMkLst>
            <pc:docMk/>
            <pc:sldMk cId="459806595" sldId="580"/>
            <ac:spMk id="460" creationId="{E533BE34-2694-1106-3664-1FD748D268AC}"/>
          </ac:spMkLst>
        </pc:spChg>
        <pc:spChg chg="mod ord replST delST">
          <ac:chgData name="Bullinger, Marvin" userId="5b54ce5a-dc89-476f-af33-5abd75d5b1e8" providerId="ADAL" clId="{43B71669-8A80-4333-9349-B258A9296B49}" dt="2024-02-27T16:53:49.050" v="3382"/>
          <ac:spMkLst>
            <pc:docMk/>
            <pc:sldMk cId="459806595" sldId="580"/>
            <ac:spMk id="461" creationId="{162CE7C3-62EF-C9B5-3507-D13A9467A08D}"/>
          </ac:spMkLst>
        </pc:spChg>
        <pc:spChg chg="del">
          <ac:chgData name="Bullinger, Marvin" userId="5b54ce5a-dc89-476f-af33-5abd75d5b1e8" providerId="ADAL" clId="{43B71669-8A80-4333-9349-B258A9296B49}" dt="2024-02-27T17:26:23.228" v="4569" actId="478"/>
          <ac:spMkLst>
            <pc:docMk/>
            <pc:sldMk cId="459806595" sldId="580"/>
            <ac:spMk id="461" creationId="{C3EDA495-E0F3-5E15-4E91-7980D0BA1E5E}"/>
          </ac:spMkLst>
        </pc:spChg>
        <pc:spChg chg="replST delST">
          <ac:chgData name="Bullinger, Marvin" userId="5b54ce5a-dc89-476f-af33-5abd75d5b1e8" providerId="ADAL" clId="{43B71669-8A80-4333-9349-B258A9296B49}" dt="2024-02-27T16:53:48.848" v="2835"/>
          <ac:spMkLst>
            <pc:docMk/>
            <pc:sldMk cId="459806595" sldId="580"/>
            <ac:spMk id="462" creationId="{C9B29071-F194-C063-3E09-4C791AB0B82F}"/>
          </ac:spMkLst>
        </pc:spChg>
        <pc:spChg chg="del">
          <ac:chgData name="Bullinger, Marvin" userId="5b54ce5a-dc89-476f-af33-5abd75d5b1e8" providerId="ADAL" clId="{43B71669-8A80-4333-9349-B258A9296B49}" dt="2024-02-27T17:26:23.228" v="4568" actId="478"/>
          <ac:spMkLst>
            <pc:docMk/>
            <pc:sldMk cId="459806595" sldId="580"/>
            <ac:spMk id="462" creationId="{D9D99BEC-4BAB-98B5-1237-5C2A8CF8AFB3}"/>
          </ac:spMkLst>
        </pc:spChg>
        <pc:spChg chg="del">
          <ac:chgData name="Bullinger, Marvin" userId="5b54ce5a-dc89-476f-af33-5abd75d5b1e8" providerId="ADAL" clId="{43B71669-8A80-4333-9349-B258A9296B49}" dt="2024-02-27T17:26:23.236" v="4589" actId="478"/>
          <ac:spMkLst>
            <pc:docMk/>
            <pc:sldMk cId="459806595" sldId="580"/>
            <ac:spMk id="463" creationId="{5A53D4DB-022B-7D7E-E864-A86FB00F626D}"/>
          </ac:spMkLst>
        </pc:spChg>
        <pc:spChg chg="replST delST">
          <ac:chgData name="Bullinger, Marvin" userId="5b54ce5a-dc89-476f-af33-5abd75d5b1e8" providerId="ADAL" clId="{43B71669-8A80-4333-9349-B258A9296B49}" dt="2024-02-27T16:53:48.848" v="2832"/>
          <ac:spMkLst>
            <pc:docMk/>
            <pc:sldMk cId="459806595" sldId="580"/>
            <ac:spMk id="463" creationId="{BB3583E6-793B-A61B-4D3C-4EB4BCA2470E}"/>
          </ac:spMkLst>
        </pc:spChg>
        <pc:spChg chg="del">
          <ac:chgData name="Bullinger, Marvin" userId="5b54ce5a-dc89-476f-af33-5abd75d5b1e8" providerId="ADAL" clId="{43B71669-8A80-4333-9349-B258A9296B49}" dt="2024-02-27T17:26:23.236" v="4588" actId="478"/>
          <ac:spMkLst>
            <pc:docMk/>
            <pc:sldMk cId="459806595" sldId="580"/>
            <ac:spMk id="464" creationId="{BBB1C1A5-504F-26C6-E3B2-0F34CAB5D834}"/>
          </ac:spMkLst>
        </pc:spChg>
        <pc:spChg chg="del">
          <ac:chgData name="Bullinger, Marvin" userId="5b54ce5a-dc89-476f-af33-5abd75d5b1e8" providerId="ADAL" clId="{43B71669-8A80-4333-9349-B258A9296B49}" dt="2024-02-27T17:26:23.236" v="4587" actId="478"/>
          <ac:spMkLst>
            <pc:docMk/>
            <pc:sldMk cId="459806595" sldId="580"/>
            <ac:spMk id="465" creationId="{6C3D5232-0012-1880-92BA-2002D921B95D}"/>
          </ac:spMkLst>
        </pc:spChg>
        <pc:spChg chg="replST delST">
          <ac:chgData name="Bullinger, Marvin" userId="5b54ce5a-dc89-476f-af33-5abd75d5b1e8" providerId="ADAL" clId="{43B71669-8A80-4333-9349-B258A9296B49}" dt="2024-02-27T16:53:48.848" v="2828"/>
          <ac:spMkLst>
            <pc:docMk/>
            <pc:sldMk cId="459806595" sldId="580"/>
            <ac:spMk id="465" creationId="{C2E73C15-0BC3-6D99-592D-14650D93F757}"/>
          </ac:spMkLst>
        </pc:spChg>
        <pc:spChg chg="del">
          <ac:chgData name="Bullinger, Marvin" userId="5b54ce5a-dc89-476f-af33-5abd75d5b1e8" providerId="ADAL" clId="{43B71669-8A80-4333-9349-B258A9296B49}" dt="2024-02-27T17:26:23.236" v="4586" actId="478"/>
          <ac:spMkLst>
            <pc:docMk/>
            <pc:sldMk cId="459806595" sldId="580"/>
            <ac:spMk id="466" creationId="{3573F0B7-581F-9300-B239-34FC5964DF27}"/>
          </ac:spMkLst>
        </pc:spChg>
        <pc:spChg chg="replST delST">
          <ac:chgData name="Bullinger, Marvin" userId="5b54ce5a-dc89-476f-af33-5abd75d5b1e8" providerId="ADAL" clId="{43B71669-8A80-4333-9349-B258A9296B49}" dt="2024-02-27T16:53:48.848" v="2825"/>
          <ac:spMkLst>
            <pc:docMk/>
            <pc:sldMk cId="459806595" sldId="580"/>
            <ac:spMk id="466" creationId="{C1CDDD7E-FA9B-8AEB-9F78-1C99C9F07BD4}"/>
          </ac:spMkLst>
        </pc:spChg>
        <pc:spChg chg="del">
          <ac:chgData name="Bullinger, Marvin" userId="5b54ce5a-dc89-476f-af33-5abd75d5b1e8" providerId="ADAL" clId="{43B71669-8A80-4333-9349-B258A9296B49}" dt="2024-02-27T17:26:23.236" v="4585" actId="478"/>
          <ac:spMkLst>
            <pc:docMk/>
            <pc:sldMk cId="459806595" sldId="580"/>
            <ac:spMk id="467" creationId="{D9221EC9-60BC-481F-4A20-285E5CA417E8}"/>
          </ac:spMkLst>
        </pc:spChg>
        <pc:spChg chg="replST delST">
          <ac:chgData name="Bullinger, Marvin" userId="5b54ce5a-dc89-476f-af33-5abd75d5b1e8" providerId="ADAL" clId="{43B71669-8A80-4333-9349-B258A9296B49}" dt="2024-02-27T16:53:48.848" v="2821"/>
          <ac:spMkLst>
            <pc:docMk/>
            <pc:sldMk cId="459806595" sldId="580"/>
            <ac:spMk id="468" creationId="{84C14628-E8BB-1C3B-8219-C6F72A341E68}"/>
          </ac:spMkLst>
        </pc:spChg>
        <pc:spChg chg="del">
          <ac:chgData name="Bullinger, Marvin" userId="5b54ce5a-dc89-476f-af33-5abd75d5b1e8" providerId="ADAL" clId="{43B71669-8A80-4333-9349-B258A9296B49}" dt="2024-02-27T17:26:23.236" v="4584" actId="478"/>
          <ac:spMkLst>
            <pc:docMk/>
            <pc:sldMk cId="459806595" sldId="580"/>
            <ac:spMk id="468" creationId="{BB1FAC85-D420-F931-49E4-4E7589C96123}"/>
          </ac:spMkLst>
        </pc:spChg>
        <pc:spChg chg="del">
          <ac:chgData name="Bullinger, Marvin" userId="5b54ce5a-dc89-476f-af33-5abd75d5b1e8" providerId="ADAL" clId="{43B71669-8A80-4333-9349-B258A9296B49}" dt="2024-02-27T17:26:23.236" v="4583" actId="478"/>
          <ac:spMkLst>
            <pc:docMk/>
            <pc:sldMk cId="459806595" sldId="580"/>
            <ac:spMk id="469" creationId="{7E3DE5CB-9084-99E7-9F70-561320E08CCA}"/>
          </ac:spMkLst>
        </pc:spChg>
        <pc:spChg chg="replST delST">
          <ac:chgData name="Bullinger, Marvin" userId="5b54ce5a-dc89-476f-af33-5abd75d5b1e8" providerId="ADAL" clId="{43B71669-8A80-4333-9349-B258A9296B49}" dt="2024-02-27T16:53:48.848" v="2818"/>
          <ac:spMkLst>
            <pc:docMk/>
            <pc:sldMk cId="459806595" sldId="580"/>
            <ac:spMk id="469" creationId="{D986EF0E-B83D-BF97-95B1-1B80275FC8B6}"/>
          </ac:spMkLst>
        </pc:spChg>
        <pc:spChg chg="del">
          <ac:chgData name="Bullinger, Marvin" userId="5b54ce5a-dc89-476f-af33-5abd75d5b1e8" providerId="ADAL" clId="{43B71669-8A80-4333-9349-B258A9296B49}" dt="2024-02-27T17:26:23.236" v="4582" actId="478"/>
          <ac:spMkLst>
            <pc:docMk/>
            <pc:sldMk cId="459806595" sldId="580"/>
            <ac:spMk id="470" creationId="{E0A34D01-A61F-EF08-970A-4C28006AE573}"/>
          </ac:spMkLst>
        </pc:spChg>
        <pc:spChg chg="del">
          <ac:chgData name="Bullinger, Marvin" userId="5b54ce5a-dc89-476f-af33-5abd75d5b1e8" providerId="ADAL" clId="{43B71669-8A80-4333-9349-B258A9296B49}" dt="2024-02-27T17:26:23.228" v="4574" actId="478"/>
          <ac:spMkLst>
            <pc:docMk/>
            <pc:sldMk cId="459806595" sldId="580"/>
            <ac:spMk id="471" creationId="{7EAC09D0-BF45-9C47-B79B-7B97C3FA32C8}"/>
          </ac:spMkLst>
        </pc:spChg>
        <pc:spChg chg="del">
          <ac:chgData name="Bullinger, Marvin" userId="5b54ce5a-dc89-476f-af33-5abd75d5b1e8" providerId="ADAL" clId="{43B71669-8A80-4333-9349-B258A9296B49}" dt="2024-02-27T17:26:23.228" v="4567" actId="478"/>
          <ac:spMkLst>
            <pc:docMk/>
            <pc:sldMk cId="459806595" sldId="580"/>
            <ac:spMk id="472" creationId="{934F5810-C50A-C14C-C032-F58D29EEDB55}"/>
          </ac:spMkLst>
        </pc:spChg>
        <pc:spChg chg="del">
          <ac:chgData name="Bullinger, Marvin" userId="5b54ce5a-dc89-476f-af33-5abd75d5b1e8" providerId="ADAL" clId="{43B71669-8A80-4333-9349-B258A9296B49}" dt="2024-02-27T17:26:23.228" v="4575" actId="478"/>
          <ac:spMkLst>
            <pc:docMk/>
            <pc:sldMk cId="459806595" sldId="580"/>
            <ac:spMk id="473" creationId="{BAA7D1BA-2A54-0658-0CD6-6E413F88C1C3}"/>
          </ac:spMkLst>
        </pc:spChg>
        <pc:spChg chg="del">
          <ac:chgData name="Bullinger, Marvin" userId="5b54ce5a-dc89-476f-af33-5abd75d5b1e8" providerId="ADAL" clId="{43B71669-8A80-4333-9349-B258A9296B49}" dt="2024-02-27T17:26:23.228" v="4566" actId="478"/>
          <ac:spMkLst>
            <pc:docMk/>
            <pc:sldMk cId="459806595" sldId="580"/>
            <ac:spMk id="474" creationId="{27DB2EDF-019C-EDD0-A450-493B5C2117EB}"/>
          </ac:spMkLst>
        </pc:spChg>
        <pc:spChg chg="del">
          <ac:chgData name="Bullinger, Marvin" userId="5b54ce5a-dc89-476f-af33-5abd75d5b1e8" providerId="ADAL" clId="{43B71669-8A80-4333-9349-B258A9296B49}" dt="2024-02-27T17:26:23.228" v="4565" actId="478"/>
          <ac:spMkLst>
            <pc:docMk/>
            <pc:sldMk cId="459806595" sldId="580"/>
            <ac:spMk id="475" creationId="{92801B47-0AEC-429B-79C8-0BA2CE575821}"/>
          </ac:spMkLst>
        </pc:spChg>
        <pc:spChg chg="del">
          <ac:chgData name="Bullinger, Marvin" userId="5b54ce5a-dc89-476f-af33-5abd75d5b1e8" providerId="ADAL" clId="{43B71669-8A80-4333-9349-B258A9296B49}" dt="2024-02-27T17:26:23.228" v="4564" actId="478"/>
          <ac:spMkLst>
            <pc:docMk/>
            <pc:sldMk cId="459806595" sldId="580"/>
            <ac:spMk id="476" creationId="{BE12839D-66E6-E357-1BB2-D4DF0D593B34}"/>
          </ac:spMkLst>
        </pc:spChg>
        <pc:spChg chg="del">
          <ac:chgData name="Bullinger, Marvin" userId="5b54ce5a-dc89-476f-af33-5abd75d5b1e8" providerId="ADAL" clId="{43B71669-8A80-4333-9349-B258A9296B49}" dt="2024-02-27T17:26:23.212" v="4563" actId="478"/>
          <ac:spMkLst>
            <pc:docMk/>
            <pc:sldMk cId="459806595" sldId="580"/>
            <ac:spMk id="477" creationId="{4DFFA9B1-DE82-215E-F66B-72043C7822EF}"/>
          </ac:spMkLst>
        </pc:spChg>
        <pc:spChg chg="del">
          <ac:chgData name="Bullinger, Marvin" userId="5b54ce5a-dc89-476f-af33-5abd75d5b1e8" providerId="ADAL" clId="{43B71669-8A80-4333-9349-B258A9296B49}" dt="2024-02-27T17:26:23.212" v="4562" actId="478"/>
          <ac:spMkLst>
            <pc:docMk/>
            <pc:sldMk cId="459806595" sldId="580"/>
            <ac:spMk id="478" creationId="{36C1A453-A07C-9D6C-876D-AECFA9497152}"/>
          </ac:spMkLst>
        </pc:spChg>
        <pc:spChg chg="del">
          <ac:chgData name="Bullinger, Marvin" userId="5b54ce5a-dc89-476f-af33-5abd75d5b1e8" providerId="ADAL" clId="{43B71669-8A80-4333-9349-B258A9296B49}" dt="2024-02-27T17:26:23.212" v="4561" actId="478"/>
          <ac:spMkLst>
            <pc:docMk/>
            <pc:sldMk cId="459806595" sldId="580"/>
            <ac:spMk id="479" creationId="{10ADD461-4F1A-31FC-1E75-0FC9C8C0F9E3}"/>
          </ac:spMkLst>
        </pc:spChg>
        <pc:spChg chg="del">
          <ac:chgData name="Bullinger, Marvin" userId="5b54ce5a-dc89-476f-af33-5abd75d5b1e8" providerId="ADAL" clId="{43B71669-8A80-4333-9349-B258A9296B49}" dt="2024-02-27T17:26:23.212" v="4560" actId="478"/>
          <ac:spMkLst>
            <pc:docMk/>
            <pc:sldMk cId="459806595" sldId="580"/>
            <ac:spMk id="480" creationId="{B5106577-D532-3E36-6396-BCF8010CA385}"/>
          </ac:spMkLst>
        </pc:spChg>
        <pc:spChg chg="del">
          <ac:chgData name="Bullinger, Marvin" userId="5b54ce5a-dc89-476f-af33-5abd75d5b1e8" providerId="ADAL" clId="{43B71669-8A80-4333-9349-B258A9296B49}" dt="2024-02-27T17:26:23.212" v="4559" actId="478"/>
          <ac:spMkLst>
            <pc:docMk/>
            <pc:sldMk cId="459806595" sldId="580"/>
            <ac:spMk id="481" creationId="{5DA03C89-24D5-DCED-5E13-88516569CE14}"/>
          </ac:spMkLst>
        </pc:spChg>
        <pc:spChg chg="del">
          <ac:chgData name="Bullinger, Marvin" userId="5b54ce5a-dc89-476f-af33-5abd75d5b1e8" providerId="ADAL" clId="{43B71669-8A80-4333-9349-B258A9296B49}" dt="2024-02-27T17:26:23.212" v="4558" actId="478"/>
          <ac:spMkLst>
            <pc:docMk/>
            <pc:sldMk cId="459806595" sldId="580"/>
            <ac:spMk id="482" creationId="{2B693C59-DD89-C2EC-A918-97CBD2889654}"/>
          </ac:spMkLst>
        </pc:spChg>
        <pc:spChg chg="del">
          <ac:chgData name="Bullinger, Marvin" userId="5b54ce5a-dc89-476f-af33-5abd75d5b1e8" providerId="ADAL" clId="{43B71669-8A80-4333-9349-B258A9296B49}" dt="2024-02-27T17:26:23.212" v="4557" actId="478"/>
          <ac:spMkLst>
            <pc:docMk/>
            <pc:sldMk cId="459806595" sldId="580"/>
            <ac:spMk id="483" creationId="{E97E61BC-84CD-EE73-64BF-8A51302A36E9}"/>
          </ac:spMkLst>
        </pc:spChg>
        <pc:spChg chg="del">
          <ac:chgData name="Bullinger, Marvin" userId="5b54ce5a-dc89-476f-af33-5abd75d5b1e8" providerId="ADAL" clId="{43B71669-8A80-4333-9349-B258A9296B49}" dt="2024-02-27T17:26:23.212" v="4556" actId="478"/>
          <ac:spMkLst>
            <pc:docMk/>
            <pc:sldMk cId="459806595" sldId="580"/>
            <ac:spMk id="484" creationId="{2A36A445-746E-38EA-2EC7-F6A64EB5D90D}"/>
          </ac:spMkLst>
        </pc:spChg>
        <pc:spChg chg="del">
          <ac:chgData name="Bullinger, Marvin" userId="5b54ce5a-dc89-476f-af33-5abd75d5b1e8" providerId="ADAL" clId="{43B71669-8A80-4333-9349-B258A9296B49}" dt="2024-02-27T17:26:23.212" v="4555" actId="478"/>
          <ac:spMkLst>
            <pc:docMk/>
            <pc:sldMk cId="459806595" sldId="580"/>
            <ac:spMk id="485" creationId="{C8DD71DC-4CA9-279E-F294-472C3A5C2F56}"/>
          </ac:spMkLst>
        </pc:spChg>
        <pc:spChg chg="del">
          <ac:chgData name="Bullinger, Marvin" userId="5b54ce5a-dc89-476f-af33-5abd75d5b1e8" providerId="ADAL" clId="{43B71669-8A80-4333-9349-B258A9296B49}" dt="2024-02-27T17:26:23.212" v="4554" actId="478"/>
          <ac:spMkLst>
            <pc:docMk/>
            <pc:sldMk cId="459806595" sldId="580"/>
            <ac:spMk id="486" creationId="{1ED47888-D57C-9349-77D7-B0312CAE716D}"/>
          </ac:spMkLst>
        </pc:spChg>
        <pc:spChg chg="del">
          <ac:chgData name="Bullinger, Marvin" userId="5b54ce5a-dc89-476f-af33-5abd75d5b1e8" providerId="ADAL" clId="{43B71669-8A80-4333-9349-B258A9296B49}" dt="2024-02-27T17:26:23.212" v="4553" actId="478"/>
          <ac:spMkLst>
            <pc:docMk/>
            <pc:sldMk cId="459806595" sldId="580"/>
            <ac:spMk id="487" creationId="{64A5F47D-0211-FE7D-043F-DE7234F63CE8}"/>
          </ac:spMkLst>
        </pc:spChg>
        <pc:spChg chg="replST">
          <ac:chgData name="Bullinger, Marvin" userId="5b54ce5a-dc89-476f-af33-5abd75d5b1e8" providerId="ADAL" clId="{43B71669-8A80-4333-9349-B258A9296B49}" dt="2024-02-27T17:26:24.125" v="5084"/>
          <ac:spMkLst>
            <pc:docMk/>
            <pc:sldMk cId="459806595" sldId="580"/>
            <ac:spMk id="488" creationId="{CE29A0DB-DCFE-3EC4-6801-A3CBB0C0E880}"/>
          </ac:spMkLst>
        </pc:spChg>
        <pc:spChg chg="replST">
          <ac:chgData name="Bullinger, Marvin" userId="5b54ce5a-dc89-476f-af33-5abd75d5b1e8" providerId="ADAL" clId="{43B71669-8A80-4333-9349-B258A9296B49}" dt="2024-02-27T17:26:24.141" v="5087"/>
          <ac:spMkLst>
            <pc:docMk/>
            <pc:sldMk cId="459806595" sldId="580"/>
            <ac:spMk id="489" creationId="{F1DAD107-BFC2-FC66-4FDD-0C8FD206E898}"/>
          </ac:spMkLst>
        </pc:spChg>
        <pc:spChg chg="replST">
          <ac:chgData name="Bullinger, Marvin" userId="5b54ce5a-dc89-476f-af33-5abd75d5b1e8" providerId="ADAL" clId="{43B71669-8A80-4333-9349-B258A9296B49}" dt="2024-02-27T17:26:24.149" v="5091"/>
          <ac:spMkLst>
            <pc:docMk/>
            <pc:sldMk cId="459806595" sldId="580"/>
            <ac:spMk id="491" creationId="{3487D9DC-C4B3-3B65-46F9-CE18E50A1538}"/>
          </ac:spMkLst>
        </pc:spChg>
        <pc:spChg chg="replST">
          <ac:chgData name="Bullinger, Marvin" userId="5b54ce5a-dc89-476f-af33-5abd75d5b1e8" providerId="ADAL" clId="{43B71669-8A80-4333-9349-B258A9296B49}" dt="2024-02-27T17:26:24.149" v="5094"/>
          <ac:spMkLst>
            <pc:docMk/>
            <pc:sldMk cId="459806595" sldId="580"/>
            <ac:spMk id="492" creationId="{E567159A-BA00-EA93-4F4E-7E65E2B8EB02}"/>
          </ac:spMkLst>
        </pc:spChg>
        <pc:spChg chg="replST">
          <ac:chgData name="Bullinger, Marvin" userId="5b54ce5a-dc89-476f-af33-5abd75d5b1e8" providerId="ADAL" clId="{43B71669-8A80-4333-9349-B258A9296B49}" dt="2024-02-27T17:26:24.165" v="5098"/>
          <ac:spMkLst>
            <pc:docMk/>
            <pc:sldMk cId="459806595" sldId="580"/>
            <ac:spMk id="494" creationId="{7BF951AC-4ED4-4CCB-F11A-995F0BFFB8DC}"/>
          </ac:spMkLst>
        </pc:spChg>
        <pc:spChg chg="replST">
          <ac:chgData name="Bullinger, Marvin" userId="5b54ce5a-dc89-476f-af33-5abd75d5b1e8" providerId="ADAL" clId="{43B71669-8A80-4333-9349-B258A9296B49}" dt="2024-02-27T17:26:24.165" v="5101"/>
          <ac:spMkLst>
            <pc:docMk/>
            <pc:sldMk cId="459806595" sldId="580"/>
            <ac:spMk id="495" creationId="{DA7A6D90-DB0B-0E9C-6554-600730F6A061}"/>
          </ac:spMkLst>
        </pc:spChg>
        <pc:spChg chg="del ord replST">
          <ac:chgData name="Bullinger, Marvin" userId="5b54ce5a-dc89-476f-af33-5abd75d5b1e8" providerId="ADAL" clId="{43B71669-8A80-4333-9349-B258A9296B49}" dt="2024-02-27T17:26:59.189" v="5877" actId="478"/>
          <ac:spMkLst>
            <pc:docMk/>
            <pc:sldMk cId="459806595" sldId="580"/>
            <ac:spMk id="496" creationId="{0F0721F9-A4A5-35B1-A079-EC3F7BDF3DB5}"/>
          </ac:spMkLst>
        </pc:spChg>
        <pc:spChg chg="replST">
          <ac:chgData name="Bullinger, Marvin" userId="5b54ce5a-dc89-476f-af33-5abd75d5b1e8" providerId="ADAL" clId="{43B71669-8A80-4333-9349-B258A9296B49}" dt="2024-02-27T17:26:24.165" v="5105"/>
          <ac:spMkLst>
            <pc:docMk/>
            <pc:sldMk cId="459806595" sldId="580"/>
            <ac:spMk id="497" creationId="{1DA00CE6-FE16-6A71-5A38-9C17AE029FB4}"/>
          </ac:spMkLst>
        </pc:spChg>
        <pc:spChg chg="replST">
          <ac:chgData name="Bullinger, Marvin" userId="5b54ce5a-dc89-476f-af33-5abd75d5b1e8" providerId="ADAL" clId="{43B71669-8A80-4333-9349-B258A9296B49}" dt="2024-02-27T17:26:24.181" v="5108"/>
          <ac:spMkLst>
            <pc:docMk/>
            <pc:sldMk cId="459806595" sldId="580"/>
            <ac:spMk id="498" creationId="{5BAB5B1B-8970-A456-388C-1CB83E48BAE4}"/>
          </ac:spMkLst>
        </pc:spChg>
        <pc:spChg chg="replST">
          <ac:chgData name="Bullinger, Marvin" userId="5b54ce5a-dc89-476f-af33-5abd75d5b1e8" providerId="ADAL" clId="{43B71669-8A80-4333-9349-B258A9296B49}" dt="2024-02-27T17:26:24.181" v="5112"/>
          <ac:spMkLst>
            <pc:docMk/>
            <pc:sldMk cId="459806595" sldId="580"/>
            <ac:spMk id="500" creationId="{8D71BF6A-4D65-DCA5-6AED-6E82B33565B6}"/>
          </ac:spMkLst>
        </pc:spChg>
        <pc:spChg chg="replST">
          <ac:chgData name="Bullinger, Marvin" userId="5b54ce5a-dc89-476f-af33-5abd75d5b1e8" providerId="ADAL" clId="{43B71669-8A80-4333-9349-B258A9296B49}" dt="2024-02-27T17:26:24.197" v="5115"/>
          <ac:spMkLst>
            <pc:docMk/>
            <pc:sldMk cId="459806595" sldId="580"/>
            <ac:spMk id="501" creationId="{64496890-3C2B-B940-1DFA-D270BEC8E6FF}"/>
          </ac:spMkLst>
        </pc:spChg>
        <pc:spChg chg="replST">
          <ac:chgData name="Bullinger, Marvin" userId="5b54ce5a-dc89-476f-af33-5abd75d5b1e8" providerId="ADAL" clId="{43B71669-8A80-4333-9349-B258A9296B49}" dt="2024-02-27T17:26:24.197" v="5119"/>
          <ac:spMkLst>
            <pc:docMk/>
            <pc:sldMk cId="459806595" sldId="580"/>
            <ac:spMk id="503" creationId="{38BA280B-E227-FEA7-F376-BF75D2AC5823}"/>
          </ac:spMkLst>
        </pc:spChg>
        <pc:spChg chg="replST">
          <ac:chgData name="Bullinger, Marvin" userId="5b54ce5a-dc89-476f-af33-5abd75d5b1e8" providerId="ADAL" clId="{43B71669-8A80-4333-9349-B258A9296B49}" dt="2024-02-27T17:26:24.205" v="5122"/>
          <ac:spMkLst>
            <pc:docMk/>
            <pc:sldMk cId="459806595" sldId="580"/>
            <ac:spMk id="504" creationId="{F942AA86-872D-A765-9A85-78317F7C29FA}"/>
          </ac:spMkLst>
        </pc:spChg>
        <pc:spChg chg="replST">
          <ac:chgData name="Bullinger, Marvin" userId="5b54ce5a-dc89-476f-af33-5abd75d5b1e8" providerId="ADAL" clId="{43B71669-8A80-4333-9349-B258A9296B49}" dt="2024-02-27T17:26:24.213" v="5126"/>
          <ac:spMkLst>
            <pc:docMk/>
            <pc:sldMk cId="459806595" sldId="580"/>
            <ac:spMk id="506" creationId="{D56F752C-BFF7-EED5-2050-BC995748F9A3}"/>
          </ac:spMkLst>
        </pc:spChg>
        <pc:spChg chg="replST">
          <ac:chgData name="Bullinger, Marvin" userId="5b54ce5a-dc89-476f-af33-5abd75d5b1e8" providerId="ADAL" clId="{43B71669-8A80-4333-9349-B258A9296B49}" dt="2024-02-27T17:26:24.213" v="5129"/>
          <ac:spMkLst>
            <pc:docMk/>
            <pc:sldMk cId="459806595" sldId="580"/>
            <ac:spMk id="507" creationId="{F0956E95-2F3F-BC52-CD0A-3C46ADA35288}"/>
          </ac:spMkLst>
        </pc:spChg>
        <pc:spChg chg="replST">
          <ac:chgData name="Bullinger, Marvin" userId="5b54ce5a-dc89-476f-af33-5abd75d5b1e8" providerId="ADAL" clId="{43B71669-8A80-4333-9349-B258A9296B49}" dt="2024-02-27T17:26:24.229" v="5133"/>
          <ac:spMkLst>
            <pc:docMk/>
            <pc:sldMk cId="459806595" sldId="580"/>
            <ac:spMk id="509" creationId="{86253219-F3F4-AF2E-2B38-8AA606496061}"/>
          </ac:spMkLst>
        </pc:spChg>
        <pc:spChg chg="replST">
          <ac:chgData name="Bullinger, Marvin" userId="5b54ce5a-dc89-476f-af33-5abd75d5b1e8" providerId="ADAL" clId="{43B71669-8A80-4333-9349-B258A9296B49}" dt="2024-02-27T17:26:24.229" v="5136"/>
          <ac:spMkLst>
            <pc:docMk/>
            <pc:sldMk cId="459806595" sldId="580"/>
            <ac:spMk id="510" creationId="{E7A7128E-33CC-1E3B-7A1D-87C592112B2D}"/>
          </ac:spMkLst>
        </pc:spChg>
        <pc:spChg chg="replST">
          <ac:chgData name="Bullinger, Marvin" userId="5b54ce5a-dc89-476f-af33-5abd75d5b1e8" providerId="ADAL" clId="{43B71669-8A80-4333-9349-B258A9296B49}" dt="2024-02-27T17:26:24.229" v="5140"/>
          <ac:spMkLst>
            <pc:docMk/>
            <pc:sldMk cId="459806595" sldId="580"/>
            <ac:spMk id="512" creationId="{BB972223-97CE-A86B-543F-16CAD5B33C89}"/>
          </ac:spMkLst>
        </pc:spChg>
        <pc:spChg chg="replST">
          <ac:chgData name="Bullinger, Marvin" userId="5b54ce5a-dc89-476f-af33-5abd75d5b1e8" providerId="ADAL" clId="{43B71669-8A80-4333-9349-B258A9296B49}" dt="2024-02-27T17:26:24.249" v="5143"/>
          <ac:spMkLst>
            <pc:docMk/>
            <pc:sldMk cId="459806595" sldId="580"/>
            <ac:spMk id="513" creationId="{588ABFE0-25BD-6B70-50AD-69D085C8058E}"/>
          </ac:spMkLst>
        </pc:spChg>
        <pc:spChg chg="add mod">
          <ac:chgData name="Bullinger, Marvin" userId="5b54ce5a-dc89-476f-af33-5abd75d5b1e8" providerId="ADAL" clId="{43B71669-8A80-4333-9349-B258A9296B49}" dt="2024-02-27T17:26:59.172" v="5874" actId="478"/>
          <ac:spMkLst>
            <pc:docMk/>
            <pc:sldMk cId="459806595" sldId="580"/>
            <ac:spMk id="554" creationId="{007E8327-19FA-C9C9-30F1-C67E5AD9C326}"/>
          </ac:spMkLst>
        </pc:spChg>
        <pc:spChg chg="del mod ord replST">
          <ac:chgData name="Bullinger, Marvin" userId="5b54ce5a-dc89-476f-af33-5abd75d5b1e8" providerId="ADAL" clId="{43B71669-8A80-4333-9349-B258A9296B49}" dt="2024-02-27T17:27:36.883" v="6979" actId="478"/>
          <ac:spMkLst>
            <pc:docMk/>
            <pc:sldMk cId="459806595" sldId="580"/>
            <ac:spMk id="555" creationId="{1FC237C2-CA66-9941-9930-9486754484EB}"/>
          </ac:spMkLst>
        </pc:spChg>
        <pc:spChg chg="del">
          <ac:chgData name="Bullinger, Marvin" userId="5b54ce5a-dc89-476f-af33-5abd75d5b1e8" providerId="ADAL" clId="{43B71669-8A80-4333-9349-B258A9296B49}" dt="2024-02-27T17:26:59.224" v="5913" actId="478"/>
          <ac:spMkLst>
            <pc:docMk/>
            <pc:sldMk cId="459806595" sldId="580"/>
            <ac:spMk id="556" creationId="{9B79C4D2-83F8-966E-0244-8F3AA13B15BD}"/>
          </ac:spMkLst>
        </pc:spChg>
        <pc:spChg chg="del">
          <ac:chgData name="Bullinger, Marvin" userId="5b54ce5a-dc89-476f-af33-5abd75d5b1e8" providerId="ADAL" clId="{43B71669-8A80-4333-9349-B258A9296B49}" dt="2024-02-27T17:26:59.224" v="5912" actId="478"/>
          <ac:spMkLst>
            <pc:docMk/>
            <pc:sldMk cId="459806595" sldId="580"/>
            <ac:spMk id="557" creationId="{633BA093-55EA-5688-A7FC-0B9CC20D96BF}"/>
          </ac:spMkLst>
        </pc:spChg>
        <pc:spChg chg="del">
          <ac:chgData name="Bullinger, Marvin" userId="5b54ce5a-dc89-476f-af33-5abd75d5b1e8" providerId="ADAL" clId="{43B71669-8A80-4333-9349-B258A9296B49}" dt="2024-02-27T17:26:59.224" v="5911" actId="478"/>
          <ac:spMkLst>
            <pc:docMk/>
            <pc:sldMk cId="459806595" sldId="580"/>
            <ac:spMk id="558" creationId="{37836DBB-39E2-F0A8-5315-35784219A51E}"/>
          </ac:spMkLst>
        </pc:spChg>
        <pc:spChg chg="del">
          <ac:chgData name="Bullinger, Marvin" userId="5b54ce5a-dc89-476f-af33-5abd75d5b1e8" providerId="ADAL" clId="{43B71669-8A80-4333-9349-B258A9296B49}" dt="2024-02-27T17:26:59.222" v="5910" actId="478"/>
          <ac:spMkLst>
            <pc:docMk/>
            <pc:sldMk cId="459806595" sldId="580"/>
            <ac:spMk id="559" creationId="{BCEDCDFA-AA7C-7572-B925-B8FE6DE480B6}"/>
          </ac:spMkLst>
        </pc:spChg>
        <pc:spChg chg="del">
          <ac:chgData name="Bullinger, Marvin" userId="5b54ce5a-dc89-476f-af33-5abd75d5b1e8" providerId="ADAL" clId="{43B71669-8A80-4333-9349-B258A9296B49}" dt="2024-02-27T17:26:59.222" v="5909" actId="478"/>
          <ac:spMkLst>
            <pc:docMk/>
            <pc:sldMk cId="459806595" sldId="580"/>
            <ac:spMk id="560" creationId="{16349541-6CA6-9BB9-D561-4C0DAC8E3861}"/>
          </ac:spMkLst>
        </pc:spChg>
        <pc:spChg chg="del">
          <ac:chgData name="Bullinger, Marvin" userId="5b54ce5a-dc89-476f-af33-5abd75d5b1e8" providerId="ADAL" clId="{43B71669-8A80-4333-9349-B258A9296B49}" dt="2024-02-27T17:26:59.222" v="5908" actId="478"/>
          <ac:spMkLst>
            <pc:docMk/>
            <pc:sldMk cId="459806595" sldId="580"/>
            <ac:spMk id="561" creationId="{A66F429F-2D96-1087-1FFE-45F5264404D8}"/>
          </ac:spMkLst>
        </pc:spChg>
        <pc:spChg chg="del">
          <ac:chgData name="Bullinger, Marvin" userId="5b54ce5a-dc89-476f-af33-5abd75d5b1e8" providerId="ADAL" clId="{43B71669-8A80-4333-9349-B258A9296B49}" dt="2024-02-27T17:26:59.213" v="5905" actId="478"/>
          <ac:spMkLst>
            <pc:docMk/>
            <pc:sldMk cId="459806595" sldId="580"/>
            <ac:spMk id="562" creationId="{B5B58036-6CF8-8547-6A10-1C8EAA819477}"/>
          </ac:spMkLst>
        </pc:spChg>
        <pc:spChg chg="del">
          <ac:chgData name="Bullinger, Marvin" userId="5b54ce5a-dc89-476f-af33-5abd75d5b1e8" providerId="ADAL" clId="{43B71669-8A80-4333-9349-B258A9296B49}" dt="2024-02-27T17:26:59.213" v="5904" actId="478"/>
          <ac:spMkLst>
            <pc:docMk/>
            <pc:sldMk cId="459806595" sldId="580"/>
            <ac:spMk id="563" creationId="{C0CF1C22-389D-9A7B-C24B-97525CC0EA14}"/>
          </ac:spMkLst>
        </pc:spChg>
        <pc:spChg chg="del">
          <ac:chgData name="Bullinger, Marvin" userId="5b54ce5a-dc89-476f-af33-5abd75d5b1e8" providerId="ADAL" clId="{43B71669-8A80-4333-9349-B258A9296B49}" dt="2024-02-27T17:26:59.213" v="5903" actId="478"/>
          <ac:spMkLst>
            <pc:docMk/>
            <pc:sldMk cId="459806595" sldId="580"/>
            <ac:spMk id="564" creationId="{84FC2937-84B1-B556-C55C-639D51075D88}"/>
          </ac:spMkLst>
        </pc:spChg>
        <pc:spChg chg="del">
          <ac:chgData name="Bullinger, Marvin" userId="5b54ce5a-dc89-476f-af33-5abd75d5b1e8" providerId="ADAL" clId="{43B71669-8A80-4333-9349-B258A9296B49}" dt="2024-02-27T17:26:59.213" v="5902" actId="478"/>
          <ac:spMkLst>
            <pc:docMk/>
            <pc:sldMk cId="459806595" sldId="580"/>
            <ac:spMk id="565" creationId="{E90AA93C-0B9E-6BE1-E40F-FC5680982CE8}"/>
          </ac:spMkLst>
        </pc:spChg>
        <pc:spChg chg="del">
          <ac:chgData name="Bullinger, Marvin" userId="5b54ce5a-dc89-476f-af33-5abd75d5b1e8" providerId="ADAL" clId="{43B71669-8A80-4333-9349-B258A9296B49}" dt="2024-02-27T17:26:59.213" v="5901" actId="478"/>
          <ac:spMkLst>
            <pc:docMk/>
            <pc:sldMk cId="459806595" sldId="580"/>
            <ac:spMk id="566" creationId="{7E846F5D-7AB6-CE61-EC55-511A17C03BB9}"/>
          </ac:spMkLst>
        </pc:spChg>
        <pc:spChg chg="del">
          <ac:chgData name="Bullinger, Marvin" userId="5b54ce5a-dc89-476f-af33-5abd75d5b1e8" providerId="ADAL" clId="{43B71669-8A80-4333-9349-B258A9296B49}" dt="2024-02-27T17:26:59.213" v="5900" actId="478"/>
          <ac:spMkLst>
            <pc:docMk/>
            <pc:sldMk cId="459806595" sldId="580"/>
            <ac:spMk id="567" creationId="{13B6482D-6196-EC0D-EA84-B6A081FCC325}"/>
          </ac:spMkLst>
        </pc:spChg>
        <pc:spChg chg="del">
          <ac:chgData name="Bullinger, Marvin" userId="5b54ce5a-dc89-476f-af33-5abd75d5b1e8" providerId="ADAL" clId="{43B71669-8A80-4333-9349-B258A9296B49}" dt="2024-02-27T17:26:59.224" v="5921" actId="478"/>
          <ac:spMkLst>
            <pc:docMk/>
            <pc:sldMk cId="459806595" sldId="580"/>
            <ac:spMk id="568" creationId="{7463DEA6-F82A-8D86-032D-EC06C1832158}"/>
          </ac:spMkLst>
        </pc:spChg>
        <pc:spChg chg="del">
          <ac:chgData name="Bullinger, Marvin" userId="5b54ce5a-dc89-476f-af33-5abd75d5b1e8" providerId="ADAL" clId="{43B71669-8A80-4333-9349-B258A9296B49}" dt="2024-02-27T17:26:59.224" v="5920" actId="478"/>
          <ac:spMkLst>
            <pc:docMk/>
            <pc:sldMk cId="459806595" sldId="580"/>
            <ac:spMk id="569" creationId="{49024563-FD07-26A1-1143-3499A6E53883}"/>
          </ac:spMkLst>
        </pc:spChg>
        <pc:spChg chg="del">
          <ac:chgData name="Bullinger, Marvin" userId="5b54ce5a-dc89-476f-af33-5abd75d5b1e8" providerId="ADAL" clId="{43B71669-8A80-4333-9349-B258A9296B49}" dt="2024-02-27T17:26:59.224" v="5919" actId="478"/>
          <ac:spMkLst>
            <pc:docMk/>
            <pc:sldMk cId="459806595" sldId="580"/>
            <ac:spMk id="570" creationId="{2CC0C18D-A63D-F483-DBA2-5915DDD7160B}"/>
          </ac:spMkLst>
        </pc:spChg>
        <pc:spChg chg="del">
          <ac:chgData name="Bullinger, Marvin" userId="5b54ce5a-dc89-476f-af33-5abd75d5b1e8" providerId="ADAL" clId="{43B71669-8A80-4333-9349-B258A9296B49}" dt="2024-02-27T17:26:59.224" v="5918" actId="478"/>
          <ac:spMkLst>
            <pc:docMk/>
            <pc:sldMk cId="459806595" sldId="580"/>
            <ac:spMk id="571" creationId="{6D6ECDB0-5DD7-DF87-B72E-F6F9005BBE0E}"/>
          </ac:spMkLst>
        </pc:spChg>
        <pc:spChg chg="del">
          <ac:chgData name="Bullinger, Marvin" userId="5b54ce5a-dc89-476f-af33-5abd75d5b1e8" providerId="ADAL" clId="{43B71669-8A80-4333-9349-B258A9296B49}" dt="2024-02-27T17:26:59.224" v="5917" actId="478"/>
          <ac:spMkLst>
            <pc:docMk/>
            <pc:sldMk cId="459806595" sldId="580"/>
            <ac:spMk id="572" creationId="{EC520697-D756-436C-CD5A-FEE0795DC2AD}"/>
          </ac:spMkLst>
        </pc:spChg>
        <pc:spChg chg="del">
          <ac:chgData name="Bullinger, Marvin" userId="5b54ce5a-dc89-476f-af33-5abd75d5b1e8" providerId="ADAL" clId="{43B71669-8A80-4333-9349-B258A9296B49}" dt="2024-02-27T17:26:59.224" v="5916" actId="478"/>
          <ac:spMkLst>
            <pc:docMk/>
            <pc:sldMk cId="459806595" sldId="580"/>
            <ac:spMk id="573" creationId="{6AE98DD5-4DE5-1C89-CBDF-6EB6CF8CAA46}"/>
          </ac:spMkLst>
        </pc:spChg>
        <pc:spChg chg="del">
          <ac:chgData name="Bullinger, Marvin" userId="5b54ce5a-dc89-476f-af33-5abd75d5b1e8" providerId="ADAL" clId="{43B71669-8A80-4333-9349-B258A9296B49}" dt="2024-02-27T17:26:59.224" v="5915" actId="478"/>
          <ac:spMkLst>
            <pc:docMk/>
            <pc:sldMk cId="459806595" sldId="580"/>
            <ac:spMk id="574" creationId="{5F4421DF-9FB9-6DB7-64D0-6A446CD65399}"/>
          </ac:spMkLst>
        </pc:spChg>
        <pc:spChg chg="del">
          <ac:chgData name="Bullinger, Marvin" userId="5b54ce5a-dc89-476f-af33-5abd75d5b1e8" providerId="ADAL" clId="{43B71669-8A80-4333-9349-B258A9296B49}" dt="2024-02-27T17:26:59.224" v="5914" actId="478"/>
          <ac:spMkLst>
            <pc:docMk/>
            <pc:sldMk cId="459806595" sldId="580"/>
            <ac:spMk id="575" creationId="{E0B63D72-A652-C7DE-F541-D8EE8BBFE1A2}"/>
          </ac:spMkLst>
        </pc:spChg>
        <pc:spChg chg="del">
          <ac:chgData name="Bullinger, Marvin" userId="5b54ce5a-dc89-476f-af33-5abd75d5b1e8" providerId="ADAL" clId="{43B71669-8A80-4333-9349-B258A9296B49}" dt="2024-02-27T17:26:59.213" v="5906" actId="478"/>
          <ac:spMkLst>
            <pc:docMk/>
            <pc:sldMk cId="459806595" sldId="580"/>
            <ac:spMk id="576" creationId="{9DD5BDBB-441D-59FC-C716-D9DB331F8AE1}"/>
          </ac:spMkLst>
        </pc:spChg>
        <pc:spChg chg="del">
          <ac:chgData name="Bullinger, Marvin" userId="5b54ce5a-dc89-476f-af33-5abd75d5b1e8" providerId="ADAL" clId="{43B71669-8A80-4333-9349-B258A9296B49}" dt="2024-02-27T17:26:59.213" v="5899" actId="478"/>
          <ac:spMkLst>
            <pc:docMk/>
            <pc:sldMk cId="459806595" sldId="580"/>
            <ac:spMk id="577" creationId="{5CC52022-7024-3602-5265-0F7638F4E52E}"/>
          </ac:spMkLst>
        </pc:spChg>
        <pc:spChg chg="del">
          <ac:chgData name="Bullinger, Marvin" userId="5b54ce5a-dc89-476f-af33-5abd75d5b1e8" providerId="ADAL" clId="{43B71669-8A80-4333-9349-B258A9296B49}" dt="2024-02-27T17:26:59.213" v="5907" actId="478"/>
          <ac:spMkLst>
            <pc:docMk/>
            <pc:sldMk cId="459806595" sldId="580"/>
            <ac:spMk id="578" creationId="{1E8BF31A-6C00-5EA7-1300-8C0B9DAC5E52}"/>
          </ac:spMkLst>
        </pc:spChg>
        <pc:spChg chg="del">
          <ac:chgData name="Bullinger, Marvin" userId="5b54ce5a-dc89-476f-af33-5abd75d5b1e8" providerId="ADAL" clId="{43B71669-8A80-4333-9349-B258A9296B49}" dt="2024-02-27T17:26:59.213" v="5898" actId="478"/>
          <ac:spMkLst>
            <pc:docMk/>
            <pc:sldMk cId="459806595" sldId="580"/>
            <ac:spMk id="579" creationId="{A9B76AD0-854D-DAFB-BC97-950B698D6567}"/>
          </ac:spMkLst>
        </pc:spChg>
        <pc:spChg chg="del">
          <ac:chgData name="Bullinger, Marvin" userId="5b54ce5a-dc89-476f-af33-5abd75d5b1e8" providerId="ADAL" clId="{43B71669-8A80-4333-9349-B258A9296B49}" dt="2024-02-27T17:26:59.213" v="5897" actId="478"/>
          <ac:spMkLst>
            <pc:docMk/>
            <pc:sldMk cId="459806595" sldId="580"/>
            <ac:spMk id="580" creationId="{72216529-5DE1-371E-D59C-5E95BDC7E4B7}"/>
          </ac:spMkLst>
        </pc:spChg>
        <pc:spChg chg="del">
          <ac:chgData name="Bullinger, Marvin" userId="5b54ce5a-dc89-476f-af33-5abd75d5b1e8" providerId="ADAL" clId="{43B71669-8A80-4333-9349-B258A9296B49}" dt="2024-02-27T17:26:59.213" v="5896" actId="478"/>
          <ac:spMkLst>
            <pc:docMk/>
            <pc:sldMk cId="459806595" sldId="580"/>
            <ac:spMk id="581" creationId="{61170D38-6468-6732-DBC7-B793AA3F813D}"/>
          </ac:spMkLst>
        </pc:spChg>
        <pc:spChg chg="del">
          <ac:chgData name="Bullinger, Marvin" userId="5b54ce5a-dc89-476f-af33-5abd75d5b1e8" providerId="ADAL" clId="{43B71669-8A80-4333-9349-B258A9296B49}" dt="2024-02-27T17:26:59.213" v="5895" actId="478"/>
          <ac:spMkLst>
            <pc:docMk/>
            <pc:sldMk cId="459806595" sldId="580"/>
            <ac:spMk id="582" creationId="{CFC3ECF6-C645-8EAE-D52E-39A0802C30AF}"/>
          </ac:spMkLst>
        </pc:spChg>
        <pc:spChg chg="del">
          <ac:chgData name="Bullinger, Marvin" userId="5b54ce5a-dc89-476f-af33-5abd75d5b1e8" providerId="ADAL" clId="{43B71669-8A80-4333-9349-B258A9296B49}" dt="2024-02-27T17:26:59.213" v="5894" actId="478"/>
          <ac:spMkLst>
            <pc:docMk/>
            <pc:sldMk cId="459806595" sldId="580"/>
            <ac:spMk id="583" creationId="{EFE36D63-B25B-3E17-F4BF-DC85577DA75C}"/>
          </ac:spMkLst>
        </pc:spChg>
        <pc:spChg chg="del">
          <ac:chgData name="Bullinger, Marvin" userId="5b54ce5a-dc89-476f-af33-5abd75d5b1e8" providerId="ADAL" clId="{43B71669-8A80-4333-9349-B258A9296B49}" dt="2024-02-27T17:26:59.213" v="5893" actId="478"/>
          <ac:spMkLst>
            <pc:docMk/>
            <pc:sldMk cId="459806595" sldId="580"/>
            <ac:spMk id="584" creationId="{E77A6478-2E90-A040-2E01-E3F01E3EEEA2}"/>
          </ac:spMkLst>
        </pc:spChg>
        <pc:spChg chg="del">
          <ac:chgData name="Bullinger, Marvin" userId="5b54ce5a-dc89-476f-af33-5abd75d5b1e8" providerId="ADAL" clId="{43B71669-8A80-4333-9349-B258A9296B49}" dt="2024-02-27T17:26:59.213" v="5892" actId="478"/>
          <ac:spMkLst>
            <pc:docMk/>
            <pc:sldMk cId="459806595" sldId="580"/>
            <ac:spMk id="585" creationId="{E957744A-A97C-9B6B-4E2F-C15D5DCF73CC}"/>
          </ac:spMkLst>
        </pc:spChg>
        <pc:spChg chg="del">
          <ac:chgData name="Bullinger, Marvin" userId="5b54ce5a-dc89-476f-af33-5abd75d5b1e8" providerId="ADAL" clId="{43B71669-8A80-4333-9349-B258A9296B49}" dt="2024-02-27T17:26:59.197" v="5891" actId="478"/>
          <ac:spMkLst>
            <pc:docMk/>
            <pc:sldMk cId="459806595" sldId="580"/>
            <ac:spMk id="586" creationId="{482FEDF6-DCFC-68E1-D387-F5F0CD304807}"/>
          </ac:spMkLst>
        </pc:spChg>
        <pc:spChg chg="del">
          <ac:chgData name="Bullinger, Marvin" userId="5b54ce5a-dc89-476f-af33-5abd75d5b1e8" providerId="ADAL" clId="{43B71669-8A80-4333-9349-B258A9296B49}" dt="2024-02-27T17:26:59.197" v="5890" actId="478"/>
          <ac:spMkLst>
            <pc:docMk/>
            <pc:sldMk cId="459806595" sldId="580"/>
            <ac:spMk id="587" creationId="{A3914C37-394E-73DC-67B0-FF0EE18A800E}"/>
          </ac:spMkLst>
        </pc:spChg>
        <pc:spChg chg="del">
          <ac:chgData name="Bullinger, Marvin" userId="5b54ce5a-dc89-476f-af33-5abd75d5b1e8" providerId="ADAL" clId="{43B71669-8A80-4333-9349-B258A9296B49}" dt="2024-02-27T17:26:59.197" v="5889" actId="478"/>
          <ac:spMkLst>
            <pc:docMk/>
            <pc:sldMk cId="459806595" sldId="580"/>
            <ac:spMk id="588" creationId="{9F17108A-80E5-80BD-2343-D5189D92C7F4}"/>
          </ac:spMkLst>
        </pc:spChg>
        <pc:spChg chg="del">
          <ac:chgData name="Bullinger, Marvin" userId="5b54ce5a-dc89-476f-af33-5abd75d5b1e8" providerId="ADAL" clId="{43B71669-8A80-4333-9349-B258A9296B49}" dt="2024-02-27T17:26:59.197" v="5888" actId="478"/>
          <ac:spMkLst>
            <pc:docMk/>
            <pc:sldMk cId="459806595" sldId="580"/>
            <ac:spMk id="589" creationId="{A919E5C1-C0A8-FA6E-CB8E-BA07682B8F6B}"/>
          </ac:spMkLst>
        </pc:spChg>
        <pc:spChg chg="del">
          <ac:chgData name="Bullinger, Marvin" userId="5b54ce5a-dc89-476f-af33-5abd75d5b1e8" providerId="ADAL" clId="{43B71669-8A80-4333-9349-B258A9296B49}" dt="2024-02-27T17:26:59.197" v="5887" actId="478"/>
          <ac:spMkLst>
            <pc:docMk/>
            <pc:sldMk cId="459806595" sldId="580"/>
            <ac:spMk id="590" creationId="{93C3A650-D878-4B4D-89E1-18240348E43F}"/>
          </ac:spMkLst>
        </pc:spChg>
        <pc:spChg chg="del">
          <ac:chgData name="Bullinger, Marvin" userId="5b54ce5a-dc89-476f-af33-5abd75d5b1e8" providerId="ADAL" clId="{43B71669-8A80-4333-9349-B258A9296B49}" dt="2024-02-27T17:26:59.197" v="5886" actId="478"/>
          <ac:spMkLst>
            <pc:docMk/>
            <pc:sldMk cId="459806595" sldId="580"/>
            <ac:spMk id="591" creationId="{8DD57CA3-B866-4298-B006-01CEC1E24BFF}"/>
          </ac:spMkLst>
        </pc:spChg>
        <pc:spChg chg="del">
          <ac:chgData name="Bullinger, Marvin" userId="5b54ce5a-dc89-476f-af33-5abd75d5b1e8" providerId="ADAL" clId="{43B71669-8A80-4333-9349-B258A9296B49}" dt="2024-02-27T17:26:59.197" v="5885" actId="478"/>
          <ac:spMkLst>
            <pc:docMk/>
            <pc:sldMk cId="459806595" sldId="580"/>
            <ac:spMk id="592" creationId="{8A70B0CA-1998-E790-AC25-83A7D1F8038F}"/>
          </ac:spMkLst>
        </pc:spChg>
        <pc:spChg chg="replST">
          <ac:chgData name="Bullinger, Marvin" userId="5b54ce5a-dc89-476f-af33-5abd75d5b1e8" providerId="ADAL" clId="{43B71669-8A80-4333-9349-B258A9296B49}" dt="2024-02-27T17:27:00.089" v="6372"/>
          <ac:spMkLst>
            <pc:docMk/>
            <pc:sldMk cId="459806595" sldId="580"/>
            <ac:spMk id="593" creationId="{AFC9C65E-00BA-F2B0-B3D7-97255CB2472C}"/>
          </ac:spMkLst>
        </pc:spChg>
        <pc:spChg chg="replST">
          <ac:chgData name="Bullinger, Marvin" userId="5b54ce5a-dc89-476f-af33-5abd75d5b1e8" providerId="ADAL" clId="{43B71669-8A80-4333-9349-B258A9296B49}" dt="2024-02-27T17:27:00.089" v="6375"/>
          <ac:spMkLst>
            <pc:docMk/>
            <pc:sldMk cId="459806595" sldId="580"/>
            <ac:spMk id="594" creationId="{3850366C-BD2B-E1C0-24DD-F961281B3CC6}"/>
          </ac:spMkLst>
        </pc:spChg>
        <pc:spChg chg="replST">
          <ac:chgData name="Bullinger, Marvin" userId="5b54ce5a-dc89-476f-af33-5abd75d5b1e8" providerId="ADAL" clId="{43B71669-8A80-4333-9349-B258A9296B49}" dt="2024-02-27T17:27:00.105" v="6379"/>
          <ac:spMkLst>
            <pc:docMk/>
            <pc:sldMk cId="459806595" sldId="580"/>
            <ac:spMk id="596" creationId="{9B397A0A-1B72-54FB-86E6-E1ED00D814BE}"/>
          </ac:spMkLst>
        </pc:spChg>
        <pc:spChg chg="replST">
          <ac:chgData name="Bullinger, Marvin" userId="5b54ce5a-dc89-476f-af33-5abd75d5b1e8" providerId="ADAL" clId="{43B71669-8A80-4333-9349-B258A9296B49}" dt="2024-02-27T17:27:00.105" v="6382"/>
          <ac:spMkLst>
            <pc:docMk/>
            <pc:sldMk cId="459806595" sldId="580"/>
            <ac:spMk id="597" creationId="{37F31E41-2BB9-B5E8-B450-A52961E0359B}"/>
          </ac:spMkLst>
        </pc:spChg>
        <pc:spChg chg="replST">
          <ac:chgData name="Bullinger, Marvin" userId="5b54ce5a-dc89-476f-af33-5abd75d5b1e8" providerId="ADAL" clId="{43B71669-8A80-4333-9349-B258A9296B49}" dt="2024-02-27T17:27:00.125" v="6386"/>
          <ac:spMkLst>
            <pc:docMk/>
            <pc:sldMk cId="459806595" sldId="580"/>
            <ac:spMk id="599" creationId="{2B6AA392-1E36-9180-07C0-88E0A01220D6}"/>
          </ac:spMkLst>
        </pc:spChg>
        <pc:spChg chg="replST">
          <ac:chgData name="Bullinger, Marvin" userId="5b54ce5a-dc89-476f-af33-5abd75d5b1e8" providerId="ADAL" clId="{43B71669-8A80-4333-9349-B258A9296B49}" dt="2024-02-27T17:27:00.125" v="6389"/>
          <ac:spMkLst>
            <pc:docMk/>
            <pc:sldMk cId="459806595" sldId="580"/>
            <ac:spMk id="600" creationId="{32F8C60F-2B65-053C-AF7E-814A121B8530}"/>
          </ac:spMkLst>
        </pc:spChg>
        <pc:spChg chg="del ord replST">
          <ac:chgData name="Bullinger, Marvin" userId="5b54ce5a-dc89-476f-af33-5abd75d5b1e8" providerId="ADAL" clId="{43B71669-8A80-4333-9349-B258A9296B49}" dt="2024-02-27T17:27:36.891" v="6982" actId="478"/>
          <ac:spMkLst>
            <pc:docMk/>
            <pc:sldMk cId="459806595" sldId="580"/>
            <ac:spMk id="601" creationId="{661D16BA-4B82-ABA8-E7DA-D736FBA7886C}"/>
          </ac:spMkLst>
        </pc:spChg>
        <pc:spChg chg="replST">
          <ac:chgData name="Bullinger, Marvin" userId="5b54ce5a-dc89-476f-af33-5abd75d5b1e8" providerId="ADAL" clId="{43B71669-8A80-4333-9349-B258A9296B49}" dt="2024-02-27T17:27:00.125" v="6393"/>
          <ac:spMkLst>
            <pc:docMk/>
            <pc:sldMk cId="459806595" sldId="580"/>
            <ac:spMk id="602" creationId="{3B5B20E9-8995-FC80-8316-96C16EBDC8A4}"/>
          </ac:spMkLst>
        </pc:spChg>
        <pc:spChg chg="replST">
          <ac:chgData name="Bullinger, Marvin" userId="5b54ce5a-dc89-476f-af33-5abd75d5b1e8" providerId="ADAL" clId="{43B71669-8A80-4333-9349-B258A9296B49}" dt="2024-02-27T17:27:00.140" v="6396"/>
          <ac:spMkLst>
            <pc:docMk/>
            <pc:sldMk cId="459806595" sldId="580"/>
            <ac:spMk id="603" creationId="{09341935-2804-BFE4-F952-FB65D2E3FA41}"/>
          </ac:spMkLst>
        </pc:spChg>
        <pc:spChg chg="replST">
          <ac:chgData name="Bullinger, Marvin" userId="5b54ce5a-dc89-476f-af33-5abd75d5b1e8" providerId="ADAL" clId="{43B71669-8A80-4333-9349-B258A9296B49}" dt="2024-02-27T17:27:00.149" v="6400"/>
          <ac:spMkLst>
            <pc:docMk/>
            <pc:sldMk cId="459806595" sldId="580"/>
            <ac:spMk id="605" creationId="{94100AE3-35C5-50FB-CA55-8A7D324A249F}"/>
          </ac:spMkLst>
        </pc:spChg>
        <pc:spChg chg="replST">
          <ac:chgData name="Bullinger, Marvin" userId="5b54ce5a-dc89-476f-af33-5abd75d5b1e8" providerId="ADAL" clId="{43B71669-8A80-4333-9349-B258A9296B49}" dt="2024-02-27T17:27:00.157" v="6403"/>
          <ac:spMkLst>
            <pc:docMk/>
            <pc:sldMk cId="459806595" sldId="580"/>
            <ac:spMk id="606" creationId="{C36920FF-0E96-2FA0-6104-4A7F3B75EE62}"/>
          </ac:spMkLst>
        </pc:spChg>
        <pc:spChg chg="replST">
          <ac:chgData name="Bullinger, Marvin" userId="5b54ce5a-dc89-476f-af33-5abd75d5b1e8" providerId="ADAL" clId="{43B71669-8A80-4333-9349-B258A9296B49}" dt="2024-02-27T17:27:00.165" v="6407"/>
          <ac:spMkLst>
            <pc:docMk/>
            <pc:sldMk cId="459806595" sldId="580"/>
            <ac:spMk id="608" creationId="{A717825D-5C33-9322-078A-7FF3A45CAEDF}"/>
          </ac:spMkLst>
        </pc:spChg>
        <pc:spChg chg="replST">
          <ac:chgData name="Bullinger, Marvin" userId="5b54ce5a-dc89-476f-af33-5abd75d5b1e8" providerId="ADAL" clId="{43B71669-8A80-4333-9349-B258A9296B49}" dt="2024-02-27T17:27:00.165" v="6410"/>
          <ac:spMkLst>
            <pc:docMk/>
            <pc:sldMk cId="459806595" sldId="580"/>
            <ac:spMk id="609" creationId="{09FA66C6-78B7-DD48-38DA-AB31D28183E6}"/>
          </ac:spMkLst>
        </pc:spChg>
        <pc:spChg chg="replST">
          <ac:chgData name="Bullinger, Marvin" userId="5b54ce5a-dc89-476f-af33-5abd75d5b1e8" providerId="ADAL" clId="{43B71669-8A80-4333-9349-B258A9296B49}" dt="2024-02-27T17:27:00.165" v="6414"/>
          <ac:spMkLst>
            <pc:docMk/>
            <pc:sldMk cId="459806595" sldId="580"/>
            <ac:spMk id="611" creationId="{A08165DF-5423-8F2A-162B-A0BB288DAC06}"/>
          </ac:spMkLst>
        </pc:spChg>
        <pc:spChg chg="replST">
          <ac:chgData name="Bullinger, Marvin" userId="5b54ce5a-dc89-476f-af33-5abd75d5b1e8" providerId="ADAL" clId="{43B71669-8A80-4333-9349-B258A9296B49}" dt="2024-02-27T17:27:00.181" v="6417"/>
          <ac:spMkLst>
            <pc:docMk/>
            <pc:sldMk cId="459806595" sldId="580"/>
            <ac:spMk id="612" creationId="{4107219B-9019-9584-5621-B3311A39593B}"/>
          </ac:spMkLst>
        </pc:spChg>
        <pc:spChg chg="replST">
          <ac:chgData name="Bullinger, Marvin" userId="5b54ce5a-dc89-476f-af33-5abd75d5b1e8" providerId="ADAL" clId="{43B71669-8A80-4333-9349-B258A9296B49}" dt="2024-02-27T17:27:00.186" v="6421"/>
          <ac:spMkLst>
            <pc:docMk/>
            <pc:sldMk cId="459806595" sldId="580"/>
            <ac:spMk id="614" creationId="{D25E53AB-61AF-B3BA-0731-AA2DE3CE7324}"/>
          </ac:spMkLst>
        </pc:spChg>
        <pc:spChg chg="replST">
          <ac:chgData name="Bullinger, Marvin" userId="5b54ce5a-dc89-476f-af33-5abd75d5b1e8" providerId="ADAL" clId="{43B71669-8A80-4333-9349-B258A9296B49}" dt="2024-02-27T17:27:00.186" v="6424"/>
          <ac:spMkLst>
            <pc:docMk/>
            <pc:sldMk cId="459806595" sldId="580"/>
            <ac:spMk id="615" creationId="{9A2E143E-8C11-83B6-E06E-2359D78CBF32}"/>
          </ac:spMkLst>
        </pc:spChg>
        <pc:spChg chg="add mod">
          <ac:chgData name="Bullinger, Marvin" userId="5b54ce5a-dc89-476f-af33-5abd75d5b1e8" providerId="ADAL" clId="{43B71669-8A80-4333-9349-B258A9296B49}" dt="2024-02-27T17:27:36.883" v="6979" actId="478"/>
          <ac:spMkLst>
            <pc:docMk/>
            <pc:sldMk cId="459806595" sldId="580"/>
            <ac:spMk id="656" creationId="{DC11B4D9-5B33-683F-4905-96FE88725B06}"/>
          </ac:spMkLst>
        </pc:spChg>
        <pc:spChg chg="mod ord replST">
          <ac:chgData name="Bullinger, Marvin" userId="5b54ce5a-dc89-476f-af33-5abd75d5b1e8" providerId="ADAL" clId="{43B71669-8A80-4333-9349-B258A9296B49}" dt="2024-02-27T17:27:37.691" v="7434"/>
          <ac:spMkLst>
            <pc:docMk/>
            <pc:sldMk cId="459806595" sldId="580"/>
            <ac:spMk id="657" creationId="{B28BF7E5-BF5E-DB7E-072B-42E8CBB7A618}"/>
          </ac:spMkLst>
        </pc:spChg>
        <pc:spChg chg="del">
          <ac:chgData name="Bullinger, Marvin" userId="5b54ce5a-dc89-476f-af33-5abd75d5b1e8" providerId="ADAL" clId="{43B71669-8A80-4333-9349-B258A9296B49}" dt="2024-02-27T17:27:36.915" v="7017" actId="478"/>
          <ac:spMkLst>
            <pc:docMk/>
            <pc:sldMk cId="459806595" sldId="580"/>
            <ac:spMk id="658" creationId="{9FD26145-841F-75A7-40C8-1B2D3AD3C5B3}"/>
          </ac:spMkLst>
        </pc:spChg>
        <pc:spChg chg="del">
          <ac:chgData name="Bullinger, Marvin" userId="5b54ce5a-dc89-476f-af33-5abd75d5b1e8" providerId="ADAL" clId="{43B71669-8A80-4333-9349-B258A9296B49}" dt="2024-02-27T17:27:36.915" v="7016" actId="478"/>
          <ac:spMkLst>
            <pc:docMk/>
            <pc:sldMk cId="459806595" sldId="580"/>
            <ac:spMk id="659" creationId="{D13113BA-A556-8BD7-B22C-B972F836AB59}"/>
          </ac:spMkLst>
        </pc:spChg>
        <pc:spChg chg="del">
          <ac:chgData name="Bullinger, Marvin" userId="5b54ce5a-dc89-476f-af33-5abd75d5b1e8" providerId="ADAL" clId="{43B71669-8A80-4333-9349-B258A9296B49}" dt="2024-02-27T17:27:36.915" v="7015" actId="478"/>
          <ac:spMkLst>
            <pc:docMk/>
            <pc:sldMk cId="459806595" sldId="580"/>
            <ac:spMk id="660" creationId="{6D38B384-62D6-AAC7-8DDA-D122C82B62C3}"/>
          </ac:spMkLst>
        </pc:spChg>
        <pc:spChg chg="del">
          <ac:chgData name="Bullinger, Marvin" userId="5b54ce5a-dc89-476f-af33-5abd75d5b1e8" providerId="ADAL" clId="{43B71669-8A80-4333-9349-B258A9296B49}" dt="2024-02-27T17:27:36.915" v="7014" actId="478"/>
          <ac:spMkLst>
            <pc:docMk/>
            <pc:sldMk cId="459806595" sldId="580"/>
            <ac:spMk id="661" creationId="{43700968-D121-2D99-2A8F-3B08CF0F43FE}"/>
          </ac:spMkLst>
        </pc:spChg>
        <pc:spChg chg="del">
          <ac:chgData name="Bullinger, Marvin" userId="5b54ce5a-dc89-476f-af33-5abd75d5b1e8" providerId="ADAL" clId="{43B71669-8A80-4333-9349-B258A9296B49}" dt="2024-02-27T17:27:36.915" v="7013" actId="478"/>
          <ac:spMkLst>
            <pc:docMk/>
            <pc:sldMk cId="459806595" sldId="580"/>
            <ac:spMk id="662" creationId="{D65FE72C-F860-3DE8-B67B-4DF6C0A1272F}"/>
          </ac:spMkLst>
        </pc:spChg>
        <pc:spChg chg="del">
          <ac:chgData name="Bullinger, Marvin" userId="5b54ce5a-dc89-476f-af33-5abd75d5b1e8" providerId="ADAL" clId="{43B71669-8A80-4333-9349-B258A9296B49}" dt="2024-02-27T17:27:36.915" v="7012" actId="478"/>
          <ac:spMkLst>
            <pc:docMk/>
            <pc:sldMk cId="459806595" sldId="580"/>
            <ac:spMk id="663" creationId="{91D66733-2EFA-D69C-5137-78FF1DB313FA}"/>
          </ac:spMkLst>
        </pc:spChg>
        <pc:spChg chg="del">
          <ac:chgData name="Bullinger, Marvin" userId="5b54ce5a-dc89-476f-af33-5abd75d5b1e8" providerId="ADAL" clId="{43B71669-8A80-4333-9349-B258A9296B49}" dt="2024-02-27T17:27:36.915" v="7009" actId="478"/>
          <ac:spMkLst>
            <pc:docMk/>
            <pc:sldMk cId="459806595" sldId="580"/>
            <ac:spMk id="664" creationId="{F2C10A6E-B02A-E59A-57D3-51A54A92412D}"/>
          </ac:spMkLst>
        </pc:spChg>
        <pc:spChg chg="del">
          <ac:chgData name="Bullinger, Marvin" userId="5b54ce5a-dc89-476f-af33-5abd75d5b1e8" providerId="ADAL" clId="{43B71669-8A80-4333-9349-B258A9296B49}" dt="2024-02-27T17:27:36.915" v="7008" actId="478"/>
          <ac:spMkLst>
            <pc:docMk/>
            <pc:sldMk cId="459806595" sldId="580"/>
            <ac:spMk id="665" creationId="{81DE5CA0-B1B8-F7FF-D493-1EB821405272}"/>
          </ac:spMkLst>
        </pc:spChg>
        <pc:spChg chg="del">
          <ac:chgData name="Bullinger, Marvin" userId="5b54ce5a-dc89-476f-af33-5abd75d5b1e8" providerId="ADAL" clId="{43B71669-8A80-4333-9349-B258A9296B49}" dt="2024-02-27T17:27:36.915" v="7007" actId="478"/>
          <ac:spMkLst>
            <pc:docMk/>
            <pc:sldMk cId="459806595" sldId="580"/>
            <ac:spMk id="666" creationId="{29529464-8934-E2CE-3A09-4B058AD6BC3D}"/>
          </ac:spMkLst>
        </pc:spChg>
        <pc:spChg chg="del">
          <ac:chgData name="Bullinger, Marvin" userId="5b54ce5a-dc89-476f-af33-5abd75d5b1e8" providerId="ADAL" clId="{43B71669-8A80-4333-9349-B258A9296B49}" dt="2024-02-27T17:27:36.915" v="7006" actId="478"/>
          <ac:spMkLst>
            <pc:docMk/>
            <pc:sldMk cId="459806595" sldId="580"/>
            <ac:spMk id="667" creationId="{CAAEE80F-1429-A24B-058C-8BD34A3B6DEA}"/>
          </ac:spMkLst>
        </pc:spChg>
        <pc:spChg chg="del">
          <ac:chgData name="Bullinger, Marvin" userId="5b54ce5a-dc89-476f-af33-5abd75d5b1e8" providerId="ADAL" clId="{43B71669-8A80-4333-9349-B258A9296B49}" dt="2024-02-27T17:27:36.915" v="7005" actId="478"/>
          <ac:spMkLst>
            <pc:docMk/>
            <pc:sldMk cId="459806595" sldId="580"/>
            <ac:spMk id="668" creationId="{79DDB0B7-E07C-B430-E5C9-F3FC3058CD1D}"/>
          </ac:spMkLst>
        </pc:spChg>
        <pc:spChg chg="del">
          <ac:chgData name="Bullinger, Marvin" userId="5b54ce5a-dc89-476f-af33-5abd75d5b1e8" providerId="ADAL" clId="{43B71669-8A80-4333-9349-B258A9296B49}" dt="2024-02-27T17:27:36.915" v="7004" actId="478"/>
          <ac:spMkLst>
            <pc:docMk/>
            <pc:sldMk cId="459806595" sldId="580"/>
            <ac:spMk id="669" creationId="{24DEE2FC-C6BD-6D01-7A10-567CD7BD3032}"/>
          </ac:spMkLst>
        </pc:spChg>
        <pc:spChg chg="del">
          <ac:chgData name="Bullinger, Marvin" userId="5b54ce5a-dc89-476f-af33-5abd75d5b1e8" providerId="ADAL" clId="{43B71669-8A80-4333-9349-B258A9296B49}" dt="2024-02-27T17:27:36.915" v="7025" actId="478"/>
          <ac:spMkLst>
            <pc:docMk/>
            <pc:sldMk cId="459806595" sldId="580"/>
            <ac:spMk id="670" creationId="{BB6D12DF-6CEC-8C32-A33E-8353329A3FBF}"/>
          </ac:spMkLst>
        </pc:spChg>
        <pc:spChg chg="del">
          <ac:chgData name="Bullinger, Marvin" userId="5b54ce5a-dc89-476f-af33-5abd75d5b1e8" providerId="ADAL" clId="{43B71669-8A80-4333-9349-B258A9296B49}" dt="2024-02-27T17:27:36.915" v="7024" actId="478"/>
          <ac:spMkLst>
            <pc:docMk/>
            <pc:sldMk cId="459806595" sldId="580"/>
            <ac:spMk id="671" creationId="{FAF8D031-5C4C-B467-D5B5-584BD047F1EB}"/>
          </ac:spMkLst>
        </pc:spChg>
        <pc:spChg chg="del">
          <ac:chgData name="Bullinger, Marvin" userId="5b54ce5a-dc89-476f-af33-5abd75d5b1e8" providerId="ADAL" clId="{43B71669-8A80-4333-9349-B258A9296B49}" dt="2024-02-27T17:27:36.915" v="7023" actId="478"/>
          <ac:spMkLst>
            <pc:docMk/>
            <pc:sldMk cId="459806595" sldId="580"/>
            <ac:spMk id="672" creationId="{F5AF41F8-3C6A-3B6F-8EAD-254CF2B0005E}"/>
          </ac:spMkLst>
        </pc:spChg>
        <pc:spChg chg="del">
          <ac:chgData name="Bullinger, Marvin" userId="5b54ce5a-dc89-476f-af33-5abd75d5b1e8" providerId="ADAL" clId="{43B71669-8A80-4333-9349-B258A9296B49}" dt="2024-02-27T17:27:36.915" v="7022" actId="478"/>
          <ac:spMkLst>
            <pc:docMk/>
            <pc:sldMk cId="459806595" sldId="580"/>
            <ac:spMk id="673" creationId="{53B67418-DA7A-E883-4D71-F89FD5E374D0}"/>
          </ac:spMkLst>
        </pc:spChg>
        <pc:spChg chg="del">
          <ac:chgData name="Bullinger, Marvin" userId="5b54ce5a-dc89-476f-af33-5abd75d5b1e8" providerId="ADAL" clId="{43B71669-8A80-4333-9349-B258A9296B49}" dt="2024-02-27T17:27:36.915" v="7021" actId="478"/>
          <ac:spMkLst>
            <pc:docMk/>
            <pc:sldMk cId="459806595" sldId="580"/>
            <ac:spMk id="674" creationId="{36F14159-F75B-7A05-AD34-F0E812140D05}"/>
          </ac:spMkLst>
        </pc:spChg>
        <pc:spChg chg="del">
          <ac:chgData name="Bullinger, Marvin" userId="5b54ce5a-dc89-476f-af33-5abd75d5b1e8" providerId="ADAL" clId="{43B71669-8A80-4333-9349-B258A9296B49}" dt="2024-02-27T17:27:36.915" v="7020" actId="478"/>
          <ac:spMkLst>
            <pc:docMk/>
            <pc:sldMk cId="459806595" sldId="580"/>
            <ac:spMk id="675" creationId="{955890E3-2DA7-6A59-07D6-02B45DF989C3}"/>
          </ac:spMkLst>
        </pc:spChg>
        <pc:spChg chg="del">
          <ac:chgData name="Bullinger, Marvin" userId="5b54ce5a-dc89-476f-af33-5abd75d5b1e8" providerId="ADAL" clId="{43B71669-8A80-4333-9349-B258A9296B49}" dt="2024-02-27T17:27:36.915" v="7019" actId="478"/>
          <ac:spMkLst>
            <pc:docMk/>
            <pc:sldMk cId="459806595" sldId="580"/>
            <ac:spMk id="676" creationId="{2E0DD466-50D8-A8D4-ACC8-81DF449426CB}"/>
          </ac:spMkLst>
        </pc:spChg>
        <pc:spChg chg="del">
          <ac:chgData name="Bullinger, Marvin" userId="5b54ce5a-dc89-476f-af33-5abd75d5b1e8" providerId="ADAL" clId="{43B71669-8A80-4333-9349-B258A9296B49}" dt="2024-02-27T17:27:36.915" v="7018" actId="478"/>
          <ac:spMkLst>
            <pc:docMk/>
            <pc:sldMk cId="459806595" sldId="580"/>
            <ac:spMk id="677" creationId="{70F4A676-851E-CB41-9737-59BAF0C4F868}"/>
          </ac:spMkLst>
        </pc:spChg>
        <pc:spChg chg="del">
          <ac:chgData name="Bullinger, Marvin" userId="5b54ce5a-dc89-476f-af33-5abd75d5b1e8" providerId="ADAL" clId="{43B71669-8A80-4333-9349-B258A9296B49}" dt="2024-02-27T17:27:36.915" v="7010" actId="478"/>
          <ac:spMkLst>
            <pc:docMk/>
            <pc:sldMk cId="459806595" sldId="580"/>
            <ac:spMk id="678" creationId="{15C1F907-7469-3950-B135-2DFED0F4237C}"/>
          </ac:spMkLst>
        </pc:spChg>
        <pc:spChg chg="del">
          <ac:chgData name="Bullinger, Marvin" userId="5b54ce5a-dc89-476f-af33-5abd75d5b1e8" providerId="ADAL" clId="{43B71669-8A80-4333-9349-B258A9296B49}" dt="2024-02-27T17:27:36.915" v="7003" actId="478"/>
          <ac:spMkLst>
            <pc:docMk/>
            <pc:sldMk cId="459806595" sldId="580"/>
            <ac:spMk id="679" creationId="{5C259BFB-E0A1-492E-D477-995053EDA390}"/>
          </ac:spMkLst>
        </pc:spChg>
        <pc:spChg chg="del">
          <ac:chgData name="Bullinger, Marvin" userId="5b54ce5a-dc89-476f-af33-5abd75d5b1e8" providerId="ADAL" clId="{43B71669-8A80-4333-9349-B258A9296B49}" dt="2024-02-27T17:27:36.915" v="7011" actId="478"/>
          <ac:spMkLst>
            <pc:docMk/>
            <pc:sldMk cId="459806595" sldId="580"/>
            <ac:spMk id="680" creationId="{08318394-A6F2-0907-D0B4-B513234BB8F0}"/>
          </ac:spMkLst>
        </pc:spChg>
        <pc:spChg chg="del">
          <ac:chgData name="Bullinger, Marvin" userId="5b54ce5a-dc89-476f-af33-5abd75d5b1e8" providerId="ADAL" clId="{43B71669-8A80-4333-9349-B258A9296B49}" dt="2024-02-27T17:27:36.915" v="7002" actId="478"/>
          <ac:spMkLst>
            <pc:docMk/>
            <pc:sldMk cId="459806595" sldId="580"/>
            <ac:spMk id="681" creationId="{2CC90011-2755-6FC8-0B53-4C1C5E99F5CE}"/>
          </ac:spMkLst>
        </pc:spChg>
        <pc:spChg chg="del">
          <ac:chgData name="Bullinger, Marvin" userId="5b54ce5a-dc89-476f-af33-5abd75d5b1e8" providerId="ADAL" clId="{43B71669-8A80-4333-9349-B258A9296B49}" dt="2024-02-27T17:27:36.915" v="7001" actId="478"/>
          <ac:spMkLst>
            <pc:docMk/>
            <pc:sldMk cId="459806595" sldId="580"/>
            <ac:spMk id="682" creationId="{47CBB400-AB48-DD91-9701-FC286009FCE3}"/>
          </ac:spMkLst>
        </pc:spChg>
        <pc:spChg chg="del">
          <ac:chgData name="Bullinger, Marvin" userId="5b54ce5a-dc89-476f-af33-5abd75d5b1e8" providerId="ADAL" clId="{43B71669-8A80-4333-9349-B258A9296B49}" dt="2024-02-27T17:27:36.899" v="7000" actId="478"/>
          <ac:spMkLst>
            <pc:docMk/>
            <pc:sldMk cId="459806595" sldId="580"/>
            <ac:spMk id="683" creationId="{0092FA01-3727-29E4-7248-E4AC058FA687}"/>
          </ac:spMkLst>
        </pc:spChg>
        <pc:spChg chg="del">
          <ac:chgData name="Bullinger, Marvin" userId="5b54ce5a-dc89-476f-af33-5abd75d5b1e8" providerId="ADAL" clId="{43B71669-8A80-4333-9349-B258A9296B49}" dt="2024-02-27T17:27:36.899" v="6999" actId="478"/>
          <ac:spMkLst>
            <pc:docMk/>
            <pc:sldMk cId="459806595" sldId="580"/>
            <ac:spMk id="684" creationId="{877EDADF-A7AA-775A-7174-1FC986615FB5}"/>
          </ac:spMkLst>
        </pc:spChg>
        <pc:spChg chg="del">
          <ac:chgData name="Bullinger, Marvin" userId="5b54ce5a-dc89-476f-af33-5abd75d5b1e8" providerId="ADAL" clId="{43B71669-8A80-4333-9349-B258A9296B49}" dt="2024-02-27T17:27:36.899" v="6998" actId="478"/>
          <ac:spMkLst>
            <pc:docMk/>
            <pc:sldMk cId="459806595" sldId="580"/>
            <ac:spMk id="685" creationId="{7CCF2C36-CF63-78A8-434D-1717D350C34B}"/>
          </ac:spMkLst>
        </pc:spChg>
        <pc:spChg chg="del">
          <ac:chgData name="Bullinger, Marvin" userId="5b54ce5a-dc89-476f-af33-5abd75d5b1e8" providerId="ADAL" clId="{43B71669-8A80-4333-9349-B258A9296B49}" dt="2024-02-27T17:27:36.899" v="6997" actId="478"/>
          <ac:spMkLst>
            <pc:docMk/>
            <pc:sldMk cId="459806595" sldId="580"/>
            <ac:spMk id="686" creationId="{075218ED-5966-D75A-6C83-4AB159CAE80A}"/>
          </ac:spMkLst>
        </pc:spChg>
        <pc:spChg chg="del">
          <ac:chgData name="Bullinger, Marvin" userId="5b54ce5a-dc89-476f-af33-5abd75d5b1e8" providerId="ADAL" clId="{43B71669-8A80-4333-9349-B258A9296B49}" dt="2024-02-27T17:27:36.899" v="6996" actId="478"/>
          <ac:spMkLst>
            <pc:docMk/>
            <pc:sldMk cId="459806595" sldId="580"/>
            <ac:spMk id="687" creationId="{A29583C7-A756-BFE3-6D4B-307C73847C38}"/>
          </ac:spMkLst>
        </pc:spChg>
        <pc:spChg chg="del">
          <ac:chgData name="Bullinger, Marvin" userId="5b54ce5a-dc89-476f-af33-5abd75d5b1e8" providerId="ADAL" clId="{43B71669-8A80-4333-9349-B258A9296B49}" dt="2024-02-27T17:27:36.899" v="6995" actId="478"/>
          <ac:spMkLst>
            <pc:docMk/>
            <pc:sldMk cId="459806595" sldId="580"/>
            <ac:spMk id="688" creationId="{E27C60B7-9280-978C-9A01-50AC906C9C44}"/>
          </ac:spMkLst>
        </pc:spChg>
        <pc:spChg chg="del">
          <ac:chgData name="Bullinger, Marvin" userId="5b54ce5a-dc89-476f-af33-5abd75d5b1e8" providerId="ADAL" clId="{43B71669-8A80-4333-9349-B258A9296B49}" dt="2024-02-27T17:27:36.899" v="6994" actId="478"/>
          <ac:spMkLst>
            <pc:docMk/>
            <pc:sldMk cId="459806595" sldId="580"/>
            <ac:spMk id="689" creationId="{648B96BC-060E-3A8F-E9B2-8DBF153736A8}"/>
          </ac:spMkLst>
        </pc:spChg>
        <pc:spChg chg="del">
          <ac:chgData name="Bullinger, Marvin" userId="5b54ce5a-dc89-476f-af33-5abd75d5b1e8" providerId="ADAL" clId="{43B71669-8A80-4333-9349-B258A9296B49}" dt="2024-02-27T17:27:36.899" v="6993" actId="478"/>
          <ac:spMkLst>
            <pc:docMk/>
            <pc:sldMk cId="459806595" sldId="580"/>
            <ac:spMk id="690" creationId="{488778FD-246B-831E-DC89-8CFE0ED3D19F}"/>
          </ac:spMkLst>
        </pc:spChg>
        <pc:spChg chg="del">
          <ac:chgData name="Bullinger, Marvin" userId="5b54ce5a-dc89-476f-af33-5abd75d5b1e8" providerId="ADAL" clId="{43B71669-8A80-4333-9349-B258A9296B49}" dt="2024-02-27T17:27:36.899" v="6992" actId="478"/>
          <ac:spMkLst>
            <pc:docMk/>
            <pc:sldMk cId="459806595" sldId="580"/>
            <ac:spMk id="691" creationId="{5BC712D7-ECFD-BD47-6F1B-302ADB1FFAD5}"/>
          </ac:spMkLst>
        </pc:spChg>
        <pc:spChg chg="del">
          <ac:chgData name="Bullinger, Marvin" userId="5b54ce5a-dc89-476f-af33-5abd75d5b1e8" providerId="ADAL" clId="{43B71669-8A80-4333-9349-B258A9296B49}" dt="2024-02-27T17:27:36.899" v="6991" actId="478"/>
          <ac:spMkLst>
            <pc:docMk/>
            <pc:sldMk cId="459806595" sldId="580"/>
            <ac:spMk id="692" creationId="{38AF77D7-8AB8-8E11-2875-095C90788B08}"/>
          </ac:spMkLst>
        </pc:spChg>
        <pc:spChg chg="del">
          <ac:chgData name="Bullinger, Marvin" userId="5b54ce5a-dc89-476f-af33-5abd75d5b1e8" providerId="ADAL" clId="{43B71669-8A80-4333-9349-B258A9296B49}" dt="2024-02-27T17:27:36.899" v="6990" actId="478"/>
          <ac:spMkLst>
            <pc:docMk/>
            <pc:sldMk cId="459806595" sldId="580"/>
            <ac:spMk id="693" creationId="{4858EAD5-724D-4F44-DBE2-29DE74B08442}"/>
          </ac:spMkLst>
        </pc:spChg>
        <pc:spChg chg="del">
          <ac:chgData name="Bullinger, Marvin" userId="5b54ce5a-dc89-476f-af33-5abd75d5b1e8" providerId="ADAL" clId="{43B71669-8A80-4333-9349-B258A9296B49}" dt="2024-02-27T17:27:36.899" v="6989" actId="478"/>
          <ac:spMkLst>
            <pc:docMk/>
            <pc:sldMk cId="459806595" sldId="580"/>
            <ac:spMk id="694" creationId="{EAFA10D9-43E8-AF7D-FD88-39D2B2182644}"/>
          </ac:spMkLst>
        </pc:spChg>
        <pc:spChg chg="replST">
          <ac:chgData name="Bullinger, Marvin" userId="5b54ce5a-dc89-476f-af33-5abd75d5b1e8" providerId="ADAL" clId="{43B71669-8A80-4333-9349-B258A9296B49}" dt="2024-02-27T17:27:37.545" v="7386"/>
          <ac:spMkLst>
            <pc:docMk/>
            <pc:sldMk cId="459806595" sldId="580"/>
            <ac:spMk id="695" creationId="{A8AC01D0-CF7D-6DDC-79AB-07DEF14CAB5B}"/>
          </ac:spMkLst>
        </pc:spChg>
        <pc:spChg chg="replST">
          <ac:chgData name="Bullinger, Marvin" userId="5b54ce5a-dc89-476f-af33-5abd75d5b1e8" providerId="ADAL" clId="{43B71669-8A80-4333-9349-B258A9296B49}" dt="2024-02-27T17:27:37.545" v="7389"/>
          <ac:spMkLst>
            <pc:docMk/>
            <pc:sldMk cId="459806595" sldId="580"/>
            <ac:spMk id="696" creationId="{A2B997AA-4981-883F-A4F7-3663DA93EF81}"/>
          </ac:spMkLst>
        </pc:spChg>
        <pc:spChg chg="replST">
          <ac:chgData name="Bullinger, Marvin" userId="5b54ce5a-dc89-476f-af33-5abd75d5b1e8" providerId="ADAL" clId="{43B71669-8A80-4333-9349-B258A9296B49}" dt="2024-02-27T17:27:37.561" v="7393"/>
          <ac:spMkLst>
            <pc:docMk/>
            <pc:sldMk cId="459806595" sldId="580"/>
            <ac:spMk id="698" creationId="{7EB40122-83DB-E9BE-BD47-068BC63D8618}"/>
          </ac:spMkLst>
        </pc:spChg>
        <pc:spChg chg="replST">
          <ac:chgData name="Bullinger, Marvin" userId="5b54ce5a-dc89-476f-af33-5abd75d5b1e8" providerId="ADAL" clId="{43B71669-8A80-4333-9349-B258A9296B49}" dt="2024-02-27T17:27:37.578" v="7396"/>
          <ac:spMkLst>
            <pc:docMk/>
            <pc:sldMk cId="459806595" sldId="580"/>
            <ac:spMk id="699" creationId="{3C3CD40C-3DD9-614E-1636-E688BC1800A4}"/>
          </ac:spMkLst>
        </pc:spChg>
        <pc:spChg chg="ord replST">
          <ac:chgData name="Bullinger, Marvin" userId="5b54ce5a-dc89-476f-af33-5abd75d5b1e8" providerId="ADAL" clId="{43B71669-8A80-4333-9349-B258A9296B49}" dt="2024-02-27T17:27:37.691" v="7436"/>
          <ac:spMkLst>
            <pc:docMk/>
            <pc:sldMk cId="459806595" sldId="580"/>
            <ac:spMk id="700" creationId="{1AA8B504-00E7-687C-5087-954B893830B2}"/>
          </ac:spMkLst>
        </pc:spChg>
        <pc:spChg chg="replST">
          <ac:chgData name="Bullinger, Marvin" userId="5b54ce5a-dc89-476f-af33-5abd75d5b1e8" providerId="ADAL" clId="{43B71669-8A80-4333-9349-B258A9296B49}" dt="2024-02-27T17:27:37.579" v="7400"/>
          <ac:spMkLst>
            <pc:docMk/>
            <pc:sldMk cId="459806595" sldId="580"/>
            <ac:spMk id="701" creationId="{E8A866D6-DBFF-3D3F-2FD7-354A6FAC7833}"/>
          </ac:spMkLst>
        </pc:spChg>
        <pc:spChg chg="replST">
          <ac:chgData name="Bullinger, Marvin" userId="5b54ce5a-dc89-476f-af33-5abd75d5b1e8" providerId="ADAL" clId="{43B71669-8A80-4333-9349-B258A9296B49}" dt="2024-02-27T17:27:37.595" v="7403"/>
          <ac:spMkLst>
            <pc:docMk/>
            <pc:sldMk cId="459806595" sldId="580"/>
            <ac:spMk id="702" creationId="{3C78354C-F1F9-2E32-AE8C-2F5D8BAF0623}"/>
          </ac:spMkLst>
        </pc:spChg>
        <pc:spChg chg="replST">
          <ac:chgData name="Bullinger, Marvin" userId="5b54ce5a-dc89-476f-af33-5abd75d5b1e8" providerId="ADAL" clId="{43B71669-8A80-4333-9349-B258A9296B49}" dt="2024-02-27T17:27:37.610" v="7407"/>
          <ac:spMkLst>
            <pc:docMk/>
            <pc:sldMk cId="459806595" sldId="580"/>
            <ac:spMk id="704" creationId="{E177AC1A-EEC4-D523-211A-7D9B031DCF32}"/>
          </ac:spMkLst>
        </pc:spChg>
        <pc:spChg chg="replST">
          <ac:chgData name="Bullinger, Marvin" userId="5b54ce5a-dc89-476f-af33-5abd75d5b1e8" providerId="ADAL" clId="{43B71669-8A80-4333-9349-B258A9296B49}" dt="2024-02-27T17:27:37.610" v="7410"/>
          <ac:spMkLst>
            <pc:docMk/>
            <pc:sldMk cId="459806595" sldId="580"/>
            <ac:spMk id="705" creationId="{38762557-772C-A83B-9D71-D2574DFFCB4A}"/>
          </ac:spMkLst>
        </pc:spChg>
        <pc:spChg chg="replST">
          <ac:chgData name="Bullinger, Marvin" userId="5b54ce5a-dc89-476f-af33-5abd75d5b1e8" providerId="ADAL" clId="{43B71669-8A80-4333-9349-B258A9296B49}" dt="2024-02-27T17:27:37.634" v="7414"/>
          <ac:spMkLst>
            <pc:docMk/>
            <pc:sldMk cId="459806595" sldId="580"/>
            <ac:spMk id="707" creationId="{F81BEA5D-6B14-AE85-CAC4-6770C390C21F}"/>
          </ac:spMkLst>
        </pc:spChg>
        <pc:spChg chg="replST">
          <ac:chgData name="Bullinger, Marvin" userId="5b54ce5a-dc89-476f-af33-5abd75d5b1e8" providerId="ADAL" clId="{43B71669-8A80-4333-9349-B258A9296B49}" dt="2024-02-27T17:27:37.642" v="7417"/>
          <ac:spMkLst>
            <pc:docMk/>
            <pc:sldMk cId="459806595" sldId="580"/>
            <ac:spMk id="708" creationId="{049CC1A8-871F-19A8-B016-8109DC22414A}"/>
          </ac:spMkLst>
        </pc:spChg>
        <pc:spChg chg="replST">
          <ac:chgData name="Bullinger, Marvin" userId="5b54ce5a-dc89-476f-af33-5abd75d5b1e8" providerId="ADAL" clId="{43B71669-8A80-4333-9349-B258A9296B49}" dt="2024-02-27T17:27:37.658" v="7421"/>
          <ac:spMkLst>
            <pc:docMk/>
            <pc:sldMk cId="459806595" sldId="580"/>
            <ac:spMk id="710" creationId="{2FE6B461-7BE0-940A-A892-08A2871828A8}"/>
          </ac:spMkLst>
        </pc:spChg>
        <pc:spChg chg="replST">
          <ac:chgData name="Bullinger, Marvin" userId="5b54ce5a-dc89-476f-af33-5abd75d5b1e8" providerId="ADAL" clId="{43B71669-8A80-4333-9349-B258A9296B49}" dt="2024-02-27T17:27:37.666" v="7424"/>
          <ac:spMkLst>
            <pc:docMk/>
            <pc:sldMk cId="459806595" sldId="580"/>
            <ac:spMk id="711" creationId="{B80C4FD1-42AA-275C-9094-097D40BE218C}"/>
          </ac:spMkLst>
        </pc:spChg>
        <pc:spChg chg="replST">
          <ac:chgData name="Bullinger, Marvin" userId="5b54ce5a-dc89-476f-af33-5abd75d5b1e8" providerId="ADAL" clId="{43B71669-8A80-4333-9349-B258A9296B49}" dt="2024-02-27T17:27:37.674" v="7428"/>
          <ac:spMkLst>
            <pc:docMk/>
            <pc:sldMk cId="459806595" sldId="580"/>
            <ac:spMk id="713" creationId="{E6EAAD9C-041F-CE05-B214-56D959853755}"/>
          </ac:spMkLst>
        </pc:spChg>
        <pc:spChg chg="replST">
          <ac:chgData name="Bullinger, Marvin" userId="5b54ce5a-dc89-476f-af33-5abd75d5b1e8" providerId="ADAL" clId="{43B71669-8A80-4333-9349-B258A9296B49}" dt="2024-02-27T17:27:37.683" v="7431"/>
          <ac:spMkLst>
            <pc:docMk/>
            <pc:sldMk cId="459806595" sldId="580"/>
            <ac:spMk id="714" creationId="{2077E92B-1C97-A20A-15BA-9389CE902571}"/>
          </ac:spMkLst>
        </pc:spChg>
        <pc:cxnChg chg="del">
          <ac:chgData name="Bullinger, Marvin" userId="5b54ce5a-dc89-476f-af33-5abd75d5b1e8" providerId="ADAL" clId="{43B71669-8A80-4333-9349-B258A9296B49}" dt="2024-02-27T16:45:50.030" v="429" actId="478"/>
          <ac:cxnSpMkLst>
            <pc:docMk/>
            <pc:sldMk cId="459806595" sldId="580"/>
            <ac:cxnSpMk id="239" creationId="{FF997E7C-5923-2A1E-6B94-B0D479E025C2}"/>
          </ac:cxnSpMkLst>
        </pc:cxnChg>
        <pc:cxnChg chg="del">
          <ac:chgData name="Bullinger, Marvin" userId="5b54ce5a-dc89-476f-af33-5abd75d5b1e8" providerId="ADAL" clId="{43B71669-8A80-4333-9349-B258A9296B49}" dt="2024-02-27T16:45:50.031" v="430" actId="478"/>
          <ac:cxnSpMkLst>
            <pc:docMk/>
            <pc:sldMk cId="459806595" sldId="580"/>
            <ac:cxnSpMk id="242" creationId="{C4C19611-1D95-F8E3-95CD-F45296C7C201}"/>
          </ac:cxnSpMkLst>
        </pc:cxnChg>
        <pc:cxnChg chg="del">
          <ac:chgData name="Bullinger, Marvin" userId="5b54ce5a-dc89-476f-af33-5abd75d5b1e8" providerId="ADAL" clId="{43B71669-8A80-4333-9349-B258A9296B49}" dt="2024-02-27T16:45:50.032" v="432" actId="478"/>
          <ac:cxnSpMkLst>
            <pc:docMk/>
            <pc:sldMk cId="459806595" sldId="580"/>
            <ac:cxnSpMk id="248" creationId="{B860B53A-0F06-8DCB-84B6-4F26E7366739}"/>
          </ac:cxnSpMkLst>
        </pc:cxnChg>
        <pc:cxnChg chg="del">
          <ac:chgData name="Bullinger, Marvin" userId="5b54ce5a-dc89-476f-af33-5abd75d5b1e8" providerId="ADAL" clId="{43B71669-8A80-4333-9349-B258A9296B49}" dt="2024-02-27T16:45:50.033" v="433" actId="478"/>
          <ac:cxnSpMkLst>
            <pc:docMk/>
            <pc:sldMk cId="459806595" sldId="580"/>
            <ac:cxnSpMk id="251" creationId="{57AE335F-E2B9-EFF7-948D-7CC00E87A1A4}"/>
          </ac:cxnSpMkLst>
        </pc:cxnChg>
        <pc:cxnChg chg="del">
          <ac:chgData name="Bullinger, Marvin" userId="5b54ce5a-dc89-476f-af33-5abd75d5b1e8" providerId="ADAL" clId="{43B71669-8A80-4333-9349-B258A9296B49}" dt="2024-02-27T16:45:50.034" v="434" actId="478"/>
          <ac:cxnSpMkLst>
            <pc:docMk/>
            <pc:sldMk cId="459806595" sldId="580"/>
            <ac:cxnSpMk id="254" creationId="{4074B6EA-0889-88C5-3E7C-55B1FA6C64AF}"/>
          </ac:cxnSpMkLst>
        </pc:cxnChg>
        <pc:cxnChg chg="del">
          <ac:chgData name="Bullinger, Marvin" userId="5b54ce5a-dc89-476f-af33-5abd75d5b1e8" providerId="ADAL" clId="{43B71669-8A80-4333-9349-B258A9296B49}" dt="2024-02-27T16:45:50.034" v="435" actId="478"/>
          <ac:cxnSpMkLst>
            <pc:docMk/>
            <pc:sldMk cId="459806595" sldId="580"/>
            <ac:cxnSpMk id="255" creationId="{E3D96130-6CAC-7AE9-4C90-3D2337F2F218}"/>
          </ac:cxnSpMkLst>
        </pc:cxnChg>
        <pc:cxnChg chg="del ord replST">
          <ac:chgData name="Bullinger, Marvin" userId="5b54ce5a-dc89-476f-af33-5abd75d5b1e8" providerId="ADAL" clId="{43B71669-8A80-4333-9349-B258A9296B49}" dt="2024-02-27T16:46:20.270" v="1207" actId="478"/>
          <ac:cxnSpMkLst>
            <pc:docMk/>
            <pc:sldMk cId="459806595" sldId="580"/>
            <ac:cxnSpMk id="263" creationId="{DCCD75BA-0BB7-4B66-CE58-ED161154A742}"/>
          </ac:cxnSpMkLst>
        </pc:cxnChg>
        <pc:cxnChg chg="del ord replST">
          <ac:chgData name="Bullinger, Marvin" userId="5b54ce5a-dc89-476f-af33-5abd75d5b1e8" providerId="ADAL" clId="{43B71669-8A80-4333-9349-B258A9296B49}" dt="2024-02-27T16:46:20.270" v="1208" actId="478"/>
          <ac:cxnSpMkLst>
            <pc:docMk/>
            <pc:sldMk cId="459806595" sldId="580"/>
            <ac:cxnSpMk id="266" creationId="{FF376051-61B7-0D58-E777-546BDA313617}"/>
          </ac:cxnSpMkLst>
        </pc:cxnChg>
        <pc:cxnChg chg="del ord replST">
          <ac:chgData name="Bullinger, Marvin" userId="5b54ce5a-dc89-476f-af33-5abd75d5b1e8" providerId="ADAL" clId="{43B71669-8A80-4333-9349-B258A9296B49}" dt="2024-02-27T16:46:20.270" v="1210" actId="478"/>
          <ac:cxnSpMkLst>
            <pc:docMk/>
            <pc:sldMk cId="459806595" sldId="580"/>
            <ac:cxnSpMk id="272" creationId="{390E2006-96FD-ED8E-1B20-F5D91B392AE6}"/>
          </ac:cxnSpMkLst>
        </pc:cxnChg>
        <pc:cxnChg chg="del ord replST">
          <ac:chgData name="Bullinger, Marvin" userId="5b54ce5a-dc89-476f-af33-5abd75d5b1e8" providerId="ADAL" clId="{43B71669-8A80-4333-9349-B258A9296B49}" dt="2024-02-27T16:46:20.270" v="1211" actId="478"/>
          <ac:cxnSpMkLst>
            <pc:docMk/>
            <pc:sldMk cId="459806595" sldId="580"/>
            <ac:cxnSpMk id="275" creationId="{9AD247E8-2DB4-C73C-8B2D-87129A256B75}"/>
          </ac:cxnSpMkLst>
        </pc:cxnChg>
        <pc:cxnChg chg="del ord replST">
          <ac:chgData name="Bullinger, Marvin" userId="5b54ce5a-dc89-476f-af33-5abd75d5b1e8" providerId="ADAL" clId="{43B71669-8A80-4333-9349-B258A9296B49}" dt="2024-02-27T16:46:20.285" v="1212" actId="478"/>
          <ac:cxnSpMkLst>
            <pc:docMk/>
            <pc:sldMk cId="459806595" sldId="580"/>
            <ac:cxnSpMk id="278" creationId="{0AEC0C45-E7DF-5A3A-05DF-27F5E7BB8E82}"/>
          </ac:cxnSpMkLst>
        </pc:cxnChg>
        <pc:cxnChg chg="del ord replST">
          <ac:chgData name="Bullinger, Marvin" userId="5b54ce5a-dc89-476f-af33-5abd75d5b1e8" providerId="ADAL" clId="{43B71669-8A80-4333-9349-B258A9296B49}" dt="2024-02-27T16:46:20.285" v="1213" actId="478"/>
          <ac:cxnSpMkLst>
            <pc:docMk/>
            <pc:sldMk cId="459806595" sldId="580"/>
            <ac:cxnSpMk id="279" creationId="{DEA1E485-EADC-807C-1838-D21C5200D2CA}"/>
          </ac:cxnSpMkLst>
        </pc:cxnChg>
        <pc:cxnChg chg="add del ord replST">
          <ac:chgData name="Bullinger, Marvin" userId="5b54ce5a-dc89-476f-af33-5abd75d5b1e8" providerId="ADAL" clId="{43B71669-8A80-4333-9349-B258A9296B49}" dt="2024-02-27T17:21:07.342" v="3584" actId="478"/>
          <ac:cxnSpMkLst>
            <pc:docMk/>
            <pc:sldMk cId="459806595" sldId="580"/>
            <ac:cxnSpMk id="359" creationId="{71781F93-9C5C-7DB3-17AE-48AB839418F8}"/>
          </ac:cxnSpMkLst>
        </pc:cxnChg>
        <pc:cxnChg chg="add del ord replST">
          <ac:chgData name="Bullinger, Marvin" userId="5b54ce5a-dc89-476f-af33-5abd75d5b1e8" providerId="ADAL" clId="{43B71669-8A80-4333-9349-B258A9296B49}" dt="2024-02-27T17:21:07.342" v="3585" actId="478"/>
          <ac:cxnSpMkLst>
            <pc:docMk/>
            <pc:sldMk cId="459806595" sldId="580"/>
            <ac:cxnSpMk id="362" creationId="{20BF8B59-053F-4D89-B68A-7762459D88CD}"/>
          </ac:cxnSpMkLst>
        </pc:cxnChg>
        <pc:cxnChg chg="add del ord replST">
          <ac:chgData name="Bullinger, Marvin" userId="5b54ce5a-dc89-476f-af33-5abd75d5b1e8" providerId="ADAL" clId="{43B71669-8A80-4333-9349-B258A9296B49}" dt="2024-02-27T17:21:07.350" v="3587" actId="478"/>
          <ac:cxnSpMkLst>
            <pc:docMk/>
            <pc:sldMk cId="459806595" sldId="580"/>
            <ac:cxnSpMk id="368" creationId="{95257E32-04BD-619E-F288-B8E39322D23C}"/>
          </ac:cxnSpMkLst>
        </pc:cxnChg>
        <pc:cxnChg chg="add del ord replST">
          <ac:chgData name="Bullinger, Marvin" userId="5b54ce5a-dc89-476f-af33-5abd75d5b1e8" providerId="ADAL" clId="{43B71669-8A80-4333-9349-B258A9296B49}" dt="2024-02-27T17:21:07.350" v="3588" actId="478"/>
          <ac:cxnSpMkLst>
            <pc:docMk/>
            <pc:sldMk cId="459806595" sldId="580"/>
            <ac:cxnSpMk id="371" creationId="{3375A280-2486-7761-C399-4817F39ADF94}"/>
          </ac:cxnSpMkLst>
        </pc:cxnChg>
        <pc:cxnChg chg="add del ord replST">
          <ac:chgData name="Bullinger, Marvin" userId="5b54ce5a-dc89-476f-af33-5abd75d5b1e8" providerId="ADAL" clId="{43B71669-8A80-4333-9349-B258A9296B49}" dt="2024-02-27T17:21:07.350" v="3589" actId="478"/>
          <ac:cxnSpMkLst>
            <pc:docMk/>
            <pc:sldMk cId="459806595" sldId="580"/>
            <ac:cxnSpMk id="374" creationId="{DEEAE660-BD68-CC34-DD88-7820648DA91D}"/>
          </ac:cxnSpMkLst>
        </pc:cxnChg>
        <pc:cxnChg chg="add del ord replST">
          <ac:chgData name="Bullinger, Marvin" userId="5b54ce5a-dc89-476f-af33-5abd75d5b1e8" providerId="ADAL" clId="{43B71669-8A80-4333-9349-B258A9296B49}" dt="2024-02-27T17:21:07.350" v="3590" actId="478"/>
          <ac:cxnSpMkLst>
            <pc:docMk/>
            <pc:sldMk cId="459806595" sldId="580"/>
            <ac:cxnSpMk id="375" creationId="{2C6C15D0-DAE0-B3EC-D094-4396FB8640FD}"/>
          </ac:cxnSpMkLst>
        </pc:cxnChg>
        <pc:cxnChg chg="del ord replST">
          <ac:chgData name="Bullinger, Marvin" userId="5b54ce5a-dc89-476f-af33-5abd75d5b1e8" providerId="ADAL" clId="{43B71669-8A80-4333-9349-B258A9296B49}" dt="2024-02-27T17:26:23.196" v="4545" actId="478"/>
          <ac:cxnSpMkLst>
            <pc:docMk/>
            <pc:sldMk cId="459806595" sldId="580"/>
            <ac:cxnSpMk id="391" creationId="{F5B35214-338E-533D-3348-C1BA0EB2FC3F}"/>
          </ac:cxnSpMkLst>
        </pc:cxnChg>
        <pc:cxnChg chg="del ord replST">
          <ac:chgData name="Bullinger, Marvin" userId="5b54ce5a-dc89-476f-af33-5abd75d5b1e8" providerId="ADAL" clId="{43B71669-8A80-4333-9349-B258A9296B49}" dt="2024-02-27T17:26:23.196" v="4546" actId="478"/>
          <ac:cxnSpMkLst>
            <pc:docMk/>
            <pc:sldMk cId="459806595" sldId="580"/>
            <ac:cxnSpMk id="394" creationId="{9E3A6A83-EB6C-4BEB-DEB7-3F305300CFDF}"/>
          </ac:cxnSpMkLst>
        </pc:cxnChg>
        <pc:cxnChg chg="del ord replST">
          <ac:chgData name="Bullinger, Marvin" userId="5b54ce5a-dc89-476f-af33-5abd75d5b1e8" providerId="ADAL" clId="{43B71669-8A80-4333-9349-B258A9296B49}" dt="2024-02-27T17:26:23.196" v="4548" actId="478"/>
          <ac:cxnSpMkLst>
            <pc:docMk/>
            <pc:sldMk cId="459806595" sldId="580"/>
            <ac:cxnSpMk id="400" creationId="{93BE3324-C347-69D6-FA7C-43A0811A39BB}"/>
          </ac:cxnSpMkLst>
        </pc:cxnChg>
        <pc:cxnChg chg="del ord replST">
          <ac:chgData name="Bullinger, Marvin" userId="5b54ce5a-dc89-476f-af33-5abd75d5b1e8" providerId="ADAL" clId="{43B71669-8A80-4333-9349-B258A9296B49}" dt="2024-02-27T17:26:23.196" v="4549" actId="478"/>
          <ac:cxnSpMkLst>
            <pc:docMk/>
            <pc:sldMk cId="459806595" sldId="580"/>
            <ac:cxnSpMk id="403" creationId="{24E8AD58-C4E9-020C-6DA5-004468AC62AD}"/>
          </ac:cxnSpMkLst>
        </pc:cxnChg>
        <pc:cxnChg chg="del ord replST">
          <ac:chgData name="Bullinger, Marvin" userId="5b54ce5a-dc89-476f-af33-5abd75d5b1e8" providerId="ADAL" clId="{43B71669-8A80-4333-9349-B258A9296B49}" dt="2024-02-27T17:26:23.196" v="4550" actId="478"/>
          <ac:cxnSpMkLst>
            <pc:docMk/>
            <pc:sldMk cId="459806595" sldId="580"/>
            <ac:cxnSpMk id="406" creationId="{D33DE4F6-C71C-4FE1-E7FA-354B6865C574}"/>
          </ac:cxnSpMkLst>
        </pc:cxnChg>
        <pc:cxnChg chg="del ord replST">
          <ac:chgData name="Bullinger, Marvin" userId="5b54ce5a-dc89-476f-af33-5abd75d5b1e8" providerId="ADAL" clId="{43B71669-8A80-4333-9349-B258A9296B49}" dt="2024-02-27T17:26:23.196" v="4551" actId="478"/>
          <ac:cxnSpMkLst>
            <pc:docMk/>
            <pc:sldMk cId="459806595" sldId="580"/>
            <ac:cxnSpMk id="409" creationId="{338F06BD-C89D-E8B1-560C-C9423B2D158E}"/>
          </ac:cxnSpMkLst>
        </pc:cxnChg>
        <pc:cxnChg chg="del ord replST">
          <ac:chgData name="Bullinger, Marvin" userId="5b54ce5a-dc89-476f-af33-5abd75d5b1e8" providerId="ADAL" clId="{43B71669-8A80-4333-9349-B258A9296B49}" dt="2024-02-27T17:26:23.196" v="4552" actId="478"/>
          <ac:cxnSpMkLst>
            <pc:docMk/>
            <pc:sldMk cId="459806595" sldId="580"/>
            <ac:cxnSpMk id="410" creationId="{8BCB61ED-D0D5-DF86-B4FD-0822B1DB8CA0}"/>
          </ac:cxnSpMkLst>
        </pc:cxnChg>
        <pc:cxnChg chg="mod ord replST delST">
          <ac:chgData name="Bullinger, Marvin" userId="5b54ce5a-dc89-476f-af33-5abd75d5b1e8" providerId="ADAL" clId="{43B71669-8A80-4333-9349-B258A9296B49}" dt="2024-02-27T16:53:49.050" v="3382"/>
          <ac:cxnSpMkLst>
            <pc:docMk/>
            <pc:sldMk cId="459806595" sldId="580"/>
            <ac:cxnSpMk id="455" creationId="{7FEAC84A-15D7-64AE-D35F-05D776254A5E}"/>
          </ac:cxnSpMkLst>
        </pc:cxnChg>
        <pc:cxnChg chg="mod ord replST delST">
          <ac:chgData name="Bullinger, Marvin" userId="5b54ce5a-dc89-476f-af33-5abd75d5b1e8" providerId="ADAL" clId="{43B71669-8A80-4333-9349-B258A9296B49}" dt="2024-02-27T16:53:49.050" v="3382"/>
          <ac:cxnSpMkLst>
            <pc:docMk/>
            <pc:sldMk cId="459806595" sldId="580"/>
            <ac:cxnSpMk id="458" creationId="{C4E5AF37-10A5-8FA9-7689-A30183FE541B}"/>
          </ac:cxnSpMkLst>
        </pc:cxnChg>
        <pc:cxnChg chg="mod ord replST delST">
          <ac:chgData name="Bullinger, Marvin" userId="5b54ce5a-dc89-476f-af33-5abd75d5b1e8" providerId="ADAL" clId="{43B71669-8A80-4333-9349-B258A9296B49}" dt="2024-02-27T16:53:49.050" v="3382"/>
          <ac:cxnSpMkLst>
            <pc:docMk/>
            <pc:sldMk cId="459806595" sldId="580"/>
            <ac:cxnSpMk id="464" creationId="{F705C8AD-1841-4DF3-09BC-E067AE6DC445}"/>
          </ac:cxnSpMkLst>
        </pc:cxnChg>
        <pc:cxnChg chg="mod ord replST delST">
          <ac:chgData name="Bullinger, Marvin" userId="5b54ce5a-dc89-476f-af33-5abd75d5b1e8" providerId="ADAL" clId="{43B71669-8A80-4333-9349-B258A9296B49}" dt="2024-02-27T16:53:49.050" v="3382"/>
          <ac:cxnSpMkLst>
            <pc:docMk/>
            <pc:sldMk cId="459806595" sldId="580"/>
            <ac:cxnSpMk id="467" creationId="{99BD2F64-D5F4-8327-BBE2-3D0DF8C4A79D}"/>
          </ac:cxnSpMkLst>
        </pc:cxnChg>
        <pc:cxnChg chg="mod ord replST delST">
          <ac:chgData name="Bullinger, Marvin" userId="5b54ce5a-dc89-476f-af33-5abd75d5b1e8" providerId="ADAL" clId="{43B71669-8A80-4333-9349-B258A9296B49}" dt="2024-02-27T16:53:49.050" v="3382"/>
          <ac:cxnSpMkLst>
            <pc:docMk/>
            <pc:sldMk cId="459806595" sldId="580"/>
            <ac:cxnSpMk id="470" creationId="{E4A9FA12-EFEA-2558-435D-793633512378}"/>
          </ac:cxnSpMkLst>
        </pc:cxnChg>
        <pc:cxnChg chg="mod ord replST delST">
          <ac:chgData name="Bullinger, Marvin" userId="5b54ce5a-dc89-476f-af33-5abd75d5b1e8" providerId="ADAL" clId="{43B71669-8A80-4333-9349-B258A9296B49}" dt="2024-02-27T16:53:49.050" v="3382"/>
          <ac:cxnSpMkLst>
            <pc:docMk/>
            <pc:sldMk cId="459806595" sldId="580"/>
            <ac:cxnSpMk id="471" creationId="{EAF56DE8-0A60-3E06-30DC-18C5B2EC8C3F}"/>
          </ac:cxnSpMkLst>
        </pc:cxnChg>
        <pc:cxnChg chg="del ord replST">
          <ac:chgData name="Bullinger, Marvin" userId="5b54ce5a-dc89-476f-af33-5abd75d5b1e8" providerId="ADAL" clId="{43B71669-8A80-4333-9349-B258A9296B49}" dt="2024-02-27T17:26:59.172" v="5875" actId="478"/>
          <ac:cxnSpMkLst>
            <pc:docMk/>
            <pc:sldMk cId="459806595" sldId="580"/>
            <ac:cxnSpMk id="490" creationId="{DB8B9595-7BBB-0363-9726-187219B7E3FF}"/>
          </ac:cxnSpMkLst>
        </pc:cxnChg>
        <pc:cxnChg chg="del ord replST">
          <ac:chgData name="Bullinger, Marvin" userId="5b54ce5a-dc89-476f-af33-5abd75d5b1e8" providerId="ADAL" clId="{43B71669-8A80-4333-9349-B258A9296B49}" dt="2024-02-27T17:26:59.172" v="5876" actId="478"/>
          <ac:cxnSpMkLst>
            <pc:docMk/>
            <pc:sldMk cId="459806595" sldId="580"/>
            <ac:cxnSpMk id="493" creationId="{E68B493B-A502-2D0A-0F74-921FE2B1F7D4}"/>
          </ac:cxnSpMkLst>
        </pc:cxnChg>
        <pc:cxnChg chg="del ord replST">
          <ac:chgData name="Bullinger, Marvin" userId="5b54ce5a-dc89-476f-af33-5abd75d5b1e8" providerId="ADAL" clId="{43B71669-8A80-4333-9349-B258A9296B49}" dt="2024-02-27T17:26:59.189" v="5878" actId="478"/>
          <ac:cxnSpMkLst>
            <pc:docMk/>
            <pc:sldMk cId="459806595" sldId="580"/>
            <ac:cxnSpMk id="499" creationId="{40D8EA55-B8E2-AD20-8858-60412614F103}"/>
          </ac:cxnSpMkLst>
        </pc:cxnChg>
        <pc:cxnChg chg="del ord replST">
          <ac:chgData name="Bullinger, Marvin" userId="5b54ce5a-dc89-476f-af33-5abd75d5b1e8" providerId="ADAL" clId="{43B71669-8A80-4333-9349-B258A9296B49}" dt="2024-02-27T17:26:59.189" v="5879" actId="478"/>
          <ac:cxnSpMkLst>
            <pc:docMk/>
            <pc:sldMk cId="459806595" sldId="580"/>
            <ac:cxnSpMk id="502" creationId="{122F09E0-6C5C-CD55-C84C-225E8AACF2DE}"/>
          </ac:cxnSpMkLst>
        </pc:cxnChg>
        <pc:cxnChg chg="del ord replST">
          <ac:chgData name="Bullinger, Marvin" userId="5b54ce5a-dc89-476f-af33-5abd75d5b1e8" providerId="ADAL" clId="{43B71669-8A80-4333-9349-B258A9296B49}" dt="2024-02-27T17:26:59.189" v="5880" actId="478"/>
          <ac:cxnSpMkLst>
            <pc:docMk/>
            <pc:sldMk cId="459806595" sldId="580"/>
            <ac:cxnSpMk id="505" creationId="{3C2A100E-5581-AE05-786B-F5FE2315ED0A}"/>
          </ac:cxnSpMkLst>
        </pc:cxnChg>
        <pc:cxnChg chg="del ord replST">
          <ac:chgData name="Bullinger, Marvin" userId="5b54ce5a-dc89-476f-af33-5abd75d5b1e8" providerId="ADAL" clId="{43B71669-8A80-4333-9349-B258A9296B49}" dt="2024-02-27T17:26:59.189" v="5881" actId="478"/>
          <ac:cxnSpMkLst>
            <pc:docMk/>
            <pc:sldMk cId="459806595" sldId="580"/>
            <ac:cxnSpMk id="508" creationId="{8E881A6B-C700-C715-1CA6-3FD8261342D0}"/>
          </ac:cxnSpMkLst>
        </pc:cxnChg>
        <pc:cxnChg chg="del ord replST">
          <ac:chgData name="Bullinger, Marvin" userId="5b54ce5a-dc89-476f-af33-5abd75d5b1e8" providerId="ADAL" clId="{43B71669-8A80-4333-9349-B258A9296B49}" dt="2024-02-27T17:26:59.189" v="5882" actId="478"/>
          <ac:cxnSpMkLst>
            <pc:docMk/>
            <pc:sldMk cId="459806595" sldId="580"/>
            <ac:cxnSpMk id="511" creationId="{77024E73-72F5-5F8A-0457-DDE4CF6F4A05}"/>
          </ac:cxnSpMkLst>
        </pc:cxnChg>
        <pc:cxnChg chg="del ord replST">
          <ac:chgData name="Bullinger, Marvin" userId="5b54ce5a-dc89-476f-af33-5abd75d5b1e8" providerId="ADAL" clId="{43B71669-8A80-4333-9349-B258A9296B49}" dt="2024-02-27T17:26:59.189" v="5883" actId="478"/>
          <ac:cxnSpMkLst>
            <pc:docMk/>
            <pc:sldMk cId="459806595" sldId="580"/>
            <ac:cxnSpMk id="514" creationId="{492F8D14-2B01-BBFE-4A38-8B99379BE90A}"/>
          </ac:cxnSpMkLst>
        </pc:cxnChg>
        <pc:cxnChg chg="del ord replST">
          <ac:chgData name="Bullinger, Marvin" userId="5b54ce5a-dc89-476f-af33-5abd75d5b1e8" providerId="ADAL" clId="{43B71669-8A80-4333-9349-B258A9296B49}" dt="2024-02-27T17:26:59.189" v="5884" actId="478"/>
          <ac:cxnSpMkLst>
            <pc:docMk/>
            <pc:sldMk cId="459806595" sldId="580"/>
            <ac:cxnSpMk id="515" creationId="{25F35329-A2DC-8261-A807-CDE488114471}"/>
          </ac:cxnSpMkLst>
        </pc:cxnChg>
        <pc:cxnChg chg="del ord replST">
          <ac:chgData name="Bullinger, Marvin" userId="5b54ce5a-dc89-476f-af33-5abd75d5b1e8" providerId="ADAL" clId="{43B71669-8A80-4333-9349-B258A9296B49}" dt="2024-02-27T17:27:36.883" v="6980" actId="478"/>
          <ac:cxnSpMkLst>
            <pc:docMk/>
            <pc:sldMk cId="459806595" sldId="580"/>
            <ac:cxnSpMk id="595" creationId="{D29869E2-A281-01A8-F54D-71F340E0BA47}"/>
          </ac:cxnSpMkLst>
        </pc:cxnChg>
        <pc:cxnChg chg="del ord replST">
          <ac:chgData name="Bullinger, Marvin" userId="5b54ce5a-dc89-476f-af33-5abd75d5b1e8" providerId="ADAL" clId="{43B71669-8A80-4333-9349-B258A9296B49}" dt="2024-02-27T17:27:36.883" v="6981" actId="478"/>
          <ac:cxnSpMkLst>
            <pc:docMk/>
            <pc:sldMk cId="459806595" sldId="580"/>
            <ac:cxnSpMk id="598" creationId="{142528F2-12F8-BEB1-9FFF-AD4000FA8EC5}"/>
          </ac:cxnSpMkLst>
        </pc:cxnChg>
        <pc:cxnChg chg="del ord replST">
          <ac:chgData name="Bullinger, Marvin" userId="5b54ce5a-dc89-476f-af33-5abd75d5b1e8" providerId="ADAL" clId="{43B71669-8A80-4333-9349-B258A9296B49}" dt="2024-02-27T17:27:36.891" v="6983" actId="478"/>
          <ac:cxnSpMkLst>
            <pc:docMk/>
            <pc:sldMk cId="459806595" sldId="580"/>
            <ac:cxnSpMk id="604" creationId="{421A1A58-5848-A369-C251-58F87DFB99D8}"/>
          </ac:cxnSpMkLst>
        </pc:cxnChg>
        <pc:cxnChg chg="del ord replST">
          <ac:chgData name="Bullinger, Marvin" userId="5b54ce5a-dc89-476f-af33-5abd75d5b1e8" providerId="ADAL" clId="{43B71669-8A80-4333-9349-B258A9296B49}" dt="2024-02-27T17:27:36.891" v="6984" actId="478"/>
          <ac:cxnSpMkLst>
            <pc:docMk/>
            <pc:sldMk cId="459806595" sldId="580"/>
            <ac:cxnSpMk id="607" creationId="{B1B3F17D-AAA2-1D44-D182-9CB7DA0DAD7D}"/>
          </ac:cxnSpMkLst>
        </pc:cxnChg>
        <pc:cxnChg chg="del ord replST">
          <ac:chgData name="Bullinger, Marvin" userId="5b54ce5a-dc89-476f-af33-5abd75d5b1e8" providerId="ADAL" clId="{43B71669-8A80-4333-9349-B258A9296B49}" dt="2024-02-27T17:27:36.891" v="6985" actId="478"/>
          <ac:cxnSpMkLst>
            <pc:docMk/>
            <pc:sldMk cId="459806595" sldId="580"/>
            <ac:cxnSpMk id="610" creationId="{49C6264B-19DA-6205-CB56-1517B58B63DE}"/>
          </ac:cxnSpMkLst>
        </pc:cxnChg>
        <pc:cxnChg chg="del ord replST">
          <ac:chgData name="Bullinger, Marvin" userId="5b54ce5a-dc89-476f-af33-5abd75d5b1e8" providerId="ADAL" clId="{43B71669-8A80-4333-9349-B258A9296B49}" dt="2024-02-27T17:27:36.891" v="6986" actId="478"/>
          <ac:cxnSpMkLst>
            <pc:docMk/>
            <pc:sldMk cId="459806595" sldId="580"/>
            <ac:cxnSpMk id="613" creationId="{9C54F89C-6322-62FC-34D3-99C725229D3B}"/>
          </ac:cxnSpMkLst>
        </pc:cxnChg>
        <pc:cxnChg chg="del ord replST">
          <ac:chgData name="Bullinger, Marvin" userId="5b54ce5a-dc89-476f-af33-5abd75d5b1e8" providerId="ADAL" clId="{43B71669-8A80-4333-9349-B258A9296B49}" dt="2024-02-27T17:27:36.891" v="6987" actId="478"/>
          <ac:cxnSpMkLst>
            <pc:docMk/>
            <pc:sldMk cId="459806595" sldId="580"/>
            <ac:cxnSpMk id="616" creationId="{AE77B97A-5883-20FF-B42E-466FCBD59F8E}"/>
          </ac:cxnSpMkLst>
        </pc:cxnChg>
        <pc:cxnChg chg="del ord replST">
          <ac:chgData name="Bullinger, Marvin" userId="5b54ce5a-dc89-476f-af33-5abd75d5b1e8" providerId="ADAL" clId="{43B71669-8A80-4333-9349-B258A9296B49}" dt="2024-02-27T17:27:36.891" v="6988" actId="478"/>
          <ac:cxnSpMkLst>
            <pc:docMk/>
            <pc:sldMk cId="459806595" sldId="580"/>
            <ac:cxnSpMk id="617" creationId="{7E0A8EB7-1760-9B02-C427-1641949CF4A5}"/>
          </ac:cxnSpMkLst>
        </pc:cxnChg>
        <pc:cxnChg chg="ord replST">
          <ac:chgData name="Bullinger, Marvin" userId="5b54ce5a-dc89-476f-af33-5abd75d5b1e8" providerId="ADAL" clId="{43B71669-8A80-4333-9349-B258A9296B49}" dt="2024-02-27T17:27:37.691" v="7435"/>
          <ac:cxnSpMkLst>
            <pc:docMk/>
            <pc:sldMk cId="459806595" sldId="580"/>
            <ac:cxnSpMk id="697" creationId="{9663FDB6-AAB7-D961-926F-5AA0BD7FCF66}"/>
          </ac:cxnSpMkLst>
        </pc:cxnChg>
        <pc:cxnChg chg="ord replST">
          <ac:chgData name="Bullinger, Marvin" userId="5b54ce5a-dc89-476f-af33-5abd75d5b1e8" providerId="ADAL" clId="{43B71669-8A80-4333-9349-B258A9296B49}" dt="2024-02-27T17:27:37.691" v="7437"/>
          <ac:cxnSpMkLst>
            <pc:docMk/>
            <pc:sldMk cId="459806595" sldId="580"/>
            <ac:cxnSpMk id="703" creationId="{82752B00-7FB8-BA7A-D3B1-6280CA59BAB4}"/>
          </ac:cxnSpMkLst>
        </pc:cxnChg>
        <pc:cxnChg chg="ord replST">
          <ac:chgData name="Bullinger, Marvin" userId="5b54ce5a-dc89-476f-af33-5abd75d5b1e8" providerId="ADAL" clId="{43B71669-8A80-4333-9349-B258A9296B49}" dt="2024-02-27T17:27:37.691" v="7438"/>
          <ac:cxnSpMkLst>
            <pc:docMk/>
            <pc:sldMk cId="459806595" sldId="580"/>
            <ac:cxnSpMk id="706" creationId="{1568D633-5838-4469-FD22-EFE1A5EAD8DE}"/>
          </ac:cxnSpMkLst>
        </pc:cxnChg>
        <pc:cxnChg chg="ord replST">
          <ac:chgData name="Bullinger, Marvin" userId="5b54ce5a-dc89-476f-af33-5abd75d5b1e8" providerId="ADAL" clId="{43B71669-8A80-4333-9349-B258A9296B49}" dt="2024-02-27T17:27:37.691" v="7439"/>
          <ac:cxnSpMkLst>
            <pc:docMk/>
            <pc:sldMk cId="459806595" sldId="580"/>
            <ac:cxnSpMk id="709" creationId="{903E06C1-FAF4-9C0C-2301-186A9E26F3C3}"/>
          </ac:cxnSpMkLst>
        </pc:cxnChg>
        <pc:cxnChg chg="ord replST">
          <ac:chgData name="Bullinger, Marvin" userId="5b54ce5a-dc89-476f-af33-5abd75d5b1e8" providerId="ADAL" clId="{43B71669-8A80-4333-9349-B258A9296B49}" dt="2024-02-27T17:27:37.691" v="7440"/>
          <ac:cxnSpMkLst>
            <pc:docMk/>
            <pc:sldMk cId="459806595" sldId="580"/>
            <ac:cxnSpMk id="712" creationId="{86740ABB-5186-3D1D-B3BF-DEA42569D0EF}"/>
          </ac:cxnSpMkLst>
        </pc:cxnChg>
        <pc:cxnChg chg="ord replST">
          <ac:chgData name="Bullinger, Marvin" userId="5b54ce5a-dc89-476f-af33-5abd75d5b1e8" providerId="ADAL" clId="{43B71669-8A80-4333-9349-B258A9296B49}" dt="2024-02-27T17:27:37.691" v="7441"/>
          <ac:cxnSpMkLst>
            <pc:docMk/>
            <pc:sldMk cId="459806595" sldId="580"/>
            <ac:cxnSpMk id="715" creationId="{59CABC16-45D2-8D85-5078-B9BEBEC503A6}"/>
          </ac:cxnSpMkLst>
        </pc:cxnChg>
        <pc:cxnChg chg="ord replST">
          <ac:chgData name="Bullinger, Marvin" userId="5b54ce5a-dc89-476f-af33-5abd75d5b1e8" providerId="ADAL" clId="{43B71669-8A80-4333-9349-B258A9296B49}" dt="2024-02-27T17:27:37.700" v="7442"/>
          <ac:cxnSpMkLst>
            <pc:docMk/>
            <pc:sldMk cId="459806595" sldId="580"/>
            <ac:cxnSpMk id="716" creationId="{376C8D26-D870-5558-F0EF-2F628C81FEBB}"/>
          </ac:cxnSpMkLst>
        </pc:cxnChg>
      </pc:sldChg>
      <pc:sldChg chg="addSp delSp modSp mod ord modTransition">
        <pc:chgData name="Bullinger, Marvin" userId="5b54ce5a-dc89-476f-af33-5abd75d5b1e8" providerId="ADAL" clId="{43B71669-8A80-4333-9349-B258A9296B49}" dt="2024-02-27T17:27:37.961" v="7564"/>
        <pc:sldMkLst>
          <pc:docMk/>
          <pc:sldMk cId="965765845" sldId="581"/>
        </pc:sldMkLst>
        <pc:spChg chg="mod">
          <ac:chgData name="Bullinger, Marvin" userId="5b54ce5a-dc89-476f-af33-5abd75d5b1e8" providerId="ADAL" clId="{43B71669-8A80-4333-9349-B258A9296B49}" dt="2024-02-27T16:53:49.050" v="3382"/>
          <ac:spMkLst>
            <pc:docMk/>
            <pc:sldMk cId="965765845" sldId="581"/>
            <ac:spMk id="26" creationId="{5C1FC366-31A2-CE62-BF6F-1BE5CF4F0D28}"/>
          </ac:spMkLst>
        </pc:spChg>
        <pc:spChg chg="mod">
          <ac:chgData name="Bullinger, Marvin" userId="5b54ce5a-dc89-476f-af33-5abd75d5b1e8" providerId="ADAL" clId="{43B71669-8A80-4333-9349-B258A9296B49}" dt="2024-02-27T16:53:49.050" v="3382"/>
          <ac:spMkLst>
            <pc:docMk/>
            <pc:sldMk cId="965765845" sldId="581"/>
            <ac:spMk id="27" creationId="{7294C434-AD20-A40C-9BCA-974F2B5EB8A0}"/>
          </ac:spMkLst>
        </pc:spChg>
        <pc:spChg chg="del">
          <ac:chgData name="Bullinger, Marvin" userId="5b54ce5a-dc89-476f-af33-5abd75d5b1e8" providerId="ADAL" clId="{43B71669-8A80-4333-9349-B258A9296B49}" dt="2024-02-27T16:45:50.075" v="508" actId="478"/>
          <ac:spMkLst>
            <pc:docMk/>
            <pc:sldMk cId="965765845" sldId="581"/>
            <ac:spMk id="192" creationId="{7CC3353A-9171-5C7C-99B6-94214EAF7806}"/>
          </ac:spMkLst>
        </pc:spChg>
        <pc:spChg chg="del">
          <ac:chgData name="Bullinger, Marvin" userId="5b54ce5a-dc89-476f-af33-5abd75d5b1e8" providerId="ADAL" clId="{43B71669-8A80-4333-9349-B258A9296B49}" dt="2024-02-27T16:45:50.075" v="507" actId="478"/>
          <ac:spMkLst>
            <pc:docMk/>
            <pc:sldMk cId="965765845" sldId="581"/>
            <ac:spMk id="193" creationId="{79C2DE13-B2C9-554B-4C81-4A2CF46AB1BA}"/>
          </ac:spMkLst>
        </pc:spChg>
        <pc:spChg chg="del">
          <ac:chgData name="Bullinger, Marvin" userId="5b54ce5a-dc89-476f-af33-5abd75d5b1e8" providerId="ADAL" clId="{43B71669-8A80-4333-9349-B258A9296B49}" dt="2024-02-27T16:45:50.075" v="506" actId="478"/>
          <ac:spMkLst>
            <pc:docMk/>
            <pc:sldMk cId="965765845" sldId="581"/>
            <ac:spMk id="194" creationId="{3E7600CB-A8F6-2514-7D06-1318BB9B4DA1}"/>
          </ac:spMkLst>
        </pc:spChg>
        <pc:spChg chg="del">
          <ac:chgData name="Bullinger, Marvin" userId="5b54ce5a-dc89-476f-af33-5abd75d5b1e8" providerId="ADAL" clId="{43B71669-8A80-4333-9349-B258A9296B49}" dt="2024-02-27T16:45:50.075" v="505" actId="478"/>
          <ac:spMkLst>
            <pc:docMk/>
            <pc:sldMk cId="965765845" sldId="581"/>
            <ac:spMk id="195" creationId="{66FD7CDC-9C52-D410-39EC-885222FD7E6B}"/>
          </ac:spMkLst>
        </pc:spChg>
        <pc:spChg chg="del">
          <ac:chgData name="Bullinger, Marvin" userId="5b54ce5a-dc89-476f-af33-5abd75d5b1e8" providerId="ADAL" clId="{43B71669-8A80-4333-9349-B258A9296B49}" dt="2024-02-27T16:45:50.075" v="504" actId="478"/>
          <ac:spMkLst>
            <pc:docMk/>
            <pc:sldMk cId="965765845" sldId="581"/>
            <ac:spMk id="196" creationId="{A2D740C3-C2C0-5806-6F15-5FC3F48C1392}"/>
          </ac:spMkLst>
        </pc:spChg>
        <pc:spChg chg="del">
          <ac:chgData name="Bullinger, Marvin" userId="5b54ce5a-dc89-476f-af33-5abd75d5b1e8" providerId="ADAL" clId="{43B71669-8A80-4333-9349-B258A9296B49}" dt="2024-02-27T16:45:50.075" v="501" actId="478"/>
          <ac:spMkLst>
            <pc:docMk/>
            <pc:sldMk cId="965765845" sldId="581"/>
            <ac:spMk id="197" creationId="{DD2A2F81-4E90-FDC9-578C-DFD5FDCC6599}"/>
          </ac:spMkLst>
        </pc:spChg>
        <pc:spChg chg="del">
          <ac:chgData name="Bullinger, Marvin" userId="5b54ce5a-dc89-476f-af33-5abd75d5b1e8" providerId="ADAL" clId="{43B71669-8A80-4333-9349-B258A9296B49}" dt="2024-02-27T16:45:50.075" v="500" actId="478"/>
          <ac:spMkLst>
            <pc:docMk/>
            <pc:sldMk cId="965765845" sldId="581"/>
            <ac:spMk id="198" creationId="{67FF7B74-322C-EFD7-BD7C-D6E45F605CB7}"/>
          </ac:spMkLst>
        </pc:spChg>
        <pc:spChg chg="del">
          <ac:chgData name="Bullinger, Marvin" userId="5b54ce5a-dc89-476f-af33-5abd75d5b1e8" providerId="ADAL" clId="{43B71669-8A80-4333-9349-B258A9296B49}" dt="2024-02-27T16:45:50.059" v="473" actId="478"/>
          <ac:spMkLst>
            <pc:docMk/>
            <pc:sldMk cId="965765845" sldId="581"/>
            <ac:spMk id="199" creationId="{D3FD3AA9-742E-569B-94B4-E20DE827095A}"/>
          </ac:spMkLst>
        </pc:spChg>
        <pc:spChg chg="del">
          <ac:chgData name="Bullinger, Marvin" userId="5b54ce5a-dc89-476f-af33-5abd75d5b1e8" providerId="ADAL" clId="{43B71669-8A80-4333-9349-B258A9296B49}" dt="2024-02-27T16:45:50.075" v="499" actId="478"/>
          <ac:spMkLst>
            <pc:docMk/>
            <pc:sldMk cId="965765845" sldId="581"/>
            <ac:spMk id="200" creationId="{A5327DA7-C2C4-3A10-894C-CEDDE4756217}"/>
          </ac:spMkLst>
        </pc:spChg>
        <pc:spChg chg="del">
          <ac:chgData name="Bullinger, Marvin" userId="5b54ce5a-dc89-476f-af33-5abd75d5b1e8" providerId="ADAL" clId="{43B71669-8A80-4333-9349-B258A9296B49}" dt="2024-02-27T16:45:50.075" v="498" actId="478"/>
          <ac:spMkLst>
            <pc:docMk/>
            <pc:sldMk cId="965765845" sldId="581"/>
            <ac:spMk id="201" creationId="{A9399B43-0A7B-49F2-0C6E-8DADCA52D27C}"/>
          </ac:spMkLst>
        </pc:spChg>
        <pc:spChg chg="del">
          <ac:chgData name="Bullinger, Marvin" userId="5b54ce5a-dc89-476f-af33-5abd75d5b1e8" providerId="ADAL" clId="{43B71669-8A80-4333-9349-B258A9296B49}" dt="2024-02-27T16:45:50.075" v="497" actId="478"/>
          <ac:spMkLst>
            <pc:docMk/>
            <pc:sldMk cId="965765845" sldId="581"/>
            <ac:spMk id="202" creationId="{F50A7310-D100-20A5-C419-BF2A0B5A2B8B}"/>
          </ac:spMkLst>
        </pc:spChg>
        <pc:spChg chg="del">
          <ac:chgData name="Bullinger, Marvin" userId="5b54ce5a-dc89-476f-af33-5abd75d5b1e8" providerId="ADAL" clId="{43B71669-8A80-4333-9349-B258A9296B49}" dt="2024-02-27T16:45:50.075" v="496" actId="478"/>
          <ac:spMkLst>
            <pc:docMk/>
            <pc:sldMk cId="965765845" sldId="581"/>
            <ac:spMk id="203" creationId="{7C4EFA83-5914-E5F0-EC91-3C96A67BAC0D}"/>
          </ac:spMkLst>
        </pc:spChg>
        <pc:spChg chg="del">
          <ac:chgData name="Bullinger, Marvin" userId="5b54ce5a-dc89-476f-af33-5abd75d5b1e8" providerId="ADAL" clId="{43B71669-8A80-4333-9349-B258A9296B49}" dt="2024-02-27T16:45:50.090" v="517" actId="478"/>
          <ac:spMkLst>
            <pc:docMk/>
            <pc:sldMk cId="965765845" sldId="581"/>
            <ac:spMk id="204" creationId="{88563081-553E-E776-0B7F-DE5487914AFA}"/>
          </ac:spMkLst>
        </pc:spChg>
        <pc:spChg chg="del">
          <ac:chgData name="Bullinger, Marvin" userId="5b54ce5a-dc89-476f-af33-5abd75d5b1e8" providerId="ADAL" clId="{43B71669-8A80-4333-9349-B258A9296B49}" dt="2024-02-27T16:45:50.090" v="516" actId="478"/>
          <ac:spMkLst>
            <pc:docMk/>
            <pc:sldMk cId="965765845" sldId="581"/>
            <ac:spMk id="205" creationId="{4CEFF748-DA94-629F-ED51-BD510B52B269}"/>
          </ac:spMkLst>
        </pc:spChg>
        <pc:spChg chg="del">
          <ac:chgData name="Bullinger, Marvin" userId="5b54ce5a-dc89-476f-af33-5abd75d5b1e8" providerId="ADAL" clId="{43B71669-8A80-4333-9349-B258A9296B49}" dt="2024-02-27T16:45:50.090" v="515" actId="478"/>
          <ac:spMkLst>
            <pc:docMk/>
            <pc:sldMk cId="965765845" sldId="581"/>
            <ac:spMk id="206" creationId="{CE1F30F5-4166-1BC1-FC17-F9ECE800D6A8}"/>
          </ac:spMkLst>
        </pc:spChg>
        <pc:spChg chg="del">
          <ac:chgData name="Bullinger, Marvin" userId="5b54ce5a-dc89-476f-af33-5abd75d5b1e8" providerId="ADAL" clId="{43B71669-8A80-4333-9349-B258A9296B49}" dt="2024-02-27T16:45:50.075" v="514" actId="478"/>
          <ac:spMkLst>
            <pc:docMk/>
            <pc:sldMk cId="965765845" sldId="581"/>
            <ac:spMk id="207" creationId="{D6DD2AFD-8DC9-1F3F-333D-690C23D96970}"/>
          </ac:spMkLst>
        </pc:spChg>
        <pc:spChg chg="del">
          <ac:chgData name="Bullinger, Marvin" userId="5b54ce5a-dc89-476f-af33-5abd75d5b1e8" providerId="ADAL" clId="{43B71669-8A80-4333-9349-B258A9296B49}" dt="2024-02-27T16:45:50.075" v="513" actId="478"/>
          <ac:spMkLst>
            <pc:docMk/>
            <pc:sldMk cId="965765845" sldId="581"/>
            <ac:spMk id="208" creationId="{18382AF0-D140-67EA-5F1C-360BFC42E20C}"/>
          </ac:spMkLst>
        </pc:spChg>
        <pc:spChg chg="del">
          <ac:chgData name="Bullinger, Marvin" userId="5b54ce5a-dc89-476f-af33-5abd75d5b1e8" providerId="ADAL" clId="{43B71669-8A80-4333-9349-B258A9296B49}" dt="2024-02-27T16:45:50.075" v="512" actId="478"/>
          <ac:spMkLst>
            <pc:docMk/>
            <pc:sldMk cId="965765845" sldId="581"/>
            <ac:spMk id="209" creationId="{41B10302-86A3-4030-5B2A-0ADD89743939}"/>
          </ac:spMkLst>
        </pc:spChg>
        <pc:spChg chg="del">
          <ac:chgData name="Bullinger, Marvin" userId="5b54ce5a-dc89-476f-af33-5abd75d5b1e8" providerId="ADAL" clId="{43B71669-8A80-4333-9349-B258A9296B49}" dt="2024-02-27T16:45:50.075" v="511" actId="478"/>
          <ac:spMkLst>
            <pc:docMk/>
            <pc:sldMk cId="965765845" sldId="581"/>
            <ac:spMk id="210" creationId="{45CCFDAD-F84D-567F-96A8-E705C461DB53}"/>
          </ac:spMkLst>
        </pc:spChg>
        <pc:spChg chg="del">
          <ac:chgData name="Bullinger, Marvin" userId="5b54ce5a-dc89-476f-af33-5abd75d5b1e8" providerId="ADAL" clId="{43B71669-8A80-4333-9349-B258A9296B49}" dt="2024-02-27T16:45:50.075" v="510" actId="478"/>
          <ac:spMkLst>
            <pc:docMk/>
            <pc:sldMk cId="965765845" sldId="581"/>
            <ac:spMk id="211" creationId="{F27100A0-DBE4-53F5-29FF-D62F71392A0C}"/>
          </ac:spMkLst>
        </pc:spChg>
        <pc:spChg chg="del">
          <ac:chgData name="Bullinger, Marvin" userId="5b54ce5a-dc89-476f-af33-5abd75d5b1e8" providerId="ADAL" clId="{43B71669-8A80-4333-9349-B258A9296B49}" dt="2024-02-27T16:45:50.075" v="502" actId="478"/>
          <ac:spMkLst>
            <pc:docMk/>
            <pc:sldMk cId="965765845" sldId="581"/>
            <ac:spMk id="212" creationId="{1EB88403-CDDD-1F8D-A195-D841E2E2F7D3}"/>
          </ac:spMkLst>
        </pc:spChg>
        <pc:spChg chg="del">
          <ac:chgData name="Bullinger, Marvin" userId="5b54ce5a-dc89-476f-af33-5abd75d5b1e8" providerId="ADAL" clId="{43B71669-8A80-4333-9349-B258A9296B49}" dt="2024-02-27T16:45:50.075" v="495" actId="478"/>
          <ac:spMkLst>
            <pc:docMk/>
            <pc:sldMk cId="965765845" sldId="581"/>
            <ac:spMk id="213" creationId="{0CF74C1D-A471-A762-3368-A015937A2A59}"/>
          </ac:spMkLst>
        </pc:spChg>
        <pc:spChg chg="del">
          <ac:chgData name="Bullinger, Marvin" userId="5b54ce5a-dc89-476f-af33-5abd75d5b1e8" providerId="ADAL" clId="{43B71669-8A80-4333-9349-B258A9296B49}" dt="2024-02-27T16:45:50.075" v="503" actId="478"/>
          <ac:spMkLst>
            <pc:docMk/>
            <pc:sldMk cId="965765845" sldId="581"/>
            <ac:spMk id="214" creationId="{4DF0E092-9916-0BCB-E62F-30DA7E85B95F}"/>
          </ac:spMkLst>
        </pc:spChg>
        <pc:spChg chg="del">
          <ac:chgData name="Bullinger, Marvin" userId="5b54ce5a-dc89-476f-af33-5abd75d5b1e8" providerId="ADAL" clId="{43B71669-8A80-4333-9349-B258A9296B49}" dt="2024-02-27T16:45:50.075" v="494" actId="478"/>
          <ac:spMkLst>
            <pc:docMk/>
            <pc:sldMk cId="965765845" sldId="581"/>
            <ac:spMk id="215" creationId="{C6B7E521-82B9-5CAB-8AD1-0A1AF9D68F20}"/>
          </ac:spMkLst>
        </pc:spChg>
        <pc:spChg chg="del">
          <ac:chgData name="Bullinger, Marvin" userId="5b54ce5a-dc89-476f-af33-5abd75d5b1e8" providerId="ADAL" clId="{43B71669-8A80-4333-9349-B258A9296B49}" dt="2024-02-27T16:45:50.075" v="493" actId="478"/>
          <ac:spMkLst>
            <pc:docMk/>
            <pc:sldMk cId="965765845" sldId="581"/>
            <ac:spMk id="216" creationId="{F2C71E84-E27D-B27F-6DEF-064FE5762F38}"/>
          </ac:spMkLst>
        </pc:spChg>
        <pc:spChg chg="del">
          <ac:chgData name="Bullinger, Marvin" userId="5b54ce5a-dc89-476f-af33-5abd75d5b1e8" providerId="ADAL" clId="{43B71669-8A80-4333-9349-B258A9296B49}" dt="2024-02-27T16:45:50.075" v="492" actId="478"/>
          <ac:spMkLst>
            <pc:docMk/>
            <pc:sldMk cId="965765845" sldId="581"/>
            <ac:spMk id="217" creationId="{247A7BB8-11EA-EE8A-5E84-2594846D0AA6}"/>
          </ac:spMkLst>
        </pc:spChg>
        <pc:spChg chg="del">
          <ac:chgData name="Bullinger, Marvin" userId="5b54ce5a-dc89-476f-af33-5abd75d5b1e8" providerId="ADAL" clId="{43B71669-8A80-4333-9349-B258A9296B49}" dt="2024-02-27T16:45:50.075" v="491" actId="478"/>
          <ac:spMkLst>
            <pc:docMk/>
            <pc:sldMk cId="965765845" sldId="581"/>
            <ac:spMk id="218" creationId="{E2E608D8-015D-8717-F339-AF7EC3BE1119}"/>
          </ac:spMkLst>
        </pc:spChg>
        <pc:spChg chg="del">
          <ac:chgData name="Bullinger, Marvin" userId="5b54ce5a-dc89-476f-af33-5abd75d5b1e8" providerId="ADAL" clId="{43B71669-8A80-4333-9349-B258A9296B49}" dt="2024-02-27T16:45:50.075" v="490" actId="478"/>
          <ac:spMkLst>
            <pc:docMk/>
            <pc:sldMk cId="965765845" sldId="581"/>
            <ac:spMk id="219" creationId="{427096D5-B37D-B9B6-C02C-DBA0C678B16D}"/>
          </ac:spMkLst>
        </pc:spChg>
        <pc:spChg chg="del">
          <ac:chgData name="Bullinger, Marvin" userId="5b54ce5a-dc89-476f-af33-5abd75d5b1e8" providerId="ADAL" clId="{43B71669-8A80-4333-9349-B258A9296B49}" dt="2024-02-27T16:45:50.075" v="489" actId="478"/>
          <ac:spMkLst>
            <pc:docMk/>
            <pc:sldMk cId="965765845" sldId="581"/>
            <ac:spMk id="220" creationId="{9336B8C5-553E-3CAA-2578-D2CF6C5A869F}"/>
          </ac:spMkLst>
        </pc:spChg>
        <pc:spChg chg="del">
          <ac:chgData name="Bullinger, Marvin" userId="5b54ce5a-dc89-476f-af33-5abd75d5b1e8" providerId="ADAL" clId="{43B71669-8A80-4333-9349-B258A9296B49}" dt="2024-02-27T16:45:50.075" v="488" actId="478"/>
          <ac:spMkLst>
            <pc:docMk/>
            <pc:sldMk cId="965765845" sldId="581"/>
            <ac:spMk id="221" creationId="{439E5DEE-92AC-2380-988E-2E2915725C44}"/>
          </ac:spMkLst>
        </pc:spChg>
        <pc:spChg chg="del">
          <ac:chgData name="Bullinger, Marvin" userId="5b54ce5a-dc89-476f-af33-5abd75d5b1e8" providerId="ADAL" clId="{43B71669-8A80-4333-9349-B258A9296B49}" dt="2024-02-27T16:45:50.075" v="487" actId="478"/>
          <ac:spMkLst>
            <pc:docMk/>
            <pc:sldMk cId="965765845" sldId="581"/>
            <ac:spMk id="222" creationId="{863FC22F-C503-4B7F-C08D-F3CC35CA27E3}"/>
          </ac:spMkLst>
        </pc:spChg>
        <pc:spChg chg="del">
          <ac:chgData name="Bullinger, Marvin" userId="5b54ce5a-dc89-476f-af33-5abd75d5b1e8" providerId="ADAL" clId="{43B71669-8A80-4333-9349-B258A9296B49}" dt="2024-02-27T16:45:50.075" v="486" actId="478"/>
          <ac:spMkLst>
            <pc:docMk/>
            <pc:sldMk cId="965765845" sldId="581"/>
            <ac:spMk id="223" creationId="{02712326-9222-C062-F3FB-8C84EF62F273}"/>
          </ac:spMkLst>
        </pc:spChg>
        <pc:spChg chg="add mod">
          <ac:chgData name="Bullinger, Marvin" userId="5b54ce5a-dc89-476f-af33-5abd75d5b1e8" providerId="ADAL" clId="{43B71669-8A80-4333-9349-B258A9296B49}" dt="2024-02-27T16:45:50.059" v="473" actId="478"/>
          <ac:spMkLst>
            <pc:docMk/>
            <pc:sldMk cId="965765845" sldId="581"/>
            <ac:spMk id="234" creationId="{4206B891-FAFF-6B1F-8FFC-5FF77D4428E3}"/>
          </ac:spMkLst>
        </pc:spChg>
        <pc:spChg chg="del mod ord replST">
          <ac:chgData name="Bullinger, Marvin" userId="5b54ce5a-dc89-476f-af33-5abd75d5b1e8" providerId="ADAL" clId="{43B71669-8A80-4333-9349-B258A9296B49}" dt="2024-02-27T16:46:20.314" v="1251" actId="478"/>
          <ac:spMkLst>
            <pc:docMk/>
            <pc:sldMk cId="965765845" sldId="581"/>
            <ac:spMk id="235" creationId="{EDBBAD7C-8116-CBD8-9098-F3810F433F83}"/>
          </ac:spMkLst>
        </pc:spChg>
        <pc:spChg chg="del">
          <ac:chgData name="Bullinger, Marvin" userId="5b54ce5a-dc89-476f-af33-5abd75d5b1e8" providerId="ADAL" clId="{43B71669-8A80-4333-9349-B258A9296B49}" dt="2024-02-27T16:45:50.075" v="509" actId="478"/>
          <ac:spMkLst>
            <pc:docMk/>
            <pc:sldMk cId="965765845" sldId="581"/>
            <ac:spMk id="236" creationId="{8C3B6F4F-CAF8-1BE0-84AE-AD77DD850CA4}"/>
          </ac:spMkLst>
        </pc:spChg>
        <pc:spChg chg="del">
          <ac:chgData name="Bullinger, Marvin" userId="5b54ce5a-dc89-476f-af33-5abd75d5b1e8" providerId="ADAL" clId="{43B71669-8A80-4333-9349-B258A9296B49}" dt="2024-02-27T16:45:50.059" v="477" actId="478"/>
          <ac:spMkLst>
            <pc:docMk/>
            <pc:sldMk cId="965765845" sldId="581"/>
            <ac:spMk id="248" creationId="{960B8439-8B06-6E44-493E-1E8C1A01386A}"/>
          </ac:spMkLst>
        </pc:spChg>
        <pc:spChg chg="del">
          <ac:chgData name="Bullinger, Marvin" userId="5b54ce5a-dc89-476f-af33-5abd75d5b1e8" providerId="ADAL" clId="{43B71669-8A80-4333-9349-B258A9296B49}" dt="2024-02-27T16:45:50.075" v="485" actId="478"/>
          <ac:spMkLst>
            <pc:docMk/>
            <pc:sldMk cId="965765845" sldId="581"/>
            <ac:spMk id="256" creationId="{2C1E5809-88B8-97F8-7ECC-B29FAF447943}"/>
          </ac:spMkLst>
        </pc:spChg>
        <pc:spChg chg="del">
          <ac:chgData name="Bullinger, Marvin" userId="5b54ce5a-dc89-476f-af33-5abd75d5b1e8" providerId="ADAL" clId="{43B71669-8A80-4333-9349-B258A9296B49}" dt="2024-02-27T16:45:50.075" v="484" actId="478"/>
          <ac:spMkLst>
            <pc:docMk/>
            <pc:sldMk cId="965765845" sldId="581"/>
            <ac:spMk id="257" creationId="{FB0D3010-B39C-7F4E-6F29-393D846D2AA7}"/>
          </ac:spMkLst>
        </pc:spChg>
        <pc:spChg chg="del">
          <ac:chgData name="Bullinger, Marvin" userId="5b54ce5a-dc89-476f-af33-5abd75d5b1e8" providerId="ADAL" clId="{43B71669-8A80-4333-9349-B258A9296B49}" dt="2024-02-27T16:45:50.075" v="483" actId="478"/>
          <ac:spMkLst>
            <pc:docMk/>
            <pc:sldMk cId="965765845" sldId="581"/>
            <ac:spMk id="258" creationId="{45475622-7A9D-CECA-D07F-6E74AA69F52D}"/>
          </ac:spMkLst>
        </pc:spChg>
        <pc:spChg chg="del">
          <ac:chgData name="Bullinger, Marvin" userId="5b54ce5a-dc89-476f-af33-5abd75d5b1e8" providerId="ADAL" clId="{43B71669-8A80-4333-9349-B258A9296B49}" dt="2024-02-27T16:45:50.075" v="482" actId="478"/>
          <ac:spMkLst>
            <pc:docMk/>
            <pc:sldMk cId="965765845" sldId="581"/>
            <ac:spMk id="259" creationId="{88BCBA0A-0538-4138-BAFE-63B2653BFBD8}"/>
          </ac:spMkLst>
        </pc:spChg>
        <pc:spChg chg="del">
          <ac:chgData name="Bullinger, Marvin" userId="5b54ce5a-dc89-476f-af33-5abd75d5b1e8" providerId="ADAL" clId="{43B71669-8A80-4333-9349-B258A9296B49}" dt="2024-02-27T16:45:50.075" v="481" actId="478"/>
          <ac:spMkLst>
            <pc:docMk/>
            <pc:sldMk cId="965765845" sldId="581"/>
            <ac:spMk id="260" creationId="{F489CF56-95B2-7B6A-C0EE-1F8BADC66BEE}"/>
          </ac:spMkLst>
        </pc:spChg>
        <pc:spChg chg="replST">
          <ac:chgData name="Bullinger, Marvin" userId="5b54ce5a-dc89-476f-af33-5abd75d5b1e8" providerId="ADAL" clId="{43B71669-8A80-4333-9349-B258A9296B49}" dt="2024-02-27T16:45:50.496" v="823"/>
          <ac:spMkLst>
            <pc:docMk/>
            <pc:sldMk cId="965765845" sldId="581"/>
            <ac:spMk id="261" creationId="{1F9ED3E7-2F29-8961-8232-23D441B334D0}"/>
          </ac:spMkLst>
        </pc:spChg>
        <pc:spChg chg="replST">
          <ac:chgData name="Bullinger, Marvin" userId="5b54ce5a-dc89-476f-af33-5abd75d5b1e8" providerId="ADAL" clId="{43B71669-8A80-4333-9349-B258A9296B49}" dt="2024-02-27T16:45:50.496" v="826"/>
          <ac:spMkLst>
            <pc:docMk/>
            <pc:sldMk cId="965765845" sldId="581"/>
            <ac:spMk id="262" creationId="{D6FACBB5-FA81-F4B9-73BC-DA9F9549976E}"/>
          </ac:spMkLst>
        </pc:spChg>
        <pc:spChg chg="replST">
          <ac:chgData name="Bullinger, Marvin" userId="5b54ce5a-dc89-476f-af33-5abd75d5b1e8" providerId="ADAL" clId="{43B71669-8A80-4333-9349-B258A9296B49}" dt="2024-02-27T16:45:50.512" v="830"/>
          <ac:spMkLst>
            <pc:docMk/>
            <pc:sldMk cId="965765845" sldId="581"/>
            <ac:spMk id="264" creationId="{52965316-C882-3F43-AE99-B57B019CF5F4}"/>
          </ac:spMkLst>
        </pc:spChg>
        <pc:spChg chg="replST">
          <ac:chgData name="Bullinger, Marvin" userId="5b54ce5a-dc89-476f-af33-5abd75d5b1e8" providerId="ADAL" clId="{43B71669-8A80-4333-9349-B258A9296B49}" dt="2024-02-27T16:45:50.512" v="833"/>
          <ac:spMkLst>
            <pc:docMk/>
            <pc:sldMk cId="965765845" sldId="581"/>
            <ac:spMk id="265" creationId="{58FDD05C-FCE3-DCD5-969E-581EEA394759}"/>
          </ac:spMkLst>
        </pc:spChg>
        <pc:spChg chg="replST">
          <ac:chgData name="Bullinger, Marvin" userId="5b54ce5a-dc89-476f-af33-5abd75d5b1e8" providerId="ADAL" clId="{43B71669-8A80-4333-9349-B258A9296B49}" dt="2024-02-27T16:45:50.512" v="837"/>
          <ac:spMkLst>
            <pc:docMk/>
            <pc:sldMk cId="965765845" sldId="581"/>
            <ac:spMk id="267" creationId="{6399321A-9DA6-576C-A63C-EC60B8A3531E}"/>
          </ac:spMkLst>
        </pc:spChg>
        <pc:spChg chg="replST">
          <ac:chgData name="Bullinger, Marvin" userId="5b54ce5a-dc89-476f-af33-5abd75d5b1e8" providerId="ADAL" clId="{43B71669-8A80-4333-9349-B258A9296B49}" dt="2024-02-27T16:45:50.512" v="840"/>
          <ac:spMkLst>
            <pc:docMk/>
            <pc:sldMk cId="965765845" sldId="581"/>
            <ac:spMk id="268" creationId="{6A3F08EC-E3E5-51A7-7268-12B7A36BD61A}"/>
          </ac:spMkLst>
        </pc:spChg>
        <pc:spChg chg="replST">
          <ac:chgData name="Bullinger, Marvin" userId="5b54ce5a-dc89-476f-af33-5abd75d5b1e8" providerId="ADAL" clId="{43B71669-8A80-4333-9349-B258A9296B49}" dt="2024-02-27T16:45:50.528" v="844"/>
          <ac:spMkLst>
            <pc:docMk/>
            <pc:sldMk cId="965765845" sldId="581"/>
            <ac:spMk id="270" creationId="{1B766E2A-2756-7994-1521-DD1672A2E984}"/>
          </ac:spMkLst>
        </pc:spChg>
        <pc:spChg chg="replST">
          <ac:chgData name="Bullinger, Marvin" userId="5b54ce5a-dc89-476f-af33-5abd75d5b1e8" providerId="ADAL" clId="{43B71669-8A80-4333-9349-B258A9296B49}" dt="2024-02-27T16:45:50.528" v="847"/>
          <ac:spMkLst>
            <pc:docMk/>
            <pc:sldMk cId="965765845" sldId="581"/>
            <ac:spMk id="271" creationId="{54DB58B0-2560-130E-6972-87408B36C592}"/>
          </ac:spMkLst>
        </pc:spChg>
        <pc:spChg chg="del ord replST">
          <ac:chgData name="Bullinger, Marvin" userId="5b54ce5a-dc89-476f-af33-5abd75d5b1e8" providerId="ADAL" clId="{43B71669-8A80-4333-9349-B258A9296B49}" dt="2024-02-27T16:46:20.317" v="1255" actId="478"/>
          <ac:spMkLst>
            <pc:docMk/>
            <pc:sldMk cId="965765845" sldId="581"/>
            <ac:spMk id="272" creationId="{9A0D5631-656B-2B74-0A71-13A52B436BE4}"/>
          </ac:spMkLst>
        </pc:spChg>
        <pc:spChg chg="replST">
          <ac:chgData name="Bullinger, Marvin" userId="5b54ce5a-dc89-476f-af33-5abd75d5b1e8" providerId="ADAL" clId="{43B71669-8A80-4333-9349-B258A9296B49}" dt="2024-02-27T16:45:50.528" v="851"/>
          <ac:spMkLst>
            <pc:docMk/>
            <pc:sldMk cId="965765845" sldId="581"/>
            <ac:spMk id="273" creationId="{5EB9FD79-3AFA-B911-769E-44661A7ADB9B}"/>
          </ac:spMkLst>
        </pc:spChg>
        <pc:spChg chg="replST">
          <ac:chgData name="Bullinger, Marvin" userId="5b54ce5a-dc89-476f-af33-5abd75d5b1e8" providerId="ADAL" clId="{43B71669-8A80-4333-9349-B258A9296B49}" dt="2024-02-27T16:45:50.528" v="854"/>
          <ac:spMkLst>
            <pc:docMk/>
            <pc:sldMk cId="965765845" sldId="581"/>
            <ac:spMk id="274" creationId="{DBE859E8-10A6-3AF2-B654-0562CED1B60F}"/>
          </ac:spMkLst>
        </pc:spChg>
        <pc:spChg chg="replST">
          <ac:chgData name="Bullinger, Marvin" userId="5b54ce5a-dc89-476f-af33-5abd75d5b1e8" providerId="ADAL" clId="{43B71669-8A80-4333-9349-B258A9296B49}" dt="2024-02-27T16:45:50.544" v="858"/>
          <ac:spMkLst>
            <pc:docMk/>
            <pc:sldMk cId="965765845" sldId="581"/>
            <ac:spMk id="276" creationId="{A3B721EC-FF6A-D6B5-B0F0-87D392F5AC8B}"/>
          </ac:spMkLst>
        </pc:spChg>
        <pc:spChg chg="replST">
          <ac:chgData name="Bullinger, Marvin" userId="5b54ce5a-dc89-476f-af33-5abd75d5b1e8" providerId="ADAL" clId="{43B71669-8A80-4333-9349-B258A9296B49}" dt="2024-02-27T16:45:50.544" v="861"/>
          <ac:spMkLst>
            <pc:docMk/>
            <pc:sldMk cId="965765845" sldId="581"/>
            <ac:spMk id="277" creationId="{9AD34C4D-D1B2-A6CC-C691-58450D164F3F}"/>
          </ac:spMkLst>
        </pc:spChg>
        <pc:spChg chg="add mod">
          <ac:chgData name="Bullinger, Marvin" userId="5b54ce5a-dc89-476f-af33-5abd75d5b1e8" providerId="ADAL" clId="{43B71669-8A80-4333-9349-B258A9296B49}" dt="2024-02-27T17:21:07.393" v="3628" actId="478"/>
          <ac:spMkLst>
            <pc:docMk/>
            <pc:sldMk cId="965765845" sldId="581"/>
            <ac:spMk id="298" creationId="{6B03B6FE-B5DE-7E2C-1205-F6E60FD45001}"/>
          </ac:spMkLst>
        </pc:spChg>
        <pc:spChg chg="del mod ord replST">
          <ac:chgData name="Bullinger, Marvin" userId="5b54ce5a-dc89-476f-af33-5abd75d5b1e8" providerId="ADAL" clId="{43B71669-8A80-4333-9349-B258A9296B49}" dt="2024-02-27T17:26:23.315" v="4666" actId="478"/>
          <ac:spMkLst>
            <pc:docMk/>
            <pc:sldMk cId="965765845" sldId="581"/>
            <ac:spMk id="299" creationId="{2CCCE993-9A7D-7DFD-06C1-C79F8FC2830A}"/>
          </ac:spMkLst>
        </pc:spChg>
        <pc:spChg chg="del">
          <ac:chgData name="Bullinger, Marvin" userId="5b54ce5a-dc89-476f-af33-5abd75d5b1e8" providerId="ADAL" clId="{43B71669-8A80-4333-9349-B258A9296B49}" dt="2024-02-27T17:21:07.424" v="3664" actId="478"/>
          <ac:spMkLst>
            <pc:docMk/>
            <pc:sldMk cId="965765845" sldId="581"/>
            <ac:spMk id="300" creationId="{2B1DFE20-1C24-52F6-F167-851571DD35D1}"/>
          </ac:spMkLst>
        </pc:spChg>
        <pc:spChg chg="del">
          <ac:chgData name="Bullinger, Marvin" userId="5b54ce5a-dc89-476f-af33-5abd75d5b1e8" providerId="ADAL" clId="{43B71669-8A80-4333-9349-B258A9296B49}" dt="2024-02-27T17:21:07.424" v="3663" actId="478"/>
          <ac:spMkLst>
            <pc:docMk/>
            <pc:sldMk cId="965765845" sldId="581"/>
            <ac:spMk id="301" creationId="{65C5EFF3-4C73-A7BB-BF95-4D1141C6D862}"/>
          </ac:spMkLst>
        </pc:spChg>
        <pc:spChg chg="del">
          <ac:chgData name="Bullinger, Marvin" userId="5b54ce5a-dc89-476f-af33-5abd75d5b1e8" providerId="ADAL" clId="{43B71669-8A80-4333-9349-B258A9296B49}" dt="2024-02-27T17:21:07.424" v="3662" actId="478"/>
          <ac:spMkLst>
            <pc:docMk/>
            <pc:sldMk cId="965765845" sldId="581"/>
            <ac:spMk id="302" creationId="{E0F9089B-AAE6-271A-5E97-F11C87C22505}"/>
          </ac:spMkLst>
        </pc:spChg>
        <pc:spChg chg="del">
          <ac:chgData name="Bullinger, Marvin" userId="5b54ce5a-dc89-476f-af33-5abd75d5b1e8" providerId="ADAL" clId="{43B71669-8A80-4333-9349-B258A9296B49}" dt="2024-02-27T17:21:07.424" v="3661" actId="478"/>
          <ac:spMkLst>
            <pc:docMk/>
            <pc:sldMk cId="965765845" sldId="581"/>
            <ac:spMk id="303" creationId="{2EB23D5C-C4DF-0E27-FBB7-ED17B68FC36F}"/>
          </ac:spMkLst>
        </pc:spChg>
        <pc:spChg chg="del">
          <ac:chgData name="Bullinger, Marvin" userId="5b54ce5a-dc89-476f-af33-5abd75d5b1e8" providerId="ADAL" clId="{43B71669-8A80-4333-9349-B258A9296B49}" dt="2024-02-27T17:21:07.424" v="3660" actId="478"/>
          <ac:spMkLst>
            <pc:docMk/>
            <pc:sldMk cId="965765845" sldId="581"/>
            <ac:spMk id="304" creationId="{15AE8D68-C1E2-0D8A-3CF8-934C85D72768}"/>
          </ac:spMkLst>
        </pc:spChg>
        <pc:spChg chg="del">
          <ac:chgData name="Bullinger, Marvin" userId="5b54ce5a-dc89-476f-af33-5abd75d5b1e8" providerId="ADAL" clId="{43B71669-8A80-4333-9349-B258A9296B49}" dt="2024-02-27T17:21:07.424" v="3659" actId="478"/>
          <ac:spMkLst>
            <pc:docMk/>
            <pc:sldMk cId="965765845" sldId="581"/>
            <ac:spMk id="305" creationId="{6188D011-BB13-6779-3AAE-3E746281367C}"/>
          </ac:spMkLst>
        </pc:spChg>
        <pc:spChg chg="del">
          <ac:chgData name="Bullinger, Marvin" userId="5b54ce5a-dc89-476f-af33-5abd75d5b1e8" providerId="ADAL" clId="{43B71669-8A80-4333-9349-B258A9296B49}" dt="2024-02-27T17:21:07.424" v="3656" actId="478"/>
          <ac:spMkLst>
            <pc:docMk/>
            <pc:sldMk cId="965765845" sldId="581"/>
            <ac:spMk id="306" creationId="{12988E03-8274-ACCE-1208-483863EF5642}"/>
          </ac:spMkLst>
        </pc:spChg>
        <pc:spChg chg="del">
          <ac:chgData name="Bullinger, Marvin" userId="5b54ce5a-dc89-476f-af33-5abd75d5b1e8" providerId="ADAL" clId="{43B71669-8A80-4333-9349-B258A9296B49}" dt="2024-02-27T17:21:07.424" v="3655" actId="478"/>
          <ac:spMkLst>
            <pc:docMk/>
            <pc:sldMk cId="965765845" sldId="581"/>
            <ac:spMk id="307" creationId="{46A0A2A5-3307-2055-DFD7-382E9EC68325}"/>
          </ac:spMkLst>
        </pc:spChg>
        <pc:spChg chg="del">
          <ac:chgData name="Bullinger, Marvin" userId="5b54ce5a-dc89-476f-af33-5abd75d5b1e8" providerId="ADAL" clId="{43B71669-8A80-4333-9349-B258A9296B49}" dt="2024-02-27T17:21:07.424" v="3654" actId="478"/>
          <ac:spMkLst>
            <pc:docMk/>
            <pc:sldMk cId="965765845" sldId="581"/>
            <ac:spMk id="308" creationId="{98DCE796-C37E-DCC3-E78D-01036A05FC53}"/>
          </ac:spMkLst>
        </pc:spChg>
        <pc:spChg chg="del">
          <ac:chgData name="Bullinger, Marvin" userId="5b54ce5a-dc89-476f-af33-5abd75d5b1e8" providerId="ADAL" clId="{43B71669-8A80-4333-9349-B258A9296B49}" dt="2024-02-27T17:21:07.424" v="3653" actId="478"/>
          <ac:spMkLst>
            <pc:docMk/>
            <pc:sldMk cId="965765845" sldId="581"/>
            <ac:spMk id="309" creationId="{2145232B-DB51-AFB2-ABB0-2E476052E22A}"/>
          </ac:spMkLst>
        </pc:spChg>
        <pc:spChg chg="del">
          <ac:chgData name="Bullinger, Marvin" userId="5b54ce5a-dc89-476f-af33-5abd75d5b1e8" providerId="ADAL" clId="{43B71669-8A80-4333-9349-B258A9296B49}" dt="2024-02-27T17:21:07.424" v="3652" actId="478"/>
          <ac:spMkLst>
            <pc:docMk/>
            <pc:sldMk cId="965765845" sldId="581"/>
            <ac:spMk id="310" creationId="{689685C6-8A6B-48C6-EDD2-5423A6E2599E}"/>
          </ac:spMkLst>
        </pc:spChg>
        <pc:spChg chg="del">
          <ac:chgData name="Bullinger, Marvin" userId="5b54ce5a-dc89-476f-af33-5abd75d5b1e8" providerId="ADAL" clId="{43B71669-8A80-4333-9349-B258A9296B49}" dt="2024-02-27T17:21:07.424" v="3651" actId="478"/>
          <ac:spMkLst>
            <pc:docMk/>
            <pc:sldMk cId="965765845" sldId="581"/>
            <ac:spMk id="311" creationId="{A6B647B5-F09A-5ECA-3DC3-CF2459ADF5CE}"/>
          </ac:spMkLst>
        </pc:spChg>
        <pc:spChg chg="del">
          <ac:chgData name="Bullinger, Marvin" userId="5b54ce5a-dc89-476f-af33-5abd75d5b1e8" providerId="ADAL" clId="{43B71669-8A80-4333-9349-B258A9296B49}" dt="2024-02-27T17:21:07.440" v="3672" actId="478"/>
          <ac:spMkLst>
            <pc:docMk/>
            <pc:sldMk cId="965765845" sldId="581"/>
            <ac:spMk id="312" creationId="{28E371F3-633D-9D46-CCDF-4BDAC55E3851}"/>
          </ac:spMkLst>
        </pc:spChg>
        <pc:spChg chg="del">
          <ac:chgData name="Bullinger, Marvin" userId="5b54ce5a-dc89-476f-af33-5abd75d5b1e8" providerId="ADAL" clId="{43B71669-8A80-4333-9349-B258A9296B49}" dt="2024-02-27T17:21:07.440" v="3671" actId="478"/>
          <ac:spMkLst>
            <pc:docMk/>
            <pc:sldMk cId="965765845" sldId="581"/>
            <ac:spMk id="313" creationId="{AC4E319D-2048-C49D-CC7E-A7816F8561E5}"/>
          </ac:spMkLst>
        </pc:spChg>
        <pc:spChg chg="del">
          <ac:chgData name="Bullinger, Marvin" userId="5b54ce5a-dc89-476f-af33-5abd75d5b1e8" providerId="ADAL" clId="{43B71669-8A80-4333-9349-B258A9296B49}" dt="2024-02-27T17:21:07.440" v="3670" actId="478"/>
          <ac:spMkLst>
            <pc:docMk/>
            <pc:sldMk cId="965765845" sldId="581"/>
            <ac:spMk id="314" creationId="{FF69BEBA-DB6E-6B7B-EE7B-6AE75A5A4507}"/>
          </ac:spMkLst>
        </pc:spChg>
        <pc:spChg chg="del">
          <ac:chgData name="Bullinger, Marvin" userId="5b54ce5a-dc89-476f-af33-5abd75d5b1e8" providerId="ADAL" clId="{43B71669-8A80-4333-9349-B258A9296B49}" dt="2024-02-27T17:21:07.440" v="3669" actId="478"/>
          <ac:spMkLst>
            <pc:docMk/>
            <pc:sldMk cId="965765845" sldId="581"/>
            <ac:spMk id="315" creationId="{4C2D9504-7913-E68F-5A86-45586E8BA538}"/>
          </ac:spMkLst>
        </pc:spChg>
        <pc:spChg chg="del">
          <ac:chgData name="Bullinger, Marvin" userId="5b54ce5a-dc89-476f-af33-5abd75d5b1e8" providerId="ADAL" clId="{43B71669-8A80-4333-9349-B258A9296B49}" dt="2024-02-27T17:21:07.440" v="3668" actId="478"/>
          <ac:spMkLst>
            <pc:docMk/>
            <pc:sldMk cId="965765845" sldId="581"/>
            <ac:spMk id="316" creationId="{C761842A-9AB7-68AE-89EC-2A4DC7DF15EC}"/>
          </ac:spMkLst>
        </pc:spChg>
        <pc:spChg chg="del">
          <ac:chgData name="Bullinger, Marvin" userId="5b54ce5a-dc89-476f-af33-5abd75d5b1e8" providerId="ADAL" clId="{43B71669-8A80-4333-9349-B258A9296B49}" dt="2024-02-27T17:21:07.440" v="3667" actId="478"/>
          <ac:spMkLst>
            <pc:docMk/>
            <pc:sldMk cId="965765845" sldId="581"/>
            <ac:spMk id="317" creationId="{54595C45-9210-7202-D8D3-40D72B96A59A}"/>
          </ac:spMkLst>
        </pc:spChg>
        <pc:spChg chg="del">
          <ac:chgData name="Bullinger, Marvin" userId="5b54ce5a-dc89-476f-af33-5abd75d5b1e8" providerId="ADAL" clId="{43B71669-8A80-4333-9349-B258A9296B49}" dt="2024-02-27T17:21:07.440" v="3666" actId="478"/>
          <ac:spMkLst>
            <pc:docMk/>
            <pc:sldMk cId="965765845" sldId="581"/>
            <ac:spMk id="318" creationId="{31B643F7-709C-FB34-5953-F275E039BE52}"/>
          </ac:spMkLst>
        </pc:spChg>
        <pc:spChg chg="add mod">
          <ac:chgData name="Bullinger, Marvin" userId="5b54ce5a-dc89-476f-af33-5abd75d5b1e8" providerId="ADAL" clId="{43B71669-8A80-4333-9349-B258A9296B49}" dt="2024-02-27T16:46:20.314" v="1251" actId="478"/>
          <ac:spMkLst>
            <pc:docMk/>
            <pc:sldMk cId="965765845" sldId="581"/>
            <ac:spMk id="318" creationId="{7289FE5E-D662-DA33-4228-96636AC57849}"/>
          </ac:spMkLst>
        </pc:spChg>
        <pc:spChg chg="add del mod ord replST">
          <ac:chgData name="Bullinger, Marvin" userId="5b54ce5a-dc89-476f-af33-5abd75d5b1e8" providerId="ADAL" clId="{43B71669-8A80-4333-9349-B258A9296B49}" dt="2024-02-27T17:21:07.393" v="3628" actId="478"/>
          <ac:spMkLst>
            <pc:docMk/>
            <pc:sldMk cId="965765845" sldId="581"/>
            <ac:spMk id="319" creationId="{713B0E57-0A2C-9057-DB14-52C977114DE3}"/>
          </ac:spMkLst>
        </pc:spChg>
        <pc:spChg chg="del">
          <ac:chgData name="Bullinger, Marvin" userId="5b54ce5a-dc89-476f-af33-5abd75d5b1e8" providerId="ADAL" clId="{43B71669-8A80-4333-9349-B258A9296B49}" dt="2024-02-27T16:46:20.337" v="1287" actId="478"/>
          <ac:spMkLst>
            <pc:docMk/>
            <pc:sldMk cId="965765845" sldId="581"/>
            <ac:spMk id="320" creationId="{A9B712C0-32E4-8C09-46BD-C1C866F6C501}"/>
          </ac:spMkLst>
        </pc:spChg>
        <pc:spChg chg="del">
          <ac:chgData name="Bullinger, Marvin" userId="5b54ce5a-dc89-476f-af33-5abd75d5b1e8" providerId="ADAL" clId="{43B71669-8A80-4333-9349-B258A9296B49}" dt="2024-02-27T16:46:20.337" v="1286" actId="478"/>
          <ac:spMkLst>
            <pc:docMk/>
            <pc:sldMk cId="965765845" sldId="581"/>
            <ac:spMk id="321" creationId="{68725152-FCBD-CFF8-E5D9-8829EBACC1CC}"/>
          </ac:spMkLst>
        </pc:spChg>
        <pc:spChg chg="del">
          <ac:chgData name="Bullinger, Marvin" userId="5b54ce5a-dc89-476f-af33-5abd75d5b1e8" providerId="ADAL" clId="{43B71669-8A80-4333-9349-B258A9296B49}" dt="2024-02-27T16:46:20.337" v="1285" actId="478"/>
          <ac:spMkLst>
            <pc:docMk/>
            <pc:sldMk cId="965765845" sldId="581"/>
            <ac:spMk id="322" creationId="{72C76A90-04E4-03F3-679D-D5628EE3D2B9}"/>
          </ac:spMkLst>
        </pc:spChg>
        <pc:spChg chg="del">
          <ac:chgData name="Bullinger, Marvin" userId="5b54ce5a-dc89-476f-af33-5abd75d5b1e8" providerId="ADAL" clId="{43B71669-8A80-4333-9349-B258A9296B49}" dt="2024-02-27T16:46:20.336" v="1284" actId="478"/>
          <ac:spMkLst>
            <pc:docMk/>
            <pc:sldMk cId="965765845" sldId="581"/>
            <ac:spMk id="323" creationId="{34F408E1-F324-3B72-7A53-D91A9F565132}"/>
          </ac:spMkLst>
        </pc:spChg>
        <pc:spChg chg="del">
          <ac:chgData name="Bullinger, Marvin" userId="5b54ce5a-dc89-476f-af33-5abd75d5b1e8" providerId="ADAL" clId="{43B71669-8A80-4333-9349-B258A9296B49}" dt="2024-02-27T16:46:20.336" v="1283" actId="478"/>
          <ac:spMkLst>
            <pc:docMk/>
            <pc:sldMk cId="965765845" sldId="581"/>
            <ac:spMk id="324" creationId="{87520039-5FB5-4103-3738-4820030C23F7}"/>
          </ac:spMkLst>
        </pc:spChg>
        <pc:spChg chg="del">
          <ac:chgData name="Bullinger, Marvin" userId="5b54ce5a-dc89-476f-af33-5abd75d5b1e8" providerId="ADAL" clId="{43B71669-8A80-4333-9349-B258A9296B49}" dt="2024-02-27T16:46:20.335" v="1282" actId="478"/>
          <ac:spMkLst>
            <pc:docMk/>
            <pc:sldMk cId="965765845" sldId="581"/>
            <ac:spMk id="325" creationId="{90943C28-7575-A3CC-2E35-EBD710664193}"/>
          </ac:spMkLst>
        </pc:spChg>
        <pc:spChg chg="del">
          <ac:chgData name="Bullinger, Marvin" userId="5b54ce5a-dc89-476f-af33-5abd75d5b1e8" providerId="ADAL" clId="{43B71669-8A80-4333-9349-B258A9296B49}" dt="2024-02-27T16:46:20.334" v="1279" actId="478"/>
          <ac:spMkLst>
            <pc:docMk/>
            <pc:sldMk cId="965765845" sldId="581"/>
            <ac:spMk id="326" creationId="{475EB501-2E84-1E3C-F1CE-56EC90C2E22E}"/>
          </ac:spMkLst>
        </pc:spChg>
        <pc:spChg chg="del">
          <ac:chgData name="Bullinger, Marvin" userId="5b54ce5a-dc89-476f-af33-5abd75d5b1e8" providerId="ADAL" clId="{43B71669-8A80-4333-9349-B258A9296B49}" dt="2024-02-27T16:46:20.334" v="1278" actId="478"/>
          <ac:spMkLst>
            <pc:docMk/>
            <pc:sldMk cId="965765845" sldId="581"/>
            <ac:spMk id="327" creationId="{F0AB2B15-4573-94E5-5D6D-C2962E645083}"/>
          </ac:spMkLst>
        </pc:spChg>
        <pc:spChg chg="del">
          <ac:chgData name="Bullinger, Marvin" userId="5b54ce5a-dc89-476f-af33-5abd75d5b1e8" providerId="ADAL" clId="{43B71669-8A80-4333-9349-B258A9296B49}" dt="2024-02-27T16:46:20.334" v="1277" actId="478"/>
          <ac:spMkLst>
            <pc:docMk/>
            <pc:sldMk cId="965765845" sldId="581"/>
            <ac:spMk id="328" creationId="{1C4EFA27-6A4F-24BA-A4F5-5A500EE4CC0A}"/>
          </ac:spMkLst>
        </pc:spChg>
        <pc:spChg chg="del">
          <ac:chgData name="Bullinger, Marvin" userId="5b54ce5a-dc89-476f-af33-5abd75d5b1e8" providerId="ADAL" clId="{43B71669-8A80-4333-9349-B258A9296B49}" dt="2024-02-27T16:46:20.333" v="1276" actId="478"/>
          <ac:spMkLst>
            <pc:docMk/>
            <pc:sldMk cId="965765845" sldId="581"/>
            <ac:spMk id="329" creationId="{D19FD910-A378-F949-4787-B99998B62E89}"/>
          </ac:spMkLst>
        </pc:spChg>
        <pc:spChg chg="del">
          <ac:chgData name="Bullinger, Marvin" userId="5b54ce5a-dc89-476f-af33-5abd75d5b1e8" providerId="ADAL" clId="{43B71669-8A80-4333-9349-B258A9296B49}" dt="2024-02-27T16:46:20.333" v="1275" actId="478"/>
          <ac:spMkLst>
            <pc:docMk/>
            <pc:sldMk cId="965765845" sldId="581"/>
            <ac:spMk id="330" creationId="{CE542614-12D0-2722-9389-66D5CCC9CBA1}"/>
          </ac:spMkLst>
        </pc:spChg>
        <pc:spChg chg="del">
          <ac:chgData name="Bullinger, Marvin" userId="5b54ce5a-dc89-476f-af33-5abd75d5b1e8" providerId="ADAL" clId="{43B71669-8A80-4333-9349-B258A9296B49}" dt="2024-02-27T16:46:20.333" v="1274" actId="478"/>
          <ac:spMkLst>
            <pc:docMk/>
            <pc:sldMk cId="965765845" sldId="581"/>
            <ac:spMk id="331" creationId="{B6E1CDFC-6AB0-C71C-761C-FF306FC69BE9}"/>
          </ac:spMkLst>
        </pc:spChg>
        <pc:spChg chg="del">
          <ac:chgData name="Bullinger, Marvin" userId="5b54ce5a-dc89-476f-af33-5abd75d5b1e8" providerId="ADAL" clId="{43B71669-8A80-4333-9349-B258A9296B49}" dt="2024-02-27T16:46:20.340" v="1295" actId="478"/>
          <ac:spMkLst>
            <pc:docMk/>
            <pc:sldMk cId="965765845" sldId="581"/>
            <ac:spMk id="332" creationId="{723B9058-9380-1B4B-2A48-6392322998CC}"/>
          </ac:spMkLst>
        </pc:spChg>
        <pc:spChg chg="del">
          <ac:chgData name="Bullinger, Marvin" userId="5b54ce5a-dc89-476f-af33-5abd75d5b1e8" providerId="ADAL" clId="{43B71669-8A80-4333-9349-B258A9296B49}" dt="2024-02-27T16:46:20.340" v="1294" actId="478"/>
          <ac:spMkLst>
            <pc:docMk/>
            <pc:sldMk cId="965765845" sldId="581"/>
            <ac:spMk id="333" creationId="{84789D7F-ED82-FEC8-1933-88BBFE1E1534}"/>
          </ac:spMkLst>
        </pc:spChg>
        <pc:spChg chg="del">
          <ac:chgData name="Bullinger, Marvin" userId="5b54ce5a-dc89-476f-af33-5abd75d5b1e8" providerId="ADAL" clId="{43B71669-8A80-4333-9349-B258A9296B49}" dt="2024-02-27T16:46:20.338" v="1293" actId="478"/>
          <ac:spMkLst>
            <pc:docMk/>
            <pc:sldMk cId="965765845" sldId="581"/>
            <ac:spMk id="334" creationId="{23DB4CE2-BCA2-BDDF-A07E-4291FB6FFC54}"/>
          </ac:spMkLst>
        </pc:spChg>
        <pc:spChg chg="del">
          <ac:chgData name="Bullinger, Marvin" userId="5b54ce5a-dc89-476f-af33-5abd75d5b1e8" providerId="ADAL" clId="{43B71669-8A80-4333-9349-B258A9296B49}" dt="2024-02-27T16:46:20.338" v="1292" actId="478"/>
          <ac:spMkLst>
            <pc:docMk/>
            <pc:sldMk cId="965765845" sldId="581"/>
            <ac:spMk id="335" creationId="{5D82F0FC-AF8E-68C1-D6E1-56AAEF10170D}"/>
          </ac:spMkLst>
        </pc:spChg>
        <pc:spChg chg="del">
          <ac:chgData name="Bullinger, Marvin" userId="5b54ce5a-dc89-476f-af33-5abd75d5b1e8" providerId="ADAL" clId="{43B71669-8A80-4333-9349-B258A9296B49}" dt="2024-02-27T16:46:20.338" v="1291" actId="478"/>
          <ac:spMkLst>
            <pc:docMk/>
            <pc:sldMk cId="965765845" sldId="581"/>
            <ac:spMk id="336" creationId="{C3991703-9498-8CC4-21D7-39E80A734FA1}"/>
          </ac:spMkLst>
        </pc:spChg>
        <pc:spChg chg="del">
          <ac:chgData name="Bullinger, Marvin" userId="5b54ce5a-dc89-476f-af33-5abd75d5b1e8" providerId="ADAL" clId="{43B71669-8A80-4333-9349-B258A9296B49}" dt="2024-02-27T16:46:20.338" v="1290" actId="478"/>
          <ac:spMkLst>
            <pc:docMk/>
            <pc:sldMk cId="965765845" sldId="581"/>
            <ac:spMk id="337" creationId="{FCDA284B-756B-C7B7-9F83-82A6F4DE93AD}"/>
          </ac:spMkLst>
        </pc:spChg>
        <pc:spChg chg="del">
          <ac:chgData name="Bullinger, Marvin" userId="5b54ce5a-dc89-476f-af33-5abd75d5b1e8" providerId="ADAL" clId="{43B71669-8A80-4333-9349-B258A9296B49}" dt="2024-02-27T16:46:20.338" v="1289" actId="478"/>
          <ac:spMkLst>
            <pc:docMk/>
            <pc:sldMk cId="965765845" sldId="581"/>
            <ac:spMk id="338" creationId="{2167C679-4F44-3041-D68A-3CCC50C14C26}"/>
          </ac:spMkLst>
        </pc:spChg>
        <pc:spChg chg="del">
          <ac:chgData name="Bullinger, Marvin" userId="5b54ce5a-dc89-476f-af33-5abd75d5b1e8" providerId="ADAL" clId="{43B71669-8A80-4333-9349-B258A9296B49}" dt="2024-02-27T16:46:20.338" v="1288" actId="478"/>
          <ac:spMkLst>
            <pc:docMk/>
            <pc:sldMk cId="965765845" sldId="581"/>
            <ac:spMk id="339" creationId="{0C1BD335-837D-6857-4100-74380FF14F19}"/>
          </ac:spMkLst>
        </pc:spChg>
        <pc:spChg chg="del">
          <ac:chgData name="Bullinger, Marvin" userId="5b54ce5a-dc89-476f-af33-5abd75d5b1e8" providerId="ADAL" clId="{43B71669-8A80-4333-9349-B258A9296B49}" dt="2024-02-27T16:46:20.335" v="1280" actId="478"/>
          <ac:spMkLst>
            <pc:docMk/>
            <pc:sldMk cId="965765845" sldId="581"/>
            <ac:spMk id="340" creationId="{D3797FD2-B4A4-2395-9277-3E469E5F3ED1}"/>
          </ac:spMkLst>
        </pc:spChg>
        <pc:spChg chg="del">
          <ac:chgData name="Bullinger, Marvin" userId="5b54ce5a-dc89-476f-af33-5abd75d5b1e8" providerId="ADAL" clId="{43B71669-8A80-4333-9349-B258A9296B49}" dt="2024-02-27T16:46:20.332" v="1273" actId="478"/>
          <ac:spMkLst>
            <pc:docMk/>
            <pc:sldMk cId="965765845" sldId="581"/>
            <ac:spMk id="341" creationId="{68B1FA73-9A42-A626-D6E8-960BEA9EF3BC}"/>
          </ac:spMkLst>
        </pc:spChg>
        <pc:spChg chg="del">
          <ac:chgData name="Bullinger, Marvin" userId="5b54ce5a-dc89-476f-af33-5abd75d5b1e8" providerId="ADAL" clId="{43B71669-8A80-4333-9349-B258A9296B49}" dt="2024-02-27T16:46:20.335" v="1281" actId="478"/>
          <ac:spMkLst>
            <pc:docMk/>
            <pc:sldMk cId="965765845" sldId="581"/>
            <ac:spMk id="342" creationId="{EC862894-D1E9-E38B-8E92-0BF6F7F56C12}"/>
          </ac:spMkLst>
        </pc:spChg>
        <pc:spChg chg="del">
          <ac:chgData name="Bullinger, Marvin" userId="5b54ce5a-dc89-476f-af33-5abd75d5b1e8" providerId="ADAL" clId="{43B71669-8A80-4333-9349-B258A9296B49}" dt="2024-02-27T16:46:20.332" v="1272" actId="478"/>
          <ac:spMkLst>
            <pc:docMk/>
            <pc:sldMk cId="965765845" sldId="581"/>
            <ac:spMk id="343" creationId="{02C1A0D7-8D2F-1392-5FE9-42064977FF81}"/>
          </ac:spMkLst>
        </pc:spChg>
        <pc:spChg chg="del">
          <ac:chgData name="Bullinger, Marvin" userId="5b54ce5a-dc89-476f-af33-5abd75d5b1e8" providerId="ADAL" clId="{43B71669-8A80-4333-9349-B258A9296B49}" dt="2024-02-27T16:46:20.332" v="1271" actId="478"/>
          <ac:spMkLst>
            <pc:docMk/>
            <pc:sldMk cId="965765845" sldId="581"/>
            <ac:spMk id="344" creationId="{4BB058FF-3443-BEE0-7CB1-2CB929ECBFAB}"/>
          </ac:spMkLst>
        </pc:spChg>
        <pc:spChg chg="del">
          <ac:chgData name="Bullinger, Marvin" userId="5b54ce5a-dc89-476f-af33-5abd75d5b1e8" providerId="ADAL" clId="{43B71669-8A80-4333-9349-B258A9296B49}" dt="2024-02-27T16:46:20.331" v="1270" actId="478"/>
          <ac:spMkLst>
            <pc:docMk/>
            <pc:sldMk cId="965765845" sldId="581"/>
            <ac:spMk id="345" creationId="{83C50DCB-8453-F283-A40A-36B726722F64}"/>
          </ac:spMkLst>
        </pc:spChg>
        <pc:spChg chg="del">
          <ac:chgData name="Bullinger, Marvin" userId="5b54ce5a-dc89-476f-af33-5abd75d5b1e8" providerId="ADAL" clId="{43B71669-8A80-4333-9349-B258A9296B49}" dt="2024-02-27T16:46:20.331" v="1269" actId="478"/>
          <ac:spMkLst>
            <pc:docMk/>
            <pc:sldMk cId="965765845" sldId="581"/>
            <ac:spMk id="346" creationId="{654B42BB-F635-190D-5002-2854C6B21AE7}"/>
          </ac:spMkLst>
        </pc:spChg>
        <pc:spChg chg="del">
          <ac:chgData name="Bullinger, Marvin" userId="5b54ce5a-dc89-476f-af33-5abd75d5b1e8" providerId="ADAL" clId="{43B71669-8A80-4333-9349-B258A9296B49}" dt="2024-02-27T16:46:20.330" v="1268" actId="478"/>
          <ac:spMkLst>
            <pc:docMk/>
            <pc:sldMk cId="965765845" sldId="581"/>
            <ac:spMk id="347" creationId="{2889B711-540C-0AD1-BCD2-41B081E89602}"/>
          </ac:spMkLst>
        </pc:spChg>
        <pc:spChg chg="del">
          <ac:chgData name="Bullinger, Marvin" userId="5b54ce5a-dc89-476f-af33-5abd75d5b1e8" providerId="ADAL" clId="{43B71669-8A80-4333-9349-B258A9296B49}" dt="2024-02-27T16:46:20.330" v="1267" actId="478"/>
          <ac:spMkLst>
            <pc:docMk/>
            <pc:sldMk cId="965765845" sldId="581"/>
            <ac:spMk id="348" creationId="{1F3B14CA-EE2A-725E-1FF1-A80191E661AF}"/>
          </ac:spMkLst>
        </pc:spChg>
        <pc:spChg chg="del">
          <ac:chgData name="Bullinger, Marvin" userId="5b54ce5a-dc89-476f-af33-5abd75d5b1e8" providerId="ADAL" clId="{43B71669-8A80-4333-9349-B258A9296B49}" dt="2024-02-27T16:46:20.330" v="1266" actId="478"/>
          <ac:spMkLst>
            <pc:docMk/>
            <pc:sldMk cId="965765845" sldId="581"/>
            <ac:spMk id="349" creationId="{134896FB-D8AD-5FEB-E7CD-6FD18F42B902}"/>
          </ac:spMkLst>
        </pc:spChg>
        <pc:spChg chg="del">
          <ac:chgData name="Bullinger, Marvin" userId="5b54ce5a-dc89-476f-af33-5abd75d5b1e8" providerId="ADAL" clId="{43B71669-8A80-4333-9349-B258A9296B49}" dt="2024-02-27T16:46:20.329" v="1265" actId="478"/>
          <ac:spMkLst>
            <pc:docMk/>
            <pc:sldMk cId="965765845" sldId="581"/>
            <ac:spMk id="350" creationId="{2ED8FCAF-84BB-A5D1-6A16-45C8A56F67A8}"/>
          </ac:spMkLst>
        </pc:spChg>
        <pc:spChg chg="del">
          <ac:chgData name="Bullinger, Marvin" userId="5b54ce5a-dc89-476f-af33-5abd75d5b1e8" providerId="ADAL" clId="{43B71669-8A80-4333-9349-B258A9296B49}" dt="2024-02-27T16:46:20.329" v="1264" actId="478"/>
          <ac:spMkLst>
            <pc:docMk/>
            <pc:sldMk cId="965765845" sldId="581"/>
            <ac:spMk id="351" creationId="{B23FD416-FA52-8A92-F2B5-FC43E7829081}"/>
          </ac:spMkLst>
        </pc:spChg>
        <pc:spChg chg="del">
          <ac:chgData name="Bullinger, Marvin" userId="5b54ce5a-dc89-476f-af33-5abd75d5b1e8" providerId="ADAL" clId="{43B71669-8A80-4333-9349-B258A9296B49}" dt="2024-02-27T17:21:07.424" v="3665" actId="478"/>
          <ac:spMkLst>
            <pc:docMk/>
            <pc:sldMk cId="965765845" sldId="581"/>
            <ac:spMk id="352" creationId="{BE0ECAEF-9F4C-4434-AC0C-36AC6AC6F408}"/>
          </ac:spMkLst>
        </pc:spChg>
        <pc:spChg chg="del">
          <ac:chgData name="Bullinger, Marvin" userId="5b54ce5a-dc89-476f-af33-5abd75d5b1e8" providerId="ADAL" clId="{43B71669-8A80-4333-9349-B258A9296B49}" dt="2024-02-27T16:46:20.329" v="1263" actId="478"/>
          <ac:spMkLst>
            <pc:docMk/>
            <pc:sldMk cId="965765845" sldId="581"/>
            <ac:spMk id="352" creationId="{F4ED1B11-9915-5F5F-25E1-1C5A82A36DF8}"/>
          </ac:spMkLst>
        </pc:spChg>
        <pc:spChg chg="del">
          <ac:chgData name="Bullinger, Marvin" userId="5b54ce5a-dc89-476f-af33-5abd75d5b1e8" providerId="ADAL" clId="{43B71669-8A80-4333-9349-B258A9296B49}" dt="2024-02-27T16:46:20.328" v="1262" actId="478"/>
          <ac:spMkLst>
            <pc:docMk/>
            <pc:sldMk cId="965765845" sldId="581"/>
            <ac:spMk id="353" creationId="{414674CA-A68E-91B0-BEB2-DCE65E30DA7E}"/>
          </ac:spMkLst>
        </pc:spChg>
        <pc:spChg chg="del">
          <ac:chgData name="Bullinger, Marvin" userId="5b54ce5a-dc89-476f-af33-5abd75d5b1e8" providerId="ADAL" clId="{43B71669-8A80-4333-9349-B258A9296B49}" dt="2024-02-27T17:21:07.424" v="3657" actId="478"/>
          <ac:spMkLst>
            <pc:docMk/>
            <pc:sldMk cId="965765845" sldId="581"/>
            <ac:spMk id="353" creationId="{C3BE36A7-C116-EA76-44C6-2A37F7857306}"/>
          </ac:spMkLst>
        </pc:spChg>
        <pc:spChg chg="del">
          <ac:chgData name="Bullinger, Marvin" userId="5b54ce5a-dc89-476f-af33-5abd75d5b1e8" providerId="ADAL" clId="{43B71669-8A80-4333-9349-B258A9296B49}" dt="2024-02-27T16:46:20.328" v="1261" actId="478"/>
          <ac:spMkLst>
            <pc:docMk/>
            <pc:sldMk cId="965765845" sldId="581"/>
            <ac:spMk id="354" creationId="{2583E664-C253-320B-2A5F-7DB1132EDFD0}"/>
          </ac:spMkLst>
        </pc:spChg>
        <pc:spChg chg="del">
          <ac:chgData name="Bullinger, Marvin" userId="5b54ce5a-dc89-476f-af33-5abd75d5b1e8" providerId="ADAL" clId="{43B71669-8A80-4333-9349-B258A9296B49}" dt="2024-02-27T17:21:07.424" v="3650" actId="478"/>
          <ac:spMkLst>
            <pc:docMk/>
            <pc:sldMk cId="965765845" sldId="581"/>
            <ac:spMk id="354" creationId="{56849B8D-44C8-4829-EDA8-0F4BC81B8B4F}"/>
          </ac:spMkLst>
        </pc:spChg>
        <pc:spChg chg="del">
          <ac:chgData name="Bullinger, Marvin" userId="5b54ce5a-dc89-476f-af33-5abd75d5b1e8" providerId="ADAL" clId="{43B71669-8A80-4333-9349-B258A9296B49}" dt="2024-02-27T16:46:20.327" v="1260" actId="478"/>
          <ac:spMkLst>
            <pc:docMk/>
            <pc:sldMk cId="965765845" sldId="581"/>
            <ac:spMk id="355" creationId="{C897E977-D53F-D333-82D0-098CD9CABB9D}"/>
          </ac:spMkLst>
        </pc:spChg>
        <pc:spChg chg="del">
          <ac:chgData name="Bullinger, Marvin" userId="5b54ce5a-dc89-476f-af33-5abd75d5b1e8" providerId="ADAL" clId="{43B71669-8A80-4333-9349-B258A9296B49}" dt="2024-02-27T17:21:07.424" v="3658" actId="478"/>
          <ac:spMkLst>
            <pc:docMk/>
            <pc:sldMk cId="965765845" sldId="581"/>
            <ac:spMk id="355" creationId="{CC3F52EC-8270-B589-E15C-435792C056DB}"/>
          </ac:spMkLst>
        </pc:spChg>
        <pc:spChg chg="del">
          <ac:chgData name="Bullinger, Marvin" userId="5b54ce5a-dc89-476f-af33-5abd75d5b1e8" providerId="ADAL" clId="{43B71669-8A80-4333-9349-B258A9296B49}" dt="2024-02-27T16:46:20.327" v="1259" actId="478"/>
          <ac:spMkLst>
            <pc:docMk/>
            <pc:sldMk cId="965765845" sldId="581"/>
            <ac:spMk id="356" creationId="{5B507CB4-A652-167A-3CA1-A0CEFABCF021}"/>
          </ac:spMkLst>
        </pc:spChg>
        <pc:spChg chg="del">
          <ac:chgData name="Bullinger, Marvin" userId="5b54ce5a-dc89-476f-af33-5abd75d5b1e8" providerId="ADAL" clId="{43B71669-8A80-4333-9349-B258A9296B49}" dt="2024-02-27T17:21:07.424" v="3649" actId="478"/>
          <ac:spMkLst>
            <pc:docMk/>
            <pc:sldMk cId="965765845" sldId="581"/>
            <ac:spMk id="356" creationId="{7DD01721-38DD-865D-6335-AD6675046732}"/>
          </ac:spMkLst>
        </pc:spChg>
        <pc:spChg chg="add replST">
          <ac:chgData name="Bullinger, Marvin" userId="5b54ce5a-dc89-476f-af33-5abd75d5b1e8" providerId="ADAL" clId="{43B71669-8A80-4333-9349-B258A9296B49}" dt="2024-02-27T16:53:49.050" v="3382"/>
          <ac:spMkLst>
            <pc:docMk/>
            <pc:sldMk cId="965765845" sldId="581"/>
            <ac:spMk id="357" creationId="{3303FF1F-5E23-52EB-0804-51D1CD3C8495}"/>
          </ac:spMkLst>
        </pc:spChg>
        <pc:spChg chg="add replST">
          <ac:chgData name="Bullinger, Marvin" userId="5b54ce5a-dc89-476f-af33-5abd75d5b1e8" providerId="ADAL" clId="{43B71669-8A80-4333-9349-B258A9296B49}" dt="2024-02-27T16:53:49.050" v="3382"/>
          <ac:spMkLst>
            <pc:docMk/>
            <pc:sldMk cId="965765845" sldId="581"/>
            <ac:spMk id="358" creationId="{AB150CFD-6436-3314-FE62-CD4976E1E903}"/>
          </ac:spMkLst>
        </pc:spChg>
        <pc:spChg chg="add replST">
          <ac:chgData name="Bullinger, Marvin" userId="5b54ce5a-dc89-476f-af33-5abd75d5b1e8" providerId="ADAL" clId="{43B71669-8A80-4333-9349-B258A9296B49}" dt="2024-02-27T16:53:49.050" v="3382"/>
          <ac:spMkLst>
            <pc:docMk/>
            <pc:sldMk cId="965765845" sldId="581"/>
            <ac:spMk id="360" creationId="{ED3AF386-7CC0-434A-A8D3-A00797C86585}"/>
          </ac:spMkLst>
        </pc:spChg>
        <pc:spChg chg="add replST">
          <ac:chgData name="Bullinger, Marvin" userId="5b54ce5a-dc89-476f-af33-5abd75d5b1e8" providerId="ADAL" clId="{43B71669-8A80-4333-9349-B258A9296B49}" dt="2024-02-27T16:53:49.050" v="3382"/>
          <ac:spMkLst>
            <pc:docMk/>
            <pc:sldMk cId="965765845" sldId="581"/>
            <ac:spMk id="361" creationId="{C76F90EF-0A00-93CC-5A6B-7131C7FE4A84}"/>
          </ac:spMkLst>
        </pc:spChg>
        <pc:spChg chg="add replST">
          <ac:chgData name="Bullinger, Marvin" userId="5b54ce5a-dc89-476f-af33-5abd75d5b1e8" providerId="ADAL" clId="{43B71669-8A80-4333-9349-B258A9296B49}" dt="2024-02-27T16:53:49.050" v="3382"/>
          <ac:spMkLst>
            <pc:docMk/>
            <pc:sldMk cId="965765845" sldId="581"/>
            <ac:spMk id="363" creationId="{87674083-719F-EADB-1887-30D83126DAE1}"/>
          </ac:spMkLst>
        </pc:spChg>
        <pc:spChg chg="add replST">
          <ac:chgData name="Bullinger, Marvin" userId="5b54ce5a-dc89-476f-af33-5abd75d5b1e8" providerId="ADAL" clId="{43B71669-8A80-4333-9349-B258A9296B49}" dt="2024-02-27T16:53:49.050" v="3382"/>
          <ac:spMkLst>
            <pc:docMk/>
            <pc:sldMk cId="965765845" sldId="581"/>
            <ac:spMk id="364" creationId="{07816449-B3F8-0C23-7365-9799B73FFABA}"/>
          </ac:spMkLst>
        </pc:spChg>
        <pc:spChg chg="add replST">
          <ac:chgData name="Bullinger, Marvin" userId="5b54ce5a-dc89-476f-af33-5abd75d5b1e8" providerId="ADAL" clId="{43B71669-8A80-4333-9349-B258A9296B49}" dt="2024-02-27T16:53:49.050" v="3382"/>
          <ac:spMkLst>
            <pc:docMk/>
            <pc:sldMk cId="965765845" sldId="581"/>
            <ac:spMk id="366" creationId="{3F67AF73-D5C5-4D3B-6862-9EB3AF52F022}"/>
          </ac:spMkLst>
        </pc:spChg>
        <pc:spChg chg="add replST">
          <ac:chgData name="Bullinger, Marvin" userId="5b54ce5a-dc89-476f-af33-5abd75d5b1e8" providerId="ADAL" clId="{43B71669-8A80-4333-9349-B258A9296B49}" dt="2024-02-27T16:53:49.050" v="3382"/>
          <ac:spMkLst>
            <pc:docMk/>
            <pc:sldMk cId="965765845" sldId="581"/>
            <ac:spMk id="367" creationId="{B7CC9AEC-FE0D-4C7A-4171-6900CDDE1ED5}"/>
          </ac:spMkLst>
        </pc:spChg>
        <pc:spChg chg="add del ord replST">
          <ac:chgData name="Bullinger, Marvin" userId="5b54ce5a-dc89-476f-af33-5abd75d5b1e8" providerId="ADAL" clId="{43B71669-8A80-4333-9349-B258A9296B49}" dt="2024-02-27T17:21:07.393" v="3632" actId="478"/>
          <ac:spMkLst>
            <pc:docMk/>
            <pc:sldMk cId="965765845" sldId="581"/>
            <ac:spMk id="368" creationId="{FA6C1492-A5A8-DB27-74D7-4BC3F00E6CE3}"/>
          </ac:spMkLst>
        </pc:spChg>
        <pc:spChg chg="add replST">
          <ac:chgData name="Bullinger, Marvin" userId="5b54ce5a-dc89-476f-af33-5abd75d5b1e8" providerId="ADAL" clId="{43B71669-8A80-4333-9349-B258A9296B49}" dt="2024-02-27T16:53:49.050" v="3382"/>
          <ac:spMkLst>
            <pc:docMk/>
            <pc:sldMk cId="965765845" sldId="581"/>
            <ac:spMk id="369" creationId="{A9C72C5A-7E1B-3A96-FEF0-D32CAAB54EA7}"/>
          </ac:spMkLst>
        </pc:spChg>
        <pc:spChg chg="add replST">
          <ac:chgData name="Bullinger, Marvin" userId="5b54ce5a-dc89-476f-af33-5abd75d5b1e8" providerId="ADAL" clId="{43B71669-8A80-4333-9349-B258A9296B49}" dt="2024-02-27T16:53:49.050" v="3382"/>
          <ac:spMkLst>
            <pc:docMk/>
            <pc:sldMk cId="965765845" sldId="581"/>
            <ac:spMk id="370" creationId="{EB6DB12B-D3EB-767F-8980-40931C0F0DD3}"/>
          </ac:spMkLst>
        </pc:spChg>
        <pc:spChg chg="add replST">
          <ac:chgData name="Bullinger, Marvin" userId="5b54ce5a-dc89-476f-af33-5abd75d5b1e8" providerId="ADAL" clId="{43B71669-8A80-4333-9349-B258A9296B49}" dt="2024-02-27T16:53:49.050" v="3382"/>
          <ac:spMkLst>
            <pc:docMk/>
            <pc:sldMk cId="965765845" sldId="581"/>
            <ac:spMk id="372" creationId="{32B01955-B0E8-6E65-142E-8306EDEAF120}"/>
          </ac:spMkLst>
        </pc:spChg>
        <pc:spChg chg="add replST">
          <ac:chgData name="Bullinger, Marvin" userId="5b54ce5a-dc89-476f-af33-5abd75d5b1e8" providerId="ADAL" clId="{43B71669-8A80-4333-9349-B258A9296B49}" dt="2024-02-27T16:53:49.050" v="3382"/>
          <ac:spMkLst>
            <pc:docMk/>
            <pc:sldMk cId="965765845" sldId="581"/>
            <ac:spMk id="373" creationId="{D058CFE3-9993-B3A8-841C-C9773B27CAB8}"/>
          </ac:spMkLst>
        </pc:spChg>
        <pc:spChg chg="del">
          <ac:chgData name="Bullinger, Marvin" userId="5b54ce5a-dc89-476f-af33-5abd75d5b1e8" providerId="ADAL" clId="{43B71669-8A80-4333-9349-B258A9296B49}" dt="2024-02-27T17:21:07.424" v="3648" actId="478"/>
          <ac:spMkLst>
            <pc:docMk/>
            <pc:sldMk cId="965765845" sldId="581"/>
            <ac:spMk id="376" creationId="{7B3A77BE-2C3E-2E25-93F1-0D2B98F48327}"/>
          </ac:spMkLst>
        </pc:spChg>
        <pc:spChg chg="add">
          <ac:chgData name="Bullinger, Marvin" userId="5b54ce5a-dc89-476f-af33-5abd75d5b1e8" providerId="ADAL" clId="{43B71669-8A80-4333-9349-B258A9296B49}" dt="2024-02-27T16:53:49.050" v="3382"/>
          <ac:spMkLst>
            <pc:docMk/>
            <pc:sldMk cId="965765845" sldId="581"/>
            <ac:spMk id="376" creationId="{F0319144-29BA-145D-79DD-07BC162D02D7}"/>
          </ac:spMkLst>
        </pc:spChg>
        <pc:spChg chg="add">
          <ac:chgData name="Bullinger, Marvin" userId="5b54ce5a-dc89-476f-af33-5abd75d5b1e8" providerId="ADAL" clId="{43B71669-8A80-4333-9349-B258A9296B49}" dt="2024-02-27T16:53:49.050" v="3382"/>
          <ac:spMkLst>
            <pc:docMk/>
            <pc:sldMk cId="965765845" sldId="581"/>
            <ac:spMk id="377" creationId="{120F5C4C-1C3E-37C5-D22F-C64A0BDE7AB0}"/>
          </ac:spMkLst>
        </pc:spChg>
        <pc:spChg chg="del">
          <ac:chgData name="Bullinger, Marvin" userId="5b54ce5a-dc89-476f-af33-5abd75d5b1e8" providerId="ADAL" clId="{43B71669-8A80-4333-9349-B258A9296B49}" dt="2024-02-27T17:21:07.424" v="3647" actId="478"/>
          <ac:spMkLst>
            <pc:docMk/>
            <pc:sldMk cId="965765845" sldId="581"/>
            <ac:spMk id="377" creationId="{16A91AC3-2103-E424-0A07-391C6A7A1B8B}"/>
          </ac:spMkLst>
        </pc:spChg>
        <pc:spChg chg="del">
          <ac:chgData name="Bullinger, Marvin" userId="5b54ce5a-dc89-476f-af33-5abd75d5b1e8" providerId="ADAL" clId="{43B71669-8A80-4333-9349-B258A9296B49}" dt="2024-02-27T17:21:07.424" v="3646" actId="478"/>
          <ac:spMkLst>
            <pc:docMk/>
            <pc:sldMk cId="965765845" sldId="581"/>
            <ac:spMk id="378" creationId="{4E493910-DE6B-45BF-2764-D14D524BF4D1}"/>
          </ac:spMkLst>
        </pc:spChg>
        <pc:spChg chg="add">
          <ac:chgData name="Bullinger, Marvin" userId="5b54ce5a-dc89-476f-af33-5abd75d5b1e8" providerId="ADAL" clId="{43B71669-8A80-4333-9349-B258A9296B49}" dt="2024-02-27T16:53:49.050" v="3382"/>
          <ac:spMkLst>
            <pc:docMk/>
            <pc:sldMk cId="965765845" sldId="581"/>
            <ac:spMk id="378" creationId="{577D018C-7925-BF78-FE6B-658E2DE40ED8}"/>
          </ac:spMkLst>
        </pc:spChg>
        <pc:spChg chg="add">
          <ac:chgData name="Bullinger, Marvin" userId="5b54ce5a-dc89-476f-af33-5abd75d5b1e8" providerId="ADAL" clId="{43B71669-8A80-4333-9349-B258A9296B49}" dt="2024-02-27T16:53:49.050" v="3382"/>
          <ac:spMkLst>
            <pc:docMk/>
            <pc:sldMk cId="965765845" sldId="581"/>
            <ac:spMk id="379" creationId="{6C4AE576-CE74-6A34-9E72-D84BCE9830E5}"/>
          </ac:spMkLst>
        </pc:spChg>
        <pc:spChg chg="del">
          <ac:chgData name="Bullinger, Marvin" userId="5b54ce5a-dc89-476f-af33-5abd75d5b1e8" providerId="ADAL" clId="{43B71669-8A80-4333-9349-B258A9296B49}" dt="2024-02-27T17:21:07.424" v="3645" actId="478"/>
          <ac:spMkLst>
            <pc:docMk/>
            <pc:sldMk cId="965765845" sldId="581"/>
            <ac:spMk id="379" creationId="{AF20FE47-E9BA-3845-C8A9-4BC1472BF19F}"/>
          </ac:spMkLst>
        </pc:spChg>
        <pc:spChg chg="add">
          <ac:chgData name="Bullinger, Marvin" userId="5b54ce5a-dc89-476f-af33-5abd75d5b1e8" providerId="ADAL" clId="{43B71669-8A80-4333-9349-B258A9296B49}" dt="2024-02-27T16:53:49.050" v="3382"/>
          <ac:spMkLst>
            <pc:docMk/>
            <pc:sldMk cId="965765845" sldId="581"/>
            <ac:spMk id="380" creationId="{4A14F4F4-28D5-5FF9-F7BE-513FFDF5B0F3}"/>
          </ac:spMkLst>
        </pc:spChg>
        <pc:spChg chg="del">
          <ac:chgData name="Bullinger, Marvin" userId="5b54ce5a-dc89-476f-af33-5abd75d5b1e8" providerId="ADAL" clId="{43B71669-8A80-4333-9349-B258A9296B49}" dt="2024-02-27T17:21:07.424" v="3644" actId="478"/>
          <ac:spMkLst>
            <pc:docMk/>
            <pc:sldMk cId="965765845" sldId="581"/>
            <ac:spMk id="380" creationId="{FC135A92-403B-FEEB-C647-0B18DC2250D7}"/>
          </ac:spMkLst>
        </pc:spChg>
        <pc:spChg chg="add">
          <ac:chgData name="Bullinger, Marvin" userId="5b54ce5a-dc89-476f-af33-5abd75d5b1e8" providerId="ADAL" clId="{43B71669-8A80-4333-9349-B258A9296B49}" dt="2024-02-27T16:53:49.050" v="3382"/>
          <ac:spMkLst>
            <pc:docMk/>
            <pc:sldMk cId="965765845" sldId="581"/>
            <ac:spMk id="381" creationId="{AE5056D2-E22D-5B27-1A5E-D1FA16945877}"/>
          </ac:spMkLst>
        </pc:spChg>
        <pc:spChg chg="del">
          <ac:chgData name="Bullinger, Marvin" userId="5b54ce5a-dc89-476f-af33-5abd75d5b1e8" providerId="ADAL" clId="{43B71669-8A80-4333-9349-B258A9296B49}" dt="2024-02-27T17:21:07.424" v="3643" actId="478"/>
          <ac:spMkLst>
            <pc:docMk/>
            <pc:sldMk cId="965765845" sldId="581"/>
            <ac:spMk id="381" creationId="{CBFEEBDF-532C-233E-0660-3929424A6135}"/>
          </ac:spMkLst>
        </pc:spChg>
        <pc:spChg chg="add">
          <ac:chgData name="Bullinger, Marvin" userId="5b54ce5a-dc89-476f-af33-5abd75d5b1e8" providerId="ADAL" clId="{43B71669-8A80-4333-9349-B258A9296B49}" dt="2024-02-27T16:53:49.050" v="3382"/>
          <ac:spMkLst>
            <pc:docMk/>
            <pc:sldMk cId="965765845" sldId="581"/>
            <ac:spMk id="382" creationId="{D2CB3B69-364C-970C-F240-0CCC69723BFA}"/>
          </ac:spMkLst>
        </pc:spChg>
        <pc:spChg chg="del">
          <ac:chgData name="Bullinger, Marvin" userId="5b54ce5a-dc89-476f-af33-5abd75d5b1e8" providerId="ADAL" clId="{43B71669-8A80-4333-9349-B258A9296B49}" dt="2024-02-27T17:21:07.424" v="3642" actId="478"/>
          <ac:spMkLst>
            <pc:docMk/>
            <pc:sldMk cId="965765845" sldId="581"/>
            <ac:spMk id="382" creationId="{EA31BCBF-A159-E2D4-0176-C1382A54AF16}"/>
          </ac:spMkLst>
        </pc:spChg>
        <pc:spChg chg="add">
          <ac:chgData name="Bullinger, Marvin" userId="5b54ce5a-dc89-476f-af33-5abd75d5b1e8" providerId="ADAL" clId="{43B71669-8A80-4333-9349-B258A9296B49}" dt="2024-02-27T16:53:49.050" v="3382"/>
          <ac:spMkLst>
            <pc:docMk/>
            <pc:sldMk cId="965765845" sldId="581"/>
            <ac:spMk id="383" creationId="{386BE71C-541C-A269-2C69-06CDD85FE2D5}"/>
          </ac:spMkLst>
        </pc:spChg>
        <pc:spChg chg="del">
          <ac:chgData name="Bullinger, Marvin" userId="5b54ce5a-dc89-476f-af33-5abd75d5b1e8" providerId="ADAL" clId="{43B71669-8A80-4333-9349-B258A9296B49}" dt="2024-02-27T17:21:07.424" v="3641" actId="478"/>
          <ac:spMkLst>
            <pc:docMk/>
            <pc:sldMk cId="965765845" sldId="581"/>
            <ac:spMk id="383" creationId="{91AFEDB7-10C8-3D06-7211-58256BA8A32F}"/>
          </ac:spMkLst>
        </pc:spChg>
        <pc:spChg chg="add">
          <ac:chgData name="Bullinger, Marvin" userId="5b54ce5a-dc89-476f-af33-5abd75d5b1e8" providerId="ADAL" clId="{43B71669-8A80-4333-9349-B258A9296B49}" dt="2024-02-27T16:53:49.050" v="3382"/>
          <ac:spMkLst>
            <pc:docMk/>
            <pc:sldMk cId="965765845" sldId="581"/>
            <ac:spMk id="384" creationId="{C8B31D58-6785-AC8F-AEEA-29C5B1A9125E}"/>
          </ac:spMkLst>
        </pc:spChg>
        <pc:spChg chg="del">
          <ac:chgData name="Bullinger, Marvin" userId="5b54ce5a-dc89-476f-af33-5abd75d5b1e8" providerId="ADAL" clId="{43B71669-8A80-4333-9349-B258A9296B49}" dt="2024-02-27T17:21:07.424" v="3640" actId="478"/>
          <ac:spMkLst>
            <pc:docMk/>
            <pc:sldMk cId="965765845" sldId="581"/>
            <ac:spMk id="384" creationId="{D5C3CE36-3A26-5234-BC7A-1B0F23A3E21A}"/>
          </ac:spMkLst>
        </pc:spChg>
        <pc:spChg chg="del">
          <ac:chgData name="Bullinger, Marvin" userId="5b54ce5a-dc89-476f-af33-5abd75d5b1e8" providerId="ADAL" clId="{43B71669-8A80-4333-9349-B258A9296B49}" dt="2024-02-27T17:21:07.424" v="3639" actId="478"/>
          <ac:spMkLst>
            <pc:docMk/>
            <pc:sldMk cId="965765845" sldId="581"/>
            <ac:spMk id="385" creationId="{2483C947-AAEC-FF99-0C51-088A8D33A065}"/>
          </ac:spMkLst>
        </pc:spChg>
        <pc:spChg chg="add">
          <ac:chgData name="Bullinger, Marvin" userId="5b54ce5a-dc89-476f-af33-5abd75d5b1e8" providerId="ADAL" clId="{43B71669-8A80-4333-9349-B258A9296B49}" dt="2024-02-27T16:53:49.050" v="3382"/>
          <ac:spMkLst>
            <pc:docMk/>
            <pc:sldMk cId="965765845" sldId="581"/>
            <ac:spMk id="385" creationId="{2D8E7272-E8F4-FC36-F05C-85B5318C1819}"/>
          </ac:spMkLst>
        </pc:spChg>
        <pc:spChg chg="add">
          <ac:chgData name="Bullinger, Marvin" userId="5b54ce5a-dc89-476f-af33-5abd75d5b1e8" providerId="ADAL" clId="{43B71669-8A80-4333-9349-B258A9296B49}" dt="2024-02-27T16:53:49.050" v="3382"/>
          <ac:spMkLst>
            <pc:docMk/>
            <pc:sldMk cId="965765845" sldId="581"/>
            <ac:spMk id="386" creationId="{07498843-B390-CB20-87FB-5E60F5803980}"/>
          </ac:spMkLst>
        </pc:spChg>
        <pc:spChg chg="del">
          <ac:chgData name="Bullinger, Marvin" userId="5b54ce5a-dc89-476f-af33-5abd75d5b1e8" providerId="ADAL" clId="{43B71669-8A80-4333-9349-B258A9296B49}" dt="2024-02-27T17:21:07.424" v="3638" actId="478"/>
          <ac:spMkLst>
            <pc:docMk/>
            <pc:sldMk cId="965765845" sldId="581"/>
            <ac:spMk id="386" creationId="{97B8699E-2DD7-DF9B-8F02-05F3D9E6A2FD}"/>
          </ac:spMkLst>
        </pc:spChg>
        <pc:spChg chg="del">
          <ac:chgData name="Bullinger, Marvin" userId="5b54ce5a-dc89-476f-af33-5abd75d5b1e8" providerId="ADAL" clId="{43B71669-8A80-4333-9349-B258A9296B49}" dt="2024-02-27T17:21:07.409" v="3637" actId="478"/>
          <ac:spMkLst>
            <pc:docMk/>
            <pc:sldMk cId="965765845" sldId="581"/>
            <ac:spMk id="387" creationId="{023F08DB-0A33-0CE6-8433-93605E8E373C}"/>
          </ac:spMkLst>
        </pc:spChg>
        <pc:spChg chg="add">
          <ac:chgData name="Bullinger, Marvin" userId="5b54ce5a-dc89-476f-af33-5abd75d5b1e8" providerId="ADAL" clId="{43B71669-8A80-4333-9349-B258A9296B49}" dt="2024-02-27T16:53:49.050" v="3382"/>
          <ac:spMkLst>
            <pc:docMk/>
            <pc:sldMk cId="965765845" sldId="581"/>
            <ac:spMk id="387" creationId="{76A566F7-D740-520F-D4D2-7D6A0D0952D5}"/>
          </ac:spMkLst>
        </pc:spChg>
        <pc:spChg chg="del">
          <ac:chgData name="Bullinger, Marvin" userId="5b54ce5a-dc89-476f-af33-5abd75d5b1e8" providerId="ADAL" clId="{43B71669-8A80-4333-9349-B258A9296B49}" dt="2024-02-27T17:21:07.409" v="3636" actId="478"/>
          <ac:spMkLst>
            <pc:docMk/>
            <pc:sldMk cId="965765845" sldId="581"/>
            <ac:spMk id="388" creationId="{0E7195E5-E586-E09B-DA89-557E0BA2EFE7}"/>
          </ac:spMkLst>
        </pc:spChg>
        <pc:spChg chg="add">
          <ac:chgData name="Bullinger, Marvin" userId="5b54ce5a-dc89-476f-af33-5abd75d5b1e8" providerId="ADAL" clId="{43B71669-8A80-4333-9349-B258A9296B49}" dt="2024-02-27T16:53:49.050" v="3382"/>
          <ac:spMkLst>
            <pc:docMk/>
            <pc:sldMk cId="965765845" sldId="581"/>
            <ac:spMk id="388" creationId="{6C5A4076-590D-2427-7708-831944ED80CB}"/>
          </ac:spMkLst>
        </pc:spChg>
        <pc:spChg chg="replST">
          <ac:chgData name="Bullinger, Marvin" userId="5b54ce5a-dc89-476f-af33-5abd75d5b1e8" providerId="ADAL" clId="{43B71669-8A80-4333-9349-B258A9296B49}" dt="2024-02-27T17:21:08.242" v="4048"/>
          <ac:spMkLst>
            <pc:docMk/>
            <pc:sldMk cId="965765845" sldId="581"/>
            <ac:spMk id="389" creationId="{627DBA3D-F10C-4BF7-625C-A5081C1A3C38}"/>
          </ac:spMkLst>
        </pc:spChg>
        <pc:spChg chg="add">
          <ac:chgData name="Bullinger, Marvin" userId="5b54ce5a-dc89-476f-af33-5abd75d5b1e8" providerId="ADAL" clId="{43B71669-8A80-4333-9349-B258A9296B49}" dt="2024-02-27T16:53:49.050" v="3382"/>
          <ac:spMkLst>
            <pc:docMk/>
            <pc:sldMk cId="965765845" sldId="581"/>
            <ac:spMk id="389" creationId="{BE776BF9-90ED-839F-7540-5BFD599224D6}"/>
          </ac:spMkLst>
        </pc:spChg>
        <pc:spChg chg="replST">
          <ac:chgData name="Bullinger, Marvin" userId="5b54ce5a-dc89-476f-af33-5abd75d5b1e8" providerId="ADAL" clId="{43B71669-8A80-4333-9349-B258A9296B49}" dt="2024-02-27T17:21:08.257" v="4051"/>
          <ac:spMkLst>
            <pc:docMk/>
            <pc:sldMk cId="965765845" sldId="581"/>
            <ac:spMk id="390" creationId="{B7CE8247-8C33-AC97-8C93-F758A53F573D}"/>
          </ac:spMkLst>
        </pc:spChg>
        <pc:spChg chg="add">
          <ac:chgData name="Bullinger, Marvin" userId="5b54ce5a-dc89-476f-af33-5abd75d5b1e8" providerId="ADAL" clId="{43B71669-8A80-4333-9349-B258A9296B49}" dt="2024-02-27T16:53:49.050" v="3382"/>
          <ac:spMkLst>
            <pc:docMk/>
            <pc:sldMk cId="965765845" sldId="581"/>
            <ac:spMk id="390" creationId="{E4EBE8A4-AD74-45A7-D39D-55560F0D5987}"/>
          </ac:spMkLst>
        </pc:spChg>
        <pc:spChg chg="add">
          <ac:chgData name="Bullinger, Marvin" userId="5b54ce5a-dc89-476f-af33-5abd75d5b1e8" providerId="ADAL" clId="{43B71669-8A80-4333-9349-B258A9296B49}" dt="2024-02-27T16:53:49.050" v="3382"/>
          <ac:spMkLst>
            <pc:docMk/>
            <pc:sldMk cId="965765845" sldId="581"/>
            <ac:spMk id="391" creationId="{8923F21B-428E-AD6B-DC95-83486366C53A}"/>
          </ac:spMkLst>
        </pc:spChg>
        <pc:spChg chg="add">
          <ac:chgData name="Bullinger, Marvin" userId="5b54ce5a-dc89-476f-af33-5abd75d5b1e8" providerId="ADAL" clId="{43B71669-8A80-4333-9349-B258A9296B49}" dt="2024-02-27T16:53:49.050" v="3382"/>
          <ac:spMkLst>
            <pc:docMk/>
            <pc:sldMk cId="965765845" sldId="581"/>
            <ac:spMk id="392" creationId="{0027CCBA-80BA-AD83-D5DF-467923FC89FA}"/>
          </ac:spMkLst>
        </pc:spChg>
        <pc:spChg chg="replST">
          <ac:chgData name="Bullinger, Marvin" userId="5b54ce5a-dc89-476f-af33-5abd75d5b1e8" providerId="ADAL" clId="{43B71669-8A80-4333-9349-B258A9296B49}" dt="2024-02-27T17:21:08.257" v="4055"/>
          <ac:spMkLst>
            <pc:docMk/>
            <pc:sldMk cId="965765845" sldId="581"/>
            <ac:spMk id="392" creationId="{2B230784-188F-CE35-68A9-4393671226F7}"/>
          </ac:spMkLst>
        </pc:spChg>
        <pc:spChg chg="replST">
          <ac:chgData name="Bullinger, Marvin" userId="5b54ce5a-dc89-476f-af33-5abd75d5b1e8" providerId="ADAL" clId="{43B71669-8A80-4333-9349-B258A9296B49}" dt="2024-02-27T17:21:08.273" v="4058"/>
          <ac:spMkLst>
            <pc:docMk/>
            <pc:sldMk cId="965765845" sldId="581"/>
            <ac:spMk id="393" creationId="{DAD8AB19-21B7-ADE0-6AD3-56A458601F30}"/>
          </ac:spMkLst>
        </pc:spChg>
        <pc:spChg chg="add">
          <ac:chgData name="Bullinger, Marvin" userId="5b54ce5a-dc89-476f-af33-5abd75d5b1e8" providerId="ADAL" clId="{43B71669-8A80-4333-9349-B258A9296B49}" dt="2024-02-27T16:53:49.050" v="3382"/>
          <ac:spMkLst>
            <pc:docMk/>
            <pc:sldMk cId="965765845" sldId="581"/>
            <ac:spMk id="393" creationId="{DC4A671D-0BEA-AE3C-C716-C8F85C18AD70}"/>
          </ac:spMkLst>
        </pc:spChg>
        <pc:spChg chg="add">
          <ac:chgData name="Bullinger, Marvin" userId="5b54ce5a-dc89-476f-af33-5abd75d5b1e8" providerId="ADAL" clId="{43B71669-8A80-4333-9349-B258A9296B49}" dt="2024-02-27T16:53:49.050" v="3382"/>
          <ac:spMkLst>
            <pc:docMk/>
            <pc:sldMk cId="965765845" sldId="581"/>
            <ac:spMk id="394" creationId="{D7547ADC-9BC5-8804-E9E0-AD35AA9A8FF5}"/>
          </ac:spMkLst>
        </pc:spChg>
        <pc:spChg chg="replST">
          <ac:chgData name="Bullinger, Marvin" userId="5b54ce5a-dc89-476f-af33-5abd75d5b1e8" providerId="ADAL" clId="{43B71669-8A80-4333-9349-B258A9296B49}" dt="2024-02-27T17:21:08.273" v="4062"/>
          <ac:spMkLst>
            <pc:docMk/>
            <pc:sldMk cId="965765845" sldId="581"/>
            <ac:spMk id="395" creationId="{8BFDAC6C-ADDE-6CDB-46D7-07502819ED53}"/>
          </ac:spMkLst>
        </pc:spChg>
        <pc:spChg chg="add">
          <ac:chgData name="Bullinger, Marvin" userId="5b54ce5a-dc89-476f-af33-5abd75d5b1e8" providerId="ADAL" clId="{43B71669-8A80-4333-9349-B258A9296B49}" dt="2024-02-27T16:53:49.050" v="3382"/>
          <ac:spMkLst>
            <pc:docMk/>
            <pc:sldMk cId="965765845" sldId="581"/>
            <ac:spMk id="395" creationId="{CED3CB88-5E26-055B-457C-5E96EF1CC08D}"/>
          </ac:spMkLst>
        </pc:spChg>
        <pc:spChg chg="add">
          <ac:chgData name="Bullinger, Marvin" userId="5b54ce5a-dc89-476f-af33-5abd75d5b1e8" providerId="ADAL" clId="{43B71669-8A80-4333-9349-B258A9296B49}" dt="2024-02-27T16:53:49.050" v="3382"/>
          <ac:spMkLst>
            <pc:docMk/>
            <pc:sldMk cId="965765845" sldId="581"/>
            <ac:spMk id="396" creationId="{D9A8B500-71C0-1958-E829-8DD4C836A6AC}"/>
          </ac:spMkLst>
        </pc:spChg>
        <pc:spChg chg="replST">
          <ac:chgData name="Bullinger, Marvin" userId="5b54ce5a-dc89-476f-af33-5abd75d5b1e8" providerId="ADAL" clId="{43B71669-8A80-4333-9349-B258A9296B49}" dt="2024-02-27T17:21:08.289" v="4065"/>
          <ac:spMkLst>
            <pc:docMk/>
            <pc:sldMk cId="965765845" sldId="581"/>
            <ac:spMk id="396" creationId="{F841EF07-3ECE-5BDF-1FBC-2AA69E949CD6}"/>
          </ac:spMkLst>
        </pc:spChg>
        <pc:spChg chg="add">
          <ac:chgData name="Bullinger, Marvin" userId="5b54ce5a-dc89-476f-af33-5abd75d5b1e8" providerId="ADAL" clId="{43B71669-8A80-4333-9349-B258A9296B49}" dt="2024-02-27T16:53:49.050" v="3382"/>
          <ac:spMkLst>
            <pc:docMk/>
            <pc:sldMk cId="965765845" sldId="581"/>
            <ac:spMk id="397" creationId="{3C2E417A-D1DE-9DB2-1721-384DDC7A9365}"/>
          </ac:spMkLst>
        </pc:spChg>
        <pc:spChg chg="add">
          <ac:chgData name="Bullinger, Marvin" userId="5b54ce5a-dc89-476f-af33-5abd75d5b1e8" providerId="ADAL" clId="{43B71669-8A80-4333-9349-B258A9296B49}" dt="2024-02-27T16:53:49.050" v="3382"/>
          <ac:spMkLst>
            <pc:docMk/>
            <pc:sldMk cId="965765845" sldId="581"/>
            <ac:spMk id="398" creationId="{B15C800C-4702-A2DD-94C2-F10FDDC9B74A}"/>
          </ac:spMkLst>
        </pc:spChg>
        <pc:spChg chg="replST">
          <ac:chgData name="Bullinger, Marvin" userId="5b54ce5a-dc89-476f-af33-5abd75d5b1e8" providerId="ADAL" clId="{43B71669-8A80-4333-9349-B258A9296B49}" dt="2024-02-27T17:21:08.304" v="4069"/>
          <ac:spMkLst>
            <pc:docMk/>
            <pc:sldMk cId="965765845" sldId="581"/>
            <ac:spMk id="398" creationId="{E268EE34-EC19-F7BC-DBC2-18C139248045}"/>
          </ac:spMkLst>
        </pc:spChg>
        <pc:spChg chg="add">
          <ac:chgData name="Bullinger, Marvin" userId="5b54ce5a-dc89-476f-af33-5abd75d5b1e8" providerId="ADAL" clId="{43B71669-8A80-4333-9349-B258A9296B49}" dt="2024-02-27T16:53:49.050" v="3382"/>
          <ac:spMkLst>
            <pc:docMk/>
            <pc:sldMk cId="965765845" sldId="581"/>
            <ac:spMk id="399" creationId="{05398677-C436-9436-F4A0-387157893810}"/>
          </ac:spMkLst>
        </pc:spChg>
        <pc:spChg chg="replST">
          <ac:chgData name="Bullinger, Marvin" userId="5b54ce5a-dc89-476f-af33-5abd75d5b1e8" providerId="ADAL" clId="{43B71669-8A80-4333-9349-B258A9296B49}" dt="2024-02-27T17:21:08.304" v="4072"/>
          <ac:spMkLst>
            <pc:docMk/>
            <pc:sldMk cId="965765845" sldId="581"/>
            <ac:spMk id="399" creationId="{62DA71AA-975C-1DB5-0E85-84C25694F13B}"/>
          </ac:spMkLst>
        </pc:spChg>
        <pc:spChg chg="del ord replST">
          <ac:chgData name="Bullinger, Marvin" userId="5b54ce5a-dc89-476f-af33-5abd75d5b1e8" providerId="ADAL" clId="{43B71669-8A80-4333-9349-B258A9296B49}" dt="2024-02-27T17:26:23.319" v="4670" actId="478"/>
          <ac:spMkLst>
            <pc:docMk/>
            <pc:sldMk cId="965765845" sldId="581"/>
            <ac:spMk id="400" creationId="{3F6E9285-98B4-B4F5-3AF6-D2BED17ED043}"/>
          </ac:spMkLst>
        </pc:spChg>
        <pc:spChg chg="add">
          <ac:chgData name="Bullinger, Marvin" userId="5b54ce5a-dc89-476f-af33-5abd75d5b1e8" providerId="ADAL" clId="{43B71669-8A80-4333-9349-B258A9296B49}" dt="2024-02-27T16:53:49.050" v="3382"/>
          <ac:spMkLst>
            <pc:docMk/>
            <pc:sldMk cId="965765845" sldId="581"/>
            <ac:spMk id="400" creationId="{49F610C3-94FB-60C4-2FD1-B51741F19EB4}"/>
          </ac:spMkLst>
        </pc:spChg>
        <pc:spChg chg="add">
          <ac:chgData name="Bullinger, Marvin" userId="5b54ce5a-dc89-476f-af33-5abd75d5b1e8" providerId="ADAL" clId="{43B71669-8A80-4333-9349-B258A9296B49}" dt="2024-02-27T16:53:49.050" v="3382"/>
          <ac:spMkLst>
            <pc:docMk/>
            <pc:sldMk cId="965765845" sldId="581"/>
            <ac:spMk id="401" creationId="{92FBD1B0-0B3A-D05B-8862-1A77829FC22A}"/>
          </ac:spMkLst>
        </pc:spChg>
        <pc:spChg chg="replST">
          <ac:chgData name="Bullinger, Marvin" userId="5b54ce5a-dc89-476f-af33-5abd75d5b1e8" providerId="ADAL" clId="{43B71669-8A80-4333-9349-B258A9296B49}" dt="2024-02-27T17:21:08.320" v="4076"/>
          <ac:spMkLst>
            <pc:docMk/>
            <pc:sldMk cId="965765845" sldId="581"/>
            <ac:spMk id="401" creationId="{E4E76A42-B5F0-1F2F-8194-8536D959A396}"/>
          </ac:spMkLst>
        </pc:spChg>
        <pc:spChg chg="replST">
          <ac:chgData name="Bullinger, Marvin" userId="5b54ce5a-dc89-476f-af33-5abd75d5b1e8" providerId="ADAL" clId="{43B71669-8A80-4333-9349-B258A9296B49}" dt="2024-02-27T17:21:08.325" v="4079"/>
          <ac:spMkLst>
            <pc:docMk/>
            <pc:sldMk cId="965765845" sldId="581"/>
            <ac:spMk id="402" creationId="{11912084-04B0-9A42-4A13-71BE7658C21D}"/>
          </ac:spMkLst>
        </pc:spChg>
        <pc:spChg chg="add">
          <ac:chgData name="Bullinger, Marvin" userId="5b54ce5a-dc89-476f-af33-5abd75d5b1e8" providerId="ADAL" clId="{43B71669-8A80-4333-9349-B258A9296B49}" dt="2024-02-27T16:53:49.050" v="3382"/>
          <ac:spMkLst>
            <pc:docMk/>
            <pc:sldMk cId="965765845" sldId="581"/>
            <ac:spMk id="402" creationId="{7780CF50-0FE7-F215-6A3B-192633016892}"/>
          </ac:spMkLst>
        </pc:spChg>
        <pc:spChg chg="add">
          <ac:chgData name="Bullinger, Marvin" userId="5b54ce5a-dc89-476f-af33-5abd75d5b1e8" providerId="ADAL" clId="{43B71669-8A80-4333-9349-B258A9296B49}" dt="2024-02-27T16:53:49.050" v="3382"/>
          <ac:spMkLst>
            <pc:docMk/>
            <pc:sldMk cId="965765845" sldId="581"/>
            <ac:spMk id="403" creationId="{F781CCE6-7F03-2094-51E4-7E67D702D030}"/>
          </ac:spMkLst>
        </pc:spChg>
        <pc:spChg chg="replST">
          <ac:chgData name="Bullinger, Marvin" userId="5b54ce5a-dc89-476f-af33-5abd75d5b1e8" providerId="ADAL" clId="{43B71669-8A80-4333-9349-B258A9296B49}" dt="2024-02-27T17:21:08.333" v="4083"/>
          <ac:spMkLst>
            <pc:docMk/>
            <pc:sldMk cId="965765845" sldId="581"/>
            <ac:spMk id="404" creationId="{9B5086DC-B06B-4DD0-B065-6E9FE2A1460A}"/>
          </ac:spMkLst>
        </pc:spChg>
        <pc:spChg chg="add">
          <ac:chgData name="Bullinger, Marvin" userId="5b54ce5a-dc89-476f-af33-5abd75d5b1e8" providerId="ADAL" clId="{43B71669-8A80-4333-9349-B258A9296B49}" dt="2024-02-27T16:53:49.050" v="3382"/>
          <ac:spMkLst>
            <pc:docMk/>
            <pc:sldMk cId="965765845" sldId="581"/>
            <ac:spMk id="404" creationId="{E79AB611-E367-F360-3F50-16593D6E3BC0}"/>
          </ac:spMkLst>
        </pc:spChg>
        <pc:spChg chg="add">
          <ac:chgData name="Bullinger, Marvin" userId="5b54ce5a-dc89-476f-af33-5abd75d5b1e8" providerId="ADAL" clId="{43B71669-8A80-4333-9349-B258A9296B49}" dt="2024-02-27T16:53:49.050" v="3382"/>
          <ac:spMkLst>
            <pc:docMk/>
            <pc:sldMk cId="965765845" sldId="581"/>
            <ac:spMk id="405" creationId="{496EB013-4E5A-7ACC-40BA-9D87F350BD42}"/>
          </ac:spMkLst>
        </pc:spChg>
        <pc:spChg chg="replST">
          <ac:chgData name="Bullinger, Marvin" userId="5b54ce5a-dc89-476f-af33-5abd75d5b1e8" providerId="ADAL" clId="{43B71669-8A80-4333-9349-B258A9296B49}" dt="2024-02-27T17:21:08.333" v="4086"/>
          <ac:spMkLst>
            <pc:docMk/>
            <pc:sldMk cId="965765845" sldId="581"/>
            <ac:spMk id="405" creationId="{C005D3BD-E1E3-6436-A786-4353EE84ACF8}"/>
          </ac:spMkLst>
        </pc:spChg>
        <pc:spChg chg="add">
          <ac:chgData name="Bullinger, Marvin" userId="5b54ce5a-dc89-476f-af33-5abd75d5b1e8" providerId="ADAL" clId="{43B71669-8A80-4333-9349-B258A9296B49}" dt="2024-02-27T16:53:49.050" v="3382"/>
          <ac:spMkLst>
            <pc:docMk/>
            <pc:sldMk cId="965765845" sldId="581"/>
            <ac:spMk id="406" creationId="{EBE1638B-2C32-159D-01E5-AB846BD82CA5}"/>
          </ac:spMkLst>
        </pc:spChg>
        <pc:spChg chg="add">
          <ac:chgData name="Bullinger, Marvin" userId="5b54ce5a-dc89-476f-af33-5abd75d5b1e8" providerId="ADAL" clId="{43B71669-8A80-4333-9349-B258A9296B49}" dt="2024-02-27T16:53:49.050" v="3382"/>
          <ac:spMkLst>
            <pc:docMk/>
            <pc:sldMk cId="965765845" sldId="581"/>
            <ac:spMk id="407" creationId="{D302AD2D-6D94-F28E-D4BA-CBD240DCFABA}"/>
          </ac:spMkLst>
        </pc:spChg>
        <pc:spChg chg="replST">
          <ac:chgData name="Bullinger, Marvin" userId="5b54ce5a-dc89-476f-af33-5abd75d5b1e8" providerId="ADAL" clId="{43B71669-8A80-4333-9349-B258A9296B49}" dt="2024-02-27T17:21:08.344" v="4090"/>
          <ac:spMkLst>
            <pc:docMk/>
            <pc:sldMk cId="965765845" sldId="581"/>
            <ac:spMk id="407" creationId="{FFC07A31-AE67-87DA-9330-DDDD5EC68561}"/>
          </ac:spMkLst>
        </pc:spChg>
        <pc:spChg chg="add">
          <ac:chgData name="Bullinger, Marvin" userId="5b54ce5a-dc89-476f-af33-5abd75d5b1e8" providerId="ADAL" clId="{43B71669-8A80-4333-9349-B258A9296B49}" dt="2024-02-27T16:53:49.050" v="3382"/>
          <ac:spMkLst>
            <pc:docMk/>
            <pc:sldMk cId="965765845" sldId="581"/>
            <ac:spMk id="408" creationId="{5BE2B8DD-7B8F-B786-1BBF-BA9776F4EBA4}"/>
          </ac:spMkLst>
        </pc:spChg>
        <pc:spChg chg="replST">
          <ac:chgData name="Bullinger, Marvin" userId="5b54ce5a-dc89-476f-af33-5abd75d5b1e8" providerId="ADAL" clId="{43B71669-8A80-4333-9349-B258A9296B49}" dt="2024-02-27T17:21:08.344" v="4093"/>
          <ac:spMkLst>
            <pc:docMk/>
            <pc:sldMk cId="965765845" sldId="581"/>
            <ac:spMk id="408" creationId="{FD26F1A5-55EE-8D66-6F38-6A62934909D4}"/>
          </ac:spMkLst>
        </pc:spChg>
        <pc:spChg chg="add">
          <ac:chgData name="Bullinger, Marvin" userId="5b54ce5a-dc89-476f-af33-5abd75d5b1e8" providerId="ADAL" clId="{43B71669-8A80-4333-9349-B258A9296B49}" dt="2024-02-27T16:53:49.050" v="3382"/>
          <ac:spMkLst>
            <pc:docMk/>
            <pc:sldMk cId="965765845" sldId="581"/>
            <ac:spMk id="409" creationId="{9E31B53B-7DBE-DCEC-6ACB-2B6DC0A42AA8}"/>
          </ac:spMkLst>
        </pc:spChg>
        <pc:spChg chg="add">
          <ac:chgData name="Bullinger, Marvin" userId="5b54ce5a-dc89-476f-af33-5abd75d5b1e8" providerId="ADAL" clId="{43B71669-8A80-4333-9349-B258A9296B49}" dt="2024-02-27T16:53:49.050" v="3382"/>
          <ac:spMkLst>
            <pc:docMk/>
            <pc:sldMk cId="965765845" sldId="581"/>
            <ac:spMk id="410" creationId="{38383E69-FC0A-16FC-CC67-D83AD99E9BE9}"/>
          </ac:spMkLst>
        </pc:spChg>
        <pc:spChg chg="add">
          <ac:chgData name="Bullinger, Marvin" userId="5b54ce5a-dc89-476f-af33-5abd75d5b1e8" providerId="ADAL" clId="{43B71669-8A80-4333-9349-B258A9296B49}" dt="2024-02-27T16:53:49.050" v="3382"/>
          <ac:spMkLst>
            <pc:docMk/>
            <pc:sldMk cId="965765845" sldId="581"/>
            <ac:spMk id="411" creationId="{5744187D-5708-7352-9AE8-BC95B8D08A2B}"/>
          </ac:spMkLst>
        </pc:spChg>
        <pc:spChg chg="add">
          <ac:chgData name="Bullinger, Marvin" userId="5b54ce5a-dc89-476f-af33-5abd75d5b1e8" providerId="ADAL" clId="{43B71669-8A80-4333-9349-B258A9296B49}" dt="2024-02-27T16:53:49.050" v="3382"/>
          <ac:spMkLst>
            <pc:docMk/>
            <pc:sldMk cId="965765845" sldId="581"/>
            <ac:spMk id="412" creationId="{27813510-370D-8DA6-8E58-368DD5C92CDA}"/>
          </ac:spMkLst>
        </pc:spChg>
        <pc:spChg chg="add del mod">
          <ac:chgData name="Bullinger, Marvin" userId="5b54ce5a-dc89-476f-af33-5abd75d5b1e8" providerId="ADAL" clId="{43B71669-8A80-4333-9349-B258A9296B49}" dt="2024-02-27T16:53:49.050" v="3382"/>
          <ac:spMkLst>
            <pc:docMk/>
            <pc:sldMk cId="965765845" sldId="581"/>
            <ac:spMk id="414" creationId="{105F0B48-BD01-7BAD-578B-D3CA10A9B04B}"/>
          </ac:spMkLst>
        </pc:spChg>
        <pc:spChg chg="mod ord replST delST">
          <ac:chgData name="Bullinger, Marvin" userId="5b54ce5a-dc89-476f-af33-5abd75d5b1e8" providerId="ADAL" clId="{43B71669-8A80-4333-9349-B258A9296B49}" dt="2024-02-27T16:53:49.050" v="3382"/>
          <ac:spMkLst>
            <pc:docMk/>
            <pc:sldMk cId="965765845" sldId="581"/>
            <ac:spMk id="415" creationId="{FFA79832-0737-2720-CFBF-D45358E1C572}"/>
          </ac:spMkLst>
        </pc:spChg>
        <pc:spChg chg="add del">
          <ac:chgData name="Bullinger, Marvin" userId="5b54ce5a-dc89-476f-af33-5abd75d5b1e8" providerId="ADAL" clId="{43B71669-8A80-4333-9349-B258A9296B49}" dt="2024-02-27T16:53:49.050" v="3382"/>
          <ac:spMkLst>
            <pc:docMk/>
            <pc:sldMk cId="965765845" sldId="581"/>
            <ac:spMk id="416" creationId="{A3E58339-C82D-1DA6-5CC2-B60B49451A7F}"/>
          </ac:spMkLst>
        </pc:spChg>
        <pc:spChg chg="add del">
          <ac:chgData name="Bullinger, Marvin" userId="5b54ce5a-dc89-476f-af33-5abd75d5b1e8" providerId="ADAL" clId="{43B71669-8A80-4333-9349-B258A9296B49}" dt="2024-02-27T16:53:49.050" v="3382"/>
          <ac:spMkLst>
            <pc:docMk/>
            <pc:sldMk cId="965765845" sldId="581"/>
            <ac:spMk id="417" creationId="{51F7E325-F776-EF22-8410-786B8758141D}"/>
          </ac:spMkLst>
        </pc:spChg>
        <pc:spChg chg="add del">
          <ac:chgData name="Bullinger, Marvin" userId="5b54ce5a-dc89-476f-af33-5abd75d5b1e8" providerId="ADAL" clId="{43B71669-8A80-4333-9349-B258A9296B49}" dt="2024-02-27T16:53:49.050" v="3382"/>
          <ac:spMkLst>
            <pc:docMk/>
            <pc:sldMk cId="965765845" sldId="581"/>
            <ac:spMk id="418" creationId="{B9FD5888-2BA0-5883-9C77-B3163E7D13BB}"/>
          </ac:spMkLst>
        </pc:spChg>
        <pc:spChg chg="add del">
          <ac:chgData name="Bullinger, Marvin" userId="5b54ce5a-dc89-476f-af33-5abd75d5b1e8" providerId="ADAL" clId="{43B71669-8A80-4333-9349-B258A9296B49}" dt="2024-02-27T16:53:49.050" v="3382"/>
          <ac:spMkLst>
            <pc:docMk/>
            <pc:sldMk cId="965765845" sldId="581"/>
            <ac:spMk id="419" creationId="{07B732E8-5144-5981-E44C-6FED3D5131D4}"/>
          </ac:spMkLst>
        </pc:spChg>
        <pc:spChg chg="add del">
          <ac:chgData name="Bullinger, Marvin" userId="5b54ce5a-dc89-476f-af33-5abd75d5b1e8" providerId="ADAL" clId="{43B71669-8A80-4333-9349-B258A9296B49}" dt="2024-02-27T16:53:49.050" v="3382"/>
          <ac:spMkLst>
            <pc:docMk/>
            <pc:sldMk cId="965765845" sldId="581"/>
            <ac:spMk id="420" creationId="{4AE8130B-FE19-1F96-521A-23CF2B20FF5A}"/>
          </ac:spMkLst>
        </pc:spChg>
        <pc:spChg chg="add del">
          <ac:chgData name="Bullinger, Marvin" userId="5b54ce5a-dc89-476f-af33-5abd75d5b1e8" providerId="ADAL" clId="{43B71669-8A80-4333-9349-B258A9296B49}" dt="2024-02-27T16:53:49.050" v="3382"/>
          <ac:spMkLst>
            <pc:docMk/>
            <pc:sldMk cId="965765845" sldId="581"/>
            <ac:spMk id="421" creationId="{847EE784-5E56-1BE2-9B22-675FABA84D49}"/>
          </ac:spMkLst>
        </pc:spChg>
        <pc:spChg chg="add del">
          <ac:chgData name="Bullinger, Marvin" userId="5b54ce5a-dc89-476f-af33-5abd75d5b1e8" providerId="ADAL" clId="{43B71669-8A80-4333-9349-B258A9296B49}" dt="2024-02-27T16:53:49.050" v="3382"/>
          <ac:spMkLst>
            <pc:docMk/>
            <pc:sldMk cId="965765845" sldId="581"/>
            <ac:spMk id="422" creationId="{4D388FF4-B6DF-8B09-4665-E2B42EBF46FC}"/>
          </ac:spMkLst>
        </pc:spChg>
        <pc:spChg chg="add del">
          <ac:chgData name="Bullinger, Marvin" userId="5b54ce5a-dc89-476f-af33-5abd75d5b1e8" providerId="ADAL" clId="{43B71669-8A80-4333-9349-B258A9296B49}" dt="2024-02-27T16:53:49.050" v="3382"/>
          <ac:spMkLst>
            <pc:docMk/>
            <pc:sldMk cId="965765845" sldId="581"/>
            <ac:spMk id="423" creationId="{0DBF4885-B8DF-DF5C-6A10-82783E272835}"/>
          </ac:spMkLst>
        </pc:spChg>
        <pc:spChg chg="add del">
          <ac:chgData name="Bullinger, Marvin" userId="5b54ce5a-dc89-476f-af33-5abd75d5b1e8" providerId="ADAL" clId="{43B71669-8A80-4333-9349-B258A9296B49}" dt="2024-02-27T16:53:49.050" v="3382"/>
          <ac:spMkLst>
            <pc:docMk/>
            <pc:sldMk cId="965765845" sldId="581"/>
            <ac:spMk id="424" creationId="{EA3911F8-0816-8C02-F53E-6E9602461901}"/>
          </ac:spMkLst>
        </pc:spChg>
        <pc:spChg chg="add del">
          <ac:chgData name="Bullinger, Marvin" userId="5b54ce5a-dc89-476f-af33-5abd75d5b1e8" providerId="ADAL" clId="{43B71669-8A80-4333-9349-B258A9296B49}" dt="2024-02-27T16:53:49.050" v="3382"/>
          <ac:spMkLst>
            <pc:docMk/>
            <pc:sldMk cId="965765845" sldId="581"/>
            <ac:spMk id="425" creationId="{351CC3A7-FAD8-31D8-1209-23004449CB80}"/>
          </ac:spMkLst>
        </pc:spChg>
        <pc:spChg chg="add del">
          <ac:chgData name="Bullinger, Marvin" userId="5b54ce5a-dc89-476f-af33-5abd75d5b1e8" providerId="ADAL" clId="{43B71669-8A80-4333-9349-B258A9296B49}" dt="2024-02-27T16:53:49.050" v="3382"/>
          <ac:spMkLst>
            <pc:docMk/>
            <pc:sldMk cId="965765845" sldId="581"/>
            <ac:spMk id="426" creationId="{F8FEB048-B7F2-67A2-C423-7ECB9AC74A7D}"/>
          </ac:spMkLst>
        </pc:spChg>
        <pc:spChg chg="add del">
          <ac:chgData name="Bullinger, Marvin" userId="5b54ce5a-dc89-476f-af33-5abd75d5b1e8" providerId="ADAL" clId="{43B71669-8A80-4333-9349-B258A9296B49}" dt="2024-02-27T16:53:49.050" v="3382"/>
          <ac:spMkLst>
            <pc:docMk/>
            <pc:sldMk cId="965765845" sldId="581"/>
            <ac:spMk id="427" creationId="{1D1AF259-3F70-B784-1A6A-5AE0BF07E01D}"/>
          </ac:spMkLst>
        </pc:spChg>
        <pc:spChg chg="add del">
          <ac:chgData name="Bullinger, Marvin" userId="5b54ce5a-dc89-476f-af33-5abd75d5b1e8" providerId="ADAL" clId="{43B71669-8A80-4333-9349-B258A9296B49}" dt="2024-02-27T16:53:49.050" v="3382"/>
          <ac:spMkLst>
            <pc:docMk/>
            <pc:sldMk cId="965765845" sldId="581"/>
            <ac:spMk id="428" creationId="{25DDE12D-0BA3-6DE1-93F5-286DCD800897}"/>
          </ac:spMkLst>
        </pc:spChg>
        <pc:spChg chg="add del">
          <ac:chgData name="Bullinger, Marvin" userId="5b54ce5a-dc89-476f-af33-5abd75d5b1e8" providerId="ADAL" clId="{43B71669-8A80-4333-9349-B258A9296B49}" dt="2024-02-27T16:53:49.050" v="3382"/>
          <ac:spMkLst>
            <pc:docMk/>
            <pc:sldMk cId="965765845" sldId="581"/>
            <ac:spMk id="429" creationId="{4B278661-AFE1-CD71-EAF4-7FE9F6E2A9FD}"/>
          </ac:spMkLst>
        </pc:spChg>
        <pc:spChg chg="add del">
          <ac:chgData name="Bullinger, Marvin" userId="5b54ce5a-dc89-476f-af33-5abd75d5b1e8" providerId="ADAL" clId="{43B71669-8A80-4333-9349-B258A9296B49}" dt="2024-02-27T16:53:49.050" v="3382"/>
          <ac:spMkLst>
            <pc:docMk/>
            <pc:sldMk cId="965765845" sldId="581"/>
            <ac:spMk id="430" creationId="{E68A6C1E-3B34-4CB9-AC81-8D7052637EA4}"/>
          </ac:spMkLst>
        </pc:spChg>
        <pc:spChg chg="add del">
          <ac:chgData name="Bullinger, Marvin" userId="5b54ce5a-dc89-476f-af33-5abd75d5b1e8" providerId="ADAL" clId="{43B71669-8A80-4333-9349-B258A9296B49}" dt="2024-02-27T16:53:49.050" v="3382"/>
          <ac:spMkLst>
            <pc:docMk/>
            <pc:sldMk cId="965765845" sldId="581"/>
            <ac:spMk id="431" creationId="{18C333C0-F10A-D87B-24B3-EF92CA45FBDB}"/>
          </ac:spMkLst>
        </pc:spChg>
        <pc:spChg chg="add del">
          <ac:chgData name="Bullinger, Marvin" userId="5b54ce5a-dc89-476f-af33-5abd75d5b1e8" providerId="ADAL" clId="{43B71669-8A80-4333-9349-B258A9296B49}" dt="2024-02-27T16:53:49.050" v="3382"/>
          <ac:spMkLst>
            <pc:docMk/>
            <pc:sldMk cId="965765845" sldId="581"/>
            <ac:spMk id="432" creationId="{681DD7E5-29DC-43C2-9CE1-193B16EB32DC}"/>
          </ac:spMkLst>
        </pc:spChg>
        <pc:spChg chg="add del">
          <ac:chgData name="Bullinger, Marvin" userId="5b54ce5a-dc89-476f-af33-5abd75d5b1e8" providerId="ADAL" clId="{43B71669-8A80-4333-9349-B258A9296B49}" dt="2024-02-27T16:53:49.050" v="3382"/>
          <ac:spMkLst>
            <pc:docMk/>
            <pc:sldMk cId="965765845" sldId="581"/>
            <ac:spMk id="433" creationId="{B1E64FA7-C64F-B45D-1DFC-6BA81B3D62E1}"/>
          </ac:spMkLst>
        </pc:spChg>
        <pc:spChg chg="add del">
          <ac:chgData name="Bullinger, Marvin" userId="5b54ce5a-dc89-476f-af33-5abd75d5b1e8" providerId="ADAL" clId="{43B71669-8A80-4333-9349-B258A9296B49}" dt="2024-02-27T16:53:49.050" v="3382"/>
          <ac:spMkLst>
            <pc:docMk/>
            <pc:sldMk cId="965765845" sldId="581"/>
            <ac:spMk id="434" creationId="{956E986A-BF9E-E2CA-95C0-6C9A47ED23B6}"/>
          </ac:spMkLst>
        </pc:spChg>
        <pc:spChg chg="add del">
          <ac:chgData name="Bullinger, Marvin" userId="5b54ce5a-dc89-476f-af33-5abd75d5b1e8" providerId="ADAL" clId="{43B71669-8A80-4333-9349-B258A9296B49}" dt="2024-02-27T16:53:49.050" v="3382"/>
          <ac:spMkLst>
            <pc:docMk/>
            <pc:sldMk cId="965765845" sldId="581"/>
            <ac:spMk id="435" creationId="{8A77741C-58E0-527B-AFB9-4F8E1F701AA0}"/>
          </ac:spMkLst>
        </pc:spChg>
        <pc:spChg chg="add del">
          <ac:chgData name="Bullinger, Marvin" userId="5b54ce5a-dc89-476f-af33-5abd75d5b1e8" providerId="ADAL" clId="{43B71669-8A80-4333-9349-B258A9296B49}" dt="2024-02-27T16:53:49.050" v="3382"/>
          <ac:spMkLst>
            <pc:docMk/>
            <pc:sldMk cId="965765845" sldId="581"/>
            <ac:spMk id="436" creationId="{9C81FDB0-8D5A-DDFA-80E7-E7EA2D77731F}"/>
          </ac:spMkLst>
        </pc:spChg>
        <pc:spChg chg="add del">
          <ac:chgData name="Bullinger, Marvin" userId="5b54ce5a-dc89-476f-af33-5abd75d5b1e8" providerId="ADAL" clId="{43B71669-8A80-4333-9349-B258A9296B49}" dt="2024-02-27T16:53:49.050" v="3382"/>
          <ac:spMkLst>
            <pc:docMk/>
            <pc:sldMk cId="965765845" sldId="581"/>
            <ac:spMk id="437" creationId="{139F423B-D0B5-245E-A7F7-092708BEBF60}"/>
          </ac:spMkLst>
        </pc:spChg>
        <pc:spChg chg="add del">
          <ac:chgData name="Bullinger, Marvin" userId="5b54ce5a-dc89-476f-af33-5abd75d5b1e8" providerId="ADAL" clId="{43B71669-8A80-4333-9349-B258A9296B49}" dt="2024-02-27T16:53:49.050" v="3382"/>
          <ac:spMkLst>
            <pc:docMk/>
            <pc:sldMk cId="965765845" sldId="581"/>
            <ac:spMk id="438" creationId="{99ED61B8-F1DF-FCD8-E13C-47DBB7C01A51}"/>
          </ac:spMkLst>
        </pc:spChg>
        <pc:spChg chg="add del">
          <ac:chgData name="Bullinger, Marvin" userId="5b54ce5a-dc89-476f-af33-5abd75d5b1e8" providerId="ADAL" clId="{43B71669-8A80-4333-9349-B258A9296B49}" dt="2024-02-27T16:53:49.050" v="3382"/>
          <ac:spMkLst>
            <pc:docMk/>
            <pc:sldMk cId="965765845" sldId="581"/>
            <ac:spMk id="439" creationId="{D2073F32-0FC4-3B64-AA2C-8AE05C4A7D4F}"/>
          </ac:spMkLst>
        </pc:spChg>
        <pc:spChg chg="add del">
          <ac:chgData name="Bullinger, Marvin" userId="5b54ce5a-dc89-476f-af33-5abd75d5b1e8" providerId="ADAL" clId="{43B71669-8A80-4333-9349-B258A9296B49}" dt="2024-02-27T16:53:49.050" v="3382"/>
          <ac:spMkLst>
            <pc:docMk/>
            <pc:sldMk cId="965765845" sldId="581"/>
            <ac:spMk id="440" creationId="{2D19BA94-62D5-FE7F-F37B-C7F8B3A34EA2}"/>
          </ac:spMkLst>
        </pc:spChg>
        <pc:spChg chg="add del">
          <ac:chgData name="Bullinger, Marvin" userId="5b54ce5a-dc89-476f-af33-5abd75d5b1e8" providerId="ADAL" clId="{43B71669-8A80-4333-9349-B258A9296B49}" dt="2024-02-27T16:53:49.050" v="3382"/>
          <ac:spMkLst>
            <pc:docMk/>
            <pc:sldMk cId="965765845" sldId="581"/>
            <ac:spMk id="441" creationId="{462B0931-5BD9-5218-0F4E-ABAD9501D340}"/>
          </ac:spMkLst>
        </pc:spChg>
        <pc:spChg chg="add del">
          <ac:chgData name="Bullinger, Marvin" userId="5b54ce5a-dc89-476f-af33-5abd75d5b1e8" providerId="ADAL" clId="{43B71669-8A80-4333-9349-B258A9296B49}" dt="2024-02-27T16:53:49.050" v="3382"/>
          <ac:spMkLst>
            <pc:docMk/>
            <pc:sldMk cId="965765845" sldId="581"/>
            <ac:spMk id="442" creationId="{56572731-36D1-A7FA-785D-F6A131C3960F}"/>
          </ac:spMkLst>
        </pc:spChg>
        <pc:spChg chg="add del">
          <ac:chgData name="Bullinger, Marvin" userId="5b54ce5a-dc89-476f-af33-5abd75d5b1e8" providerId="ADAL" clId="{43B71669-8A80-4333-9349-B258A9296B49}" dt="2024-02-27T16:53:49.050" v="3382"/>
          <ac:spMkLst>
            <pc:docMk/>
            <pc:sldMk cId="965765845" sldId="581"/>
            <ac:spMk id="443" creationId="{CBF923EA-99BB-7F2D-93B6-74A5016825D5}"/>
          </ac:spMkLst>
        </pc:spChg>
        <pc:spChg chg="add del">
          <ac:chgData name="Bullinger, Marvin" userId="5b54ce5a-dc89-476f-af33-5abd75d5b1e8" providerId="ADAL" clId="{43B71669-8A80-4333-9349-B258A9296B49}" dt="2024-02-27T16:53:49.050" v="3382"/>
          <ac:spMkLst>
            <pc:docMk/>
            <pc:sldMk cId="965765845" sldId="581"/>
            <ac:spMk id="444" creationId="{E05BCCF0-C4F7-FC5F-445A-C3F801B392DC}"/>
          </ac:spMkLst>
        </pc:spChg>
        <pc:spChg chg="add del">
          <ac:chgData name="Bullinger, Marvin" userId="5b54ce5a-dc89-476f-af33-5abd75d5b1e8" providerId="ADAL" clId="{43B71669-8A80-4333-9349-B258A9296B49}" dt="2024-02-27T16:53:49.050" v="3382"/>
          <ac:spMkLst>
            <pc:docMk/>
            <pc:sldMk cId="965765845" sldId="581"/>
            <ac:spMk id="445" creationId="{BC6007CA-E2A5-6663-22F1-6B003C6A4E1A}"/>
          </ac:spMkLst>
        </pc:spChg>
        <pc:spChg chg="add del">
          <ac:chgData name="Bullinger, Marvin" userId="5b54ce5a-dc89-476f-af33-5abd75d5b1e8" providerId="ADAL" clId="{43B71669-8A80-4333-9349-B258A9296B49}" dt="2024-02-27T16:53:49.050" v="3382"/>
          <ac:spMkLst>
            <pc:docMk/>
            <pc:sldMk cId="965765845" sldId="581"/>
            <ac:spMk id="446" creationId="{21B91F40-D981-B0ED-7343-BDE6B843015E}"/>
          </ac:spMkLst>
        </pc:spChg>
        <pc:spChg chg="add del">
          <ac:chgData name="Bullinger, Marvin" userId="5b54ce5a-dc89-476f-af33-5abd75d5b1e8" providerId="ADAL" clId="{43B71669-8A80-4333-9349-B258A9296B49}" dt="2024-02-27T16:53:49.050" v="3382"/>
          <ac:spMkLst>
            <pc:docMk/>
            <pc:sldMk cId="965765845" sldId="581"/>
            <ac:spMk id="447" creationId="{0740167D-7BD3-5C2B-0720-69009E86DF83}"/>
          </ac:spMkLst>
        </pc:spChg>
        <pc:spChg chg="add del">
          <ac:chgData name="Bullinger, Marvin" userId="5b54ce5a-dc89-476f-af33-5abd75d5b1e8" providerId="ADAL" clId="{43B71669-8A80-4333-9349-B258A9296B49}" dt="2024-02-27T16:53:49.050" v="3382"/>
          <ac:spMkLst>
            <pc:docMk/>
            <pc:sldMk cId="965765845" sldId="581"/>
            <ac:spMk id="448" creationId="{CB6B609B-17D9-9EE0-F1D3-D10754BA622D}"/>
          </ac:spMkLst>
        </pc:spChg>
        <pc:spChg chg="add del">
          <ac:chgData name="Bullinger, Marvin" userId="5b54ce5a-dc89-476f-af33-5abd75d5b1e8" providerId="ADAL" clId="{43B71669-8A80-4333-9349-B258A9296B49}" dt="2024-02-27T16:53:49.050" v="3382"/>
          <ac:spMkLst>
            <pc:docMk/>
            <pc:sldMk cId="965765845" sldId="581"/>
            <ac:spMk id="449" creationId="{4760B9E3-4A2B-FB7F-58E1-1E2382547C16}"/>
          </ac:spMkLst>
        </pc:spChg>
        <pc:spChg chg="add mod">
          <ac:chgData name="Bullinger, Marvin" userId="5b54ce5a-dc89-476f-af33-5abd75d5b1e8" providerId="ADAL" clId="{43B71669-8A80-4333-9349-B258A9296B49}" dt="2024-02-27T17:26:23.315" v="4666" actId="478"/>
          <ac:spMkLst>
            <pc:docMk/>
            <pc:sldMk cId="965765845" sldId="581"/>
            <ac:spMk id="449" creationId="{F881613D-0232-3A06-756A-F8FD89AAD26E}"/>
          </ac:spMkLst>
        </pc:spChg>
        <pc:spChg chg="add del">
          <ac:chgData name="Bullinger, Marvin" userId="5b54ce5a-dc89-476f-af33-5abd75d5b1e8" providerId="ADAL" clId="{43B71669-8A80-4333-9349-B258A9296B49}" dt="2024-02-27T16:53:49.050" v="3382"/>
          <ac:spMkLst>
            <pc:docMk/>
            <pc:sldMk cId="965765845" sldId="581"/>
            <ac:spMk id="450" creationId="{8C2877D1-CC8C-7E3D-9449-67C867ED3D2B}"/>
          </ac:spMkLst>
        </pc:spChg>
        <pc:spChg chg="del mod ord replST">
          <ac:chgData name="Bullinger, Marvin" userId="5b54ce5a-dc89-476f-af33-5abd75d5b1e8" providerId="ADAL" clId="{43B71669-8A80-4333-9349-B258A9296B49}" dt="2024-02-27T17:26:59.295" v="5970" actId="478"/>
          <ac:spMkLst>
            <pc:docMk/>
            <pc:sldMk cId="965765845" sldId="581"/>
            <ac:spMk id="450" creationId="{D8618AAE-9BB1-7FB1-4FAB-0EE26A43A8E8}"/>
          </ac:spMkLst>
        </pc:spChg>
        <pc:spChg chg="add del">
          <ac:chgData name="Bullinger, Marvin" userId="5b54ce5a-dc89-476f-af33-5abd75d5b1e8" providerId="ADAL" clId="{43B71669-8A80-4333-9349-B258A9296B49}" dt="2024-02-27T16:53:49.050" v="3382"/>
          <ac:spMkLst>
            <pc:docMk/>
            <pc:sldMk cId="965765845" sldId="581"/>
            <ac:spMk id="451" creationId="{562DBC97-DC89-364A-B3EC-F84BD3A5EA80}"/>
          </ac:spMkLst>
        </pc:spChg>
        <pc:spChg chg="del">
          <ac:chgData name="Bullinger, Marvin" userId="5b54ce5a-dc89-476f-af33-5abd75d5b1e8" providerId="ADAL" clId="{43B71669-8A80-4333-9349-B258A9296B49}" dt="2024-02-27T17:26:23.356" v="4703" actId="478"/>
          <ac:spMkLst>
            <pc:docMk/>
            <pc:sldMk cId="965765845" sldId="581"/>
            <ac:spMk id="451" creationId="{84FD6807-BAFD-C396-9539-1AE717769E6F}"/>
          </ac:spMkLst>
        </pc:spChg>
        <pc:spChg chg="del">
          <ac:chgData name="Bullinger, Marvin" userId="5b54ce5a-dc89-476f-af33-5abd75d5b1e8" providerId="ADAL" clId="{43B71669-8A80-4333-9349-B258A9296B49}" dt="2024-02-27T17:26:23.355" v="4702" actId="478"/>
          <ac:spMkLst>
            <pc:docMk/>
            <pc:sldMk cId="965765845" sldId="581"/>
            <ac:spMk id="452" creationId="{287C162F-207F-2523-69B2-454F4B9CBFD1}"/>
          </ac:spMkLst>
        </pc:spChg>
        <pc:spChg chg="add del">
          <ac:chgData name="Bullinger, Marvin" userId="5b54ce5a-dc89-476f-af33-5abd75d5b1e8" providerId="ADAL" clId="{43B71669-8A80-4333-9349-B258A9296B49}" dt="2024-02-27T16:53:49.050" v="3382"/>
          <ac:spMkLst>
            <pc:docMk/>
            <pc:sldMk cId="965765845" sldId="581"/>
            <ac:spMk id="452" creationId="{6A97B0B5-5AD2-B812-6BC5-192280419949}"/>
          </ac:spMkLst>
        </pc:spChg>
        <pc:spChg chg="replST delST">
          <ac:chgData name="Bullinger, Marvin" userId="5b54ce5a-dc89-476f-af33-5abd75d5b1e8" providerId="ADAL" clId="{43B71669-8A80-4333-9349-B258A9296B49}" dt="2024-02-27T16:53:48.848" v="2803"/>
          <ac:spMkLst>
            <pc:docMk/>
            <pc:sldMk cId="965765845" sldId="581"/>
            <ac:spMk id="453" creationId="{444AFA88-8DE1-326E-3E63-AD5100DFA2DA}"/>
          </ac:spMkLst>
        </pc:spChg>
        <pc:spChg chg="del">
          <ac:chgData name="Bullinger, Marvin" userId="5b54ce5a-dc89-476f-af33-5abd75d5b1e8" providerId="ADAL" clId="{43B71669-8A80-4333-9349-B258A9296B49}" dt="2024-02-27T17:26:23.348" v="4701" actId="478"/>
          <ac:spMkLst>
            <pc:docMk/>
            <pc:sldMk cId="965765845" sldId="581"/>
            <ac:spMk id="453" creationId="{A302B1AF-2083-3B36-0AC7-AD1743F03088}"/>
          </ac:spMkLst>
        </pc:spChg>
        <pc:spChg chg="replST delST">
          <ac:chgData name="Bullinger, Marvin" userId="5b54ce5a-dc89-476f-af33-5abd75d5b1e8" providerId="ADAL" clId="{43B71669-8A80-4333-9349-B258A9296B49}" dt="2024-02-27T16:53:48.848" v="2800"/>
          <ac:spMkLst>
            <pc:docMk/>
            <pc:sldMk cId="965765845" sldId="581"/>
            <ac:spMk id="454" creationId="{877F9597-17A1-7F62-6E9D-40D33B2D9AF3}"/>
          </ac:spMkLst>
        </pc:spChg>
        <pc:spChg chg="del">
          <ac:chgData name="Bullinger, Marvin" userId="5b54ce5a-dc89-476f-af33-5abd75d5b1e8" providerId="ADAL" clId="{43B71669-8A80-4333-9349-B258A9296B49}" dt="2024-02-27T17:26:23.348" v="4700" actId="478"/>
          <ac:spMkLst>
            <pc:docMk/>
            <pc:sldMk cId="965765845" sldId="581"/>
            <ac:spMk id="454" creationId="{E39C803C-811D-5687-041E-90D27E22EAC9}"/>
          </ac:spMkLst>
        </pc:spChg>
        <pc:spChg chg="del">
          <ac:chgData name="Bullinger, Marvin" userId="5b54ce5a-dc89-476f-af33-5abd75d5b1e8" providerId="ADAL" clId="{43B71669-8A80-4333-9349-B258A9296B49}" dt="2024-02-27T17:26:23.348" v="4699" actId="478"/>
          <ac:spMkLst>
            <pc:docMk/>
            <pc:sldMk cId="965765845" sldId="581"/>
            <ac:spMk id="455" creationId="{B79B103B-02E9-EEF7-B1DD-598D94CE0FCA}"/>
          </ac:spMkLst>
        </pc:spChg>
        <pc:spChg chg="del">
          <ac:chgData name="Bullinger, Marvin" userId="5b54ce5a-dc89-476f-af33-5abd75d5b1e8" providerId="ADAL" clId="{43B71669-8A80-4333-9349-B258A9296B49}" dt="2024-02-27T17:26:23.348" v="4698" actId="478"/>
          <ac:spMkLst>
            <pc:docMk/>
            <pc:sldMk cId="965765845" sldId="581"/>
            <ac:spMk id="456" creationId="{570E4EA6-C636-A34F-5D8A-3557FA7A8871}"/>
          </ac:spMkLst>
        </pc:spChg>
        <pc:spChg chg="replST delST">
          <ac:chgData name="Bullinger, Marvin" userId="5b54ce5a-dc89-476f-af33-5abd75d5b1e8" providerId="ADAL" clId="{43B71669-8A80-4333-9349-B258A9296B49}" dt="2024-02-27T16:53:48.848" v="2796"/>
          <ac:spMkLst>
            <pc:docMk/>
            <pc:sldMk cId="965765845" sldId="581"/>
            <ac:spMk id="456" creationId="{7C97D5A0-B1C9-B386-4515-29C8E57406A9}"/>
          </ac:spMkLst>
        </pc:spChg>
        <pc:spChg chg="del">
          <ac:chgData name="Bullinger, Marvin" userId="5b54ce5a-dc89-476f-af33-5abd75d5b1e8" providerId="ADAL" clId="{43B71669-8A80-4333-9349-B258A9296B49}" dt="2024-02-27T17:26:23.348" v="4695" actId="478"/>
          <ac:spMkLst>
            <pc:docMk/>
            <pc:sldMk cId="965765845" sldId="581"/>
            <ac:spMk id="457" creationId="{40440650-C336-D0AB-6B6D-8A71FC38D874}"/>
          </ac:spMkLst>
        </pc:spChg>
        <pc:spChg chg="replST delST">
          <ac:chgData name="Bullinger, Marvin" userId="5b54ce5a-dc89-476f-af33-5abd75d5b1e8" providerId="ADAL" clId="{43B71669-8A80-4333-9349-B258A9296B49}" dt="2024-02-27T16:53:48.848" v="2793"/>
          <ac:spMkLst>
            <pc:docMk/>
            <pc:sldMk cId="965765845" sldId="581"/>
            <ac:spMk id="457" creationId="{67B6945D-6C9D-6A6B-EA2B-7B0B4CB86466}"/>
          </ac:spMkLst>
        </pc:spChg>
        <pc:spChg chg="del">
          <ac:chgData name="Bullinger, Marvin" userId="5b54ce5a-dc89-476f-af33-5abd75d5b1e8" providerId="ADAL" clId="{43B71669-8A80-4333-9349-B258A9296B49}" dt="2024-02-27T17:26:23.348" v="4694" actId="478"/>
          <ac:spMkLst>
            <pc:docMk/>
            <pc:sldMk cId="965765845" sldId="581"/>
            <ac:spMk id="458" creationId="{F88CDFC7-62F0-855D-AC9D-19F9B520AFB5}"/>
          </ac:spMkLst>
        </pc:spChg>
        <pc:spChg chg="replST delST">
          <ac:chgData name="Bullinger, Marvin" userId="5b54ce5a-dc89-476f-af33-5abd75d5b1e8" providerId="ADAL" clId="{43B71669-8A80-4333-9349-B258A9296B49}" dt="2024-02-27T16:53:48.848" v="2789"/>
          <ac:spMkLst>
            <pc:docMk/>
            <pc:sldMk cId="965765845" sldId="581"/>
            <ac:spMk id="459" creationId="{86AA1429-85CE-3092-25C9-A382EF00B498}"/>
          </ac:spMkLst>
        </pc:spChg>
        <pc:spChg chg="del">
          <ac:chgData name="Bullinger, Marvin" userId="5b54ce5a-dc89-476f-af33-5abd75d5b1e8" providerId="ADAL" clId="{43B71669-8A80-4333-9349-B258A9296B49}" dt="2024-02-27T17:26:23.348" v="4693" actId="478"/>
          <ac:spMkLst>
            <pc:docMk/>
            <pc:sldMk cId="965765845" sldId="581"/>
            <ac:spMk id="459" creationId="{BD05962B-5140-C1E2-FEBB-EF0828954194}"/>
          </ac:spMkLst>
        </pc:spChg>
        <pc:spChg chg="replST delST">
          <ac:chgData name="Bullinger, Marvin" userId="5b54ce5a-dc89-476f-af33-5abd75d5b1e8" providerId="ADAL" clId="{43B71669-8A80-4333-9349-B258A9296B49}" dt="2024-02-27T16:53:48.848" v="2786"/>
          <ac:spMkLst>
            <pc:docMk/>
            <pc:sldMk cId="965765845" sldId="581"/>
            <ac:spMk id="460" creationId="{5984CF07-5908-130E-8641-71FB53AD3FD8}"/>
          </ac:spMkLst>
        </pc:spChg>
        <pc:spChg chg="del">
          <ac:chgData name="Bullinger, Marvin" userId="5b54ce5a-dc89-476f-af33-5abd75d5b1e8" providerId="ADAL" clId="{43B71669-8A80-4333-9349-B258A9296B49}" dt="2024-02-27T17:26:23.348" v="4692" actId="478"/>
          <ac:spMkLst>
            <pc:docMk/>
            <pc:sldMk cId="965765845" sldId="581"/>
            <ac:spMk id="460" creationId="{68CD5191-E3EE-F409-6588-AA10306C128E}"/>
          </ac:spMkLst>
        </pc:spChg>
        <pc:spChg chg="del">
          <ac:chgData name="Bullinger, Marvin" userId="5b54ce5a-dc89-476f-af33-5abd75d5b1e8" providerId="ADAL" clId="{43B71669-8A80-4333-9349-B258A9296B49}" dt="2024-02-27T17:26:23.348" v="4691" actId="478"/>
          <ac:spMkLst>
            <pc:docMk/>
            <pc:sldMk cId="965765845" sldId="581"/>
            <ac:spMk id="461" creationId="{D1DE84FB-47D2-4ED8-BA61-6C96550EBB59}"/>
          </ac:spMkLst>
        </pc:spChg>
        <pc:spChg chg="replST delST">
          <ac:chgData name="Bullinger, Marvin" userId="5b54ce5a-dc89-476f-af33-5abd75d5b1e8" providerId="ADAL" clId="{43B71669-8A80-4333-9349-B258A9296B49}" dt="2024-02-27T16:53:48.848" v="2782"/>
          <ac:spMkLst>
            <pc:docMk/>
            <pc:sldMk cId="965765845" sldId="581"/>
            <ac:spMk id="462" creationId="{49570D8B-06EB-2679-B744-95C0A53D366B}"/>
          </ac:spMkLst>
        </pc:spChg>
        <pc:spChg chg="del">
          <ac:chgData name="Bullinger, Marvin" userId="5b54ce5a-dc89-476f-af33-5abd75d5b1e8" providerId="ADAL" clId="{43B71669-8A80-4333-9349-B258A9296B49}" dt="2024-02-27T17:26:23.348" v="4690" actId="478"/>
          <ac:spMkLst>
            <pc:docMk/>
            <pc:sldMk cId="965765845" sldId="581"/>
            <ac:spMk id="462" creationId="{BB7D9F05-2EA0-B89D-8D54-5F5AF5717B20}"/>
          </ac:spMkLst>
        </pc:spChg>
        <pc:spChg chg="replST delST">
          <ac:chgData name="Bullinger, Marvin" userId="5b54ce5a-dc89-476f-af33-5abd75d5b1e8" providerId="ADAL" clId="{43B71669-8A80-4333-9349-B258A9296B49}" dt="2024-02-27T16:53:48.832" v="2779"/>
          <ac:spMkLst>
            <pc:docMk/>
            <pc:sldMk cId="965765845" sldId="581"/>
            <ac:spMk id="463" creationId="{22B4FD99-5BA6-DD7F-4628-1D933503B826}"/>
          </ac:spMkLst>
        </pc:spChg>
        <pc:spChg chg="del">
          <ac:chgData name="Bullinger, Marvin" userId="5b54ce5a-dc89-476f-af33-5abd75d5b1e8" providerId="ADAL" clId="{43B71669-8A80-4333-9349-B258A9296B49}" dt="2024-02-27T17:26:23.358" v="4711" actId="478"/>
          <ac:spMkLst>
            <pc:docMk/>
            <pc:sldMk cId="965765845" sldId="581"/>
            <ac:spMk id="463" creationId="{A06367E5-A85A-3B53-8EF6-1C9B4E0F1E35}"/>
          </ac:spMkLst>
        </pc:spChg>
        <pc:spChg chg="mod ord replST delST">
          <ac:chgData name="Bullinger, Marvin" userId="5b54ce5a-dc89-476f-af33-5abd75d5b1e8" providerId="ADAL" clId="{43B71669-8A80-4333-9349-B258A9296B49}" dt="2024-02-27T16:53:49.050" v="3382"/>
          <ac:spMkLst>
            <pc:docMk/>
            <pc:sldMk cId="965765845" sldId="581"/>
            <ac:spMk id="464" creationId="{A560CAFA-200A-EF1F-E57B-F396A46D44B8}"/>
          </ac:spMkLst>
        </pc:spChg>
        <pc:spChg chg="del">
          <ac:chgData name="Bullinger, Marvin" userId="5b54ce5a-dc89-476f-af33-5abd75d5b1e8" providerId="ADAL" clId="{43B71669-8A80-4333-9349-B258A9296B49}" dt="2024-02-27T17:26:23.358" v="4710" actId="478"/>
          <ac:spMkLst>
            <pc:docMk/>
            <pc:sldMk cId="965765845" sldId="581"/>
            <ac:spMk id="464" creationId="{AB19AF9B-01DB-B425-E1BB-B23CAC530A62}"/>
          </ac:spMkLst>
        </pc:spChg>
        <pc:spChg chg="replST delST">
          <ac:chgData name="Bullinger, Marvin" userId="5b54ce5a-dc89-476f-af33-5abd75d5b1e8" providerId="ADAL" clId="{43B71669-8A80-4333-9349-B258A9296B49}" dt="2024-02-27T16:53:48.832" v="2775"/>
          <ac:spMkLst>
            <pc:docMk/>
            <pc:sldMk cId="965765845" sldId="581"/>
            <ac:spMk id="465" creationId="{294AD1FB-3123-871A-C590-6F71604A3403}"/>
          </ac:spMkLst>
        </pc:spChg>
        <pc:spChg chg="del">
          <ac:chgData name="Bullinger, Marvin" userId="5b54ce5a-dc89-476f-af33-5abd75d5b1e8" providerId="ADAL" clId="{43B71669-8A80-4333-9349-B258A9296B49}" dt="2024-02-27T17:26:23.358" v="4709" actId="478"/>
          <ac:spMkLst>
            <pc:docMk/>
            <pc:sldMk cId="965765845" sldId="581"/>
            <ac:spMk id="465" creationId="{56B4FF15-424A-2476-49D1-470AD68338B5}"/>
          </ac:spMkLst>
        </pc:spChg>
        <pc:spChg chg="replST delST">
          <ac:chgData name="Bullinger, Marvin" userId="5b54ce5a-dc89-476f-af33-5abd75d5b1e8" providerId="ADAL" clId="{43B71669-8A80-4333-9349-B258A9296B49}" dt="2024-02-27T16:53:48.832" v="2772"/>
          <ac:spMkLst>
            <pc:docMk/>
            <pc:sldMk cId="965765845" sldId="581"/>
            <ac:spMk id="466" creationId="{8DD37986-BCF3-FD87-B0B0-83CF419943B8}"/>
          </ac:spMkLst>
        </pc:spChg>
        <pc:spChg chg="del">
          <ac:chgData name="Bullinger, Marvin" userId="5b54ce5a-dc89-476f-af33-5abd75d5b1e8" providerId="ADAL" clId="{43B71669-8A80-4333-9349-B258A9296B49}" dt="2024-02-27T17:26:23.358" v="4708" actId="478"/>
          <ac:spMkLst>
            <pc:docMk/>
            <pc:sldMk cId="965765845" sldId="581"/>
            <ac:spMk id="466" creationId="{91DD85F4-04C3-08F8-22E2-FF1F0384AC07}"/>
          </ac:spMkLst>
        </pc:spChg>
        <pc:spChg chg="del">
          <ac:chgData name="Bullinger, Marvin" userId="5b54ce5a-dc89-476f-af33-5abd75d5b1e8" providerId="ADAL" clId="{43B71669-8A80-4333-9349-B258A9296B49}" dt="2024-02-27T17:26:23.358" v="4707" actId="478"/>
          <ac:spMkLst>
            <pc:docMk/>
            <pc:sldMk cId="965765845" sldId="581"/>
            <ac:spMk id="467" creationId="{9DD1B2EA-EA91-0C97-29B9-927D8E111771}"/>
          </ac:spMkLst>
        </pc:spChg>
        <pc:spChg chg="replST delST">
          <ac:chgData name="Bullinger, Marvin" userId="5b54ce5a-dc89-476f-af33-5abd75d5b1e8" providerId="ADAL" clId="{43B71669-8A80-4333-9349-B258A9296B49}" dt="2024-02-27T16:53:48.832" v="2768"/>
          <ac:spMkLst>
            <pc:docMk/>
            <pc:sldMk cId="965765845" sldId="581"/>
            <ac:spMk id="468" creationId="{A8662CA4-9D8E-0E45-7BA5-C6B53B63E9A8}"/>
          </ac:spMkLst>
        </pc:spChg>
        <pc:spChg chg="del">
          <ac:chgData name="Bullinger, Marvin" userId="5b54ce5a-dc89-476f-af33-5abd75d5b1e8" providerId="ADAL" clId="{43B71669-8A80-4333-9349-B258A9296B49}" dt="2024-02-27T17:26:23.358" v="4706" actId="478"/>
          <ac:spMkLst>
            <pc:docMk/>
            <pc:sldMk cId="965765845" sldId="581"/>
            <ac:spMk id="468" creationId="{B7441BEA-595E-4C19-DDEF-9318CA00BC39}"/>
          </ac:spMkLst>
        </pc:spChg>
        <pc:spChg chg="del">
          <ac:chgData name="Bullinger, Marvin" userId="5b54ce5a-dc89-476f-af33-5abd75d5b1e8" providerId="ADAL" clId="{43B71669-8A80-4333-9349-B258A9296B49}" dt="2024-02-27T17:26:23.356" v="4705" actId="478"/>
          <ac:spMkLst>
            <pc:docMk/>
            <pc:sldMk cId="965765845" sldId="581"/>
            <ac:spMk id="469" creationId="{DB49AD59-D2A7-0053-70CB-BD56C60C6335}"/>
          </ac:spMkLst>
        </pc:spChg>
        <pc:spChg chg="replST delST">
          <ac:chgData name="Bullinger, Marvin" userId="5b54ce5a-dc89-476f-af33-5abd75d5b1e8" providerId="ADAL" clId="{43B71669-8A80-4333-9349-B258A9296B49}" dt="2024-02-27T16:53:48.832" v="2765"/>
          <ac:spMkLst>
            <pc:docMk/>
            <pc:sldMk cId="965765845" sldId="581"/>
            <ac:spMk id="469" creationId="{F451D28D-F62D-409F-6FB5-799F57B1BB3C}"/>
          </ac:spMkLst>
        </pc:spChg>
        <pc:spChg chg="del">
          <ac:chgData name="Bullinger, Marvin" userId="5b54ce5a-dc89-476f-af33-5abd75d5b1e8" providerId="ADAL" clId="{43B71669-8A80-4333-9349-B258A9296B49}" dt="2024-02-27T17:26:23.356" v="4704" actId="478"/>
          <ac:spMkLst>
            <pc:docMk/>
            <pc:sldMk cId="965765845" sldId="581"/>
            <ac:spMk id="470" creationId="{D14AAED3-4275-B53F-A017-99A875BB030C}"/>
          </ac:spMkLst>
        </pc:spChg>
        <pc:spChg chg="del">
          <ac:chgData name="Bullinger, Marvin" userId="5b54ce5a-dc89-476f-af33-5abd75d5b1e8" providerId="ADAL" clId="{43B71669-8A80-4333-9349-B258A9296B49}" dt="2024-02-27T17:26:23.348" v="4696" actId="478"/>
          <ac:spMkLst>
            <pc:docMk/>
            <pc:sldMk cId="965765845" sldId="581"/>
            <ac:spMk id="471" creationId="{AC2A0DB1-4BB7-7F11-EC8E-7AB0E86AB48D}"/>
          </ac:spMkLst>
        </pc:spChg>
        <pc:spChg chg="del">
          <ac:chgData name="Bullinger, Marvin" userId="5b54ce5a-dc89-476f-af33-5abd75d5b1e8" providerId="ADAL" clId="{43B71669-8A80-4333-9349-B258A9296B49}" dt="2024-02-27T17:26:23.345" v="4689" actId="478"/>
          <ac:spMkLst>
            <pc:docMk/>
            <pc:sldMk cId="965765845" sldId="581"/>
            <ac:spMk id="472" creationId="{15EE7ED7-51F4-E928-41F7-96878F997D1A}"/>
          </ac:spMkLst>
        </pc:spChg>
        <pc:spChg chg="del">
          <ac:chgData name="Bullinger, Marvin" userId="5b54ce5a-dc89-476f-af33-5abd75d5b1e8" providerId="ADAL" clId="{43B71669-8A80-4333-9349-B258A9296B49}" dt="2024-02-27T17:26:23.348" v="4697" actId="478"/>
          <ac:spMkLst>
            <pc:docMk/>
            <pc:sldMk cId="965765845" sldId="581"/>
            <ac:spMk id="473" creationId="{26ECAAE4-D5B8-62F3-CB0F-E069696B74EE}"/>
          </ac:spMkLst>
        </pc:spChg>
        <pc:spChg chg="del">
          <ac:chgData name="Bullinger, Marvin" userId="5b54ce5a-dc89-476f-af33-5abd75d5b1e8" providerId="ADAL" clId="{43B71669-8A80-4333-9349-B258A9296B49}" dt="2024-02-27T17:26:23.345" v="4688" actId="478"/>
          <ac:spMkLst>
            <pc:docMk/>
            <pc:sldMk cId="965765845" sldId="581"/>
            <ac:spMk id="474" creationId="{FE08544F-2763-AF5F-AD70-1B85351D2DE6}"/>
          </ac:spMkLst>
        </pc:spChg>
        <pc:spChg chg="del">
          <ac:chgData name="Bullinger, Marvin" userId="5b54ce5a-dc89-476f-af33-5abd75d5b1e8" providerId="ADAL" clId="{43B71669-8A80-4333-9349-B258A9296B49}" dt="2024-02-27T17:26:23.345" v="4687" actId="478"/>
          <ac:spMkLst>
            <pc:docMk/>
            <pc:sldMk cId="965765845" sldId="581"/>
            <ac:spMk id="475" creationId="{D1BCB553-C014-926E-0F4A-3F2EA1C98751}"/>
          </ac:spMkLst>
        </pc:spChg>
        <pc:spChg chg="del">
          <ac:chgData name="Bullinger, Marvin" userId="5b54ce5a-dc89-476f-af33-5abd75d5b1e8" providerId="ADAL" clId="{43B71669-8A80-4333-9349-B258A9296B49}" dt="2024-02-27T17:26:23.345" v="4686" actId="478"/>
          <ac:spMkLst>
            <pc:docMk/>
            <pc:sldMk cId="965765845" sldId="581"/>
            <ac:spMk id="476" creationId="{D72D95DC-9D48-45B2-0E6E-CDFF1000DF3B}"/>
          </ac:spMkLst>
        </pc:spChg>
        <pc:spChg chg="del">
          <ac:chgData name="Bullinger, Marvin" userId="5b54ce5a-dc89-476f-af33-5abd75d5b1e8" providerId="ADAL" clId="{43B71669-8A80-4333-9349-B258A9296B49}" dt="2024-02-27T17:26:23.340" v="4685" actId="478"/>
          <ac:spMkLst>
            <pc:docMk/>
            <pc:sldMk cId="965765845" sldId="581"/>
            <ac:spMk id="477" creationId="{D5A3CDDE-517F-36A4-FEDF-019164644C59}"/>
          </ac:spMkLst>
        </pc:spChg>
        <pc:spChg chg="del">
          <ac:chgData name="Bullinger, Marvin" userId="5b54ce5a-dc89-476f-af33-5abd75d5b1e8" providerId="ADAL" clId="{43B71669-8A80-4333-9349-B258A9296B49}" dt="2024-02-27T17:26:23.340" v="4684" actId="478"/>
          <ac:spMkLst>
            <pc:docMk/>
            <pc:sldMk cId="965765845" sldId="581"/>
            <ac:spMk id="478" creationId="{A175F04C-0B47-4890-97FB-C01A843FB1FA}"/>
          </ac:spMkLst>
        </pc:spChg>
        <pc:spChg chg="del">
          <ac:chgData name="Bullinger, Marvin" userId="5b54ce5a-dc89-476f-af33-5abd75d5b1e8" providerId="ADAL" clId="{43B71669-8A80-4333-9349-B258A9296B49}" dt="2024-02-27T17:26:23.340" v="4683" actId="478"/>
          <ac:spMkLst>
            <pc:docMk/>
            <pc:sldMk cId="965765845" sldId="581"/>
            <ac:spMk id="479" creationId="{53B11D59-7198-EC7A-B2DE-33F81404A6C9}"/>
          </ac:spMkLst>
        </pc:spChg>
        <pc:spChg chg="del">
          <ac:chgData name="Bullinger, Marvin" userId="5b54ce5a-dc89-476f-af33-5abd75d5b1e8" providerId="ADAL" clId="{43B71669-8A80-4333-9349-B258A9296B49}" dt="2024-02-27T17:26:23.340" v="4682" actId="478"/>
          <ac:spMkLst>
            <pc:docMk/>
            <pc:sldMk cId="965765845" sldId="581"/>
            <ac:spMk id="480" creationId="{63FDA1DE-CD77-9645-D4CD-EC5C9B7A67E9}"/>
          </ac:spMkLst>
        </pc:spChg>
        <pc:spChg chg="del">
          <ac:chgData name="Bullinger, Marvin" userId="5b54ce5a-dc89-476f-af33-5abd75d5b1e8" providerId="ADAL" clId="{43B71669-8A80-4333-9349-B258A9296B49}" dt="2024-02-27T17:26:23.340" v="4681" actId="478"/>
          <ac:spMkLst>
            <pc:docMk/>
            <pc:sldMk cId="965765845" sldId="581"/>
            <ac:spMk id="481" creationId="{1C2B0254-1273-1AB3-CA85-A99DDD214A72}"/>
          </ac:spMkLst>
        </pc:spChg>
        <pc:spChg chg="del">
          <ac:chgData name="Bullinger, Marvin" userId="5b54ce5a-dc89-476f-af33-5abd75d5b1e8" providerId="ADAL" clId="{43B71669-8A80-4333-9349-B258A9296B49}" dt="2024-02-27T17:26:23.340" v="4680" actId="478"/>
          <ac:spMkLst>
            <pc:docMk/>
            <pc:sldMk cId="965765845" sldId="581"/>
            <ac:spMk id="482" creationId="{691D161D-4D9B-CA46-AF2B-A875AAF5B482}"/>
          </ac:spMkLst>
        </pc:spChg>
        <pc:spChg chg="del">
          <ac:chgData name="Bullinger, Marvin" userId="5b54ce5a-dc89-476f-af33-5abd75d5b1e8" providerId="ADAL" clId="{43B71669-8A80-4333-9349-B258A9296B49}" dt="2024-02-27T17:26:23.340" v="4679" actId="478"/>
          <ac:spMkLst>
            <pc:docMk/>
            <pc:sldMk cId="965765845" sldId="581"/>
            <ac:spMk id="483" creationId="{0F41A30E-9F63-A079-5951-0A2C5721F0C2}"/>
          </ac:spMkLst>
        </pc:spChg>
        <pc:spChg chg="del">
          <ac:chgData name="Bullinger, Marvin" userId="5b54ce5a-dc89-476f-af33-5abd75d5b1e8" providerId="ADAL" clId="{43B71669-8A80-4333-9349-B258A9296B49}" dt="2024-02-27T17:26:23.340" v="4678" actId="478"/>
          <ac:spMkLst>
            <pc:docMk/>
            <pc:sldMk cId="965765845" sldId="581"/>
            <ac:spMk id="484" creationId="{B49A8DA5-5050-DB5D-1854-AC740EB60058}"/>
          </ac:spMkLst>
        </pc:spChg>
        <pc:spChg chg="del">
          <ac:chgData name="Bullinger, Marvin" userId="5b54ce5a-dc89-476f-af33-5abd75d5b1e8" providerId="ADAL" clId="{43B71669-8A80-4333-9349-B258A9296B49}" dt="2024-02-27T17:26:23.339" v="4677" actId="478"/>
          <ac:spMkLst>
            <pc:docMk/>
            <pc:sldMk cId="965765845" sldId="581"/>
            <ac:spMk id="485" creationId="{0AE4C0C2-2EE8-2BFD-4348-E231E7286406}"/>
          </ac:spMkLst>
        </pc:spChg>
        <pc:spChg chg="del">
          <ac:chgData name="Bullinger, Marvin" userId="5b54ce5a-dc89-476f-af33-5abd75d5b1e8" providerId="ADAL" clId="{43B71669-8A80-4333-9349-B258A9296B49}" dt="2024-02-27T17:26:23.339" v="4676" actId="478"/>
          <ac:spMkLst>
            <pc:docMk/>
            <pc:sldMk cId="965765845" sldId="581"/>
            <ac:spMk id="486" creationId="{94C144A0-056C-8492-3E48-AD8D84571D52}"/>
          </ac:spMkLst>
        </pc:spChg>
        <pc:spChg chg="del">
          <ac:chgData name="Bullinger, Marvin" userId="5b54ce5a-dc89-476f-af33-5abd75d5b1e8" providerId="ADAL" clId="{43B71669-8A80-4333-9349-B258A9296B49}" dt="2024-02-27T17:26:23.339" v="4675" actId="478"/>
          <ac:spMkLst>
            <pc:docMk/>
            <pc:sldMk cId="965765845" sldId="581"/>
            <ac:spMk id="487" creationId="{6C6D05D7-6A94-F308-CEFF-AB46825747B6}"/>
          </ac:spMkLst>
        </pc:spChg>
        <pc:spChg chg="replST">
          <ac:chgData name="Bullinger, Marvin" userId="5b54ce5a-dc89-476f-af33-5abd75d5b1e8" providerId="ADAL" clId="{43B71669-8A80-4333-9349-B258A9296B49}" dt="2024-02-27T17:26:24.637" v="5315"/>
          <ac:spMkLst>
            <pc:docMk/>
            <pc:sldMk cId="965765845" sldId="581"/>
            <ac:spMk id="488" creationId="{6EA47CAF-0D52-5D94-D441-C38CF3062529}"/>
          </ac:spMkLst>
        </pc:spChg>
        <pc:spChg chg="replST">
          <ac:chgData name="Bullinger, Marvin" userId="5b54ce5a-dc89-476f-af33-5abd75d5b1e8" providerId="ADAL" clId="{43B71669-8A80-4333-9349-B258A9296B49}" dt="2024-02-27T17:26:24.637" v="5318"/>
          <ac:spMkLst>
            <pc:docMk/>
            <pc:sldMk cId="965765845" sldId="581"/>
            <ac:spMk id="489" creationId="{3C60E979-0713-FA3B-2767-FEB2FD6D162A}"/>
          </ac:spMkLst>
        </pc:spChg>
        <pc:spChg chg="replST">
          <ac:chgData name="Bullinger, Marvin" userId="5b54ce5a-dc89-476f-af33-5abd75d5b1e8" providerId="ADAL" clId="{43B71669-8A80-4333-9349-B258A9296B49}" dt="2024-02-27T17:26:24.650" v="5322"/>
          <ac:spMkLst>
            <pc:docMk/>
            <pc:sldMk cId="965765845" sldId="581"/>
            <ac:spMk id="491" creationId="{578541DD-EF77-885F-6164-3F4FD155E413}"/>
          </ac:spMkLst>
        </pc:spChg>
        <pc:spChg chg="replST">
          <ac:chgData name="Bullinger, Marvin" userId="5b54ce5a-dc89-476f-af33-5abd75d5b1e8" providerId="ADAL" clId="{43B71669-8A80-4333-9349-B258A9296B49}" dt="2024-02-27T17:26:24.650" v="5325"/>
          <ac:spMkLst>
            <pc:docMk/>
            <pc:sldMk cId="965765845" sldId="581"/>
            <ac:spMk id="492" creationId="{73519201-D071-4049-9089-F3CAF7C755AF}"/>
          </ac:spMkLst>
        </pc:spChg>
        <pc:spChg chg="replST">
          <ac:chgData name="Bullinger, Marvin" userId="5b54ce5a-dc89-476f-af33-5abd75d5b1e8" providerId="ADAL" clId="{43B71669-8A80-4333-9349-B258A9296B49}" dt="2024-02-27T17:26:24.666" v="5329"/>
          <ac:spMkLst>
            <pc:docMk/>
            <pc:sldMk cId="965765845" sldId="581"/>
            <ac:spMk id="494" creationId="{E882937F-15DE-B09B-CF9F-0747139B2277}"/>
          </ac:spMkLst>
        </pc:spChg>
        <pc:spChg chg="replST">
          <ac:chgData name="Bullinger, Marvin" userId="5b54ce5a-dc89-476f-af33-5abd75d5b1e8" providerId="ADAL" clId="{43B71669-8A80-4333-9349-B258A9296B49}" dt="2024-02-27T17:26:24.666" v="5332"/>
          <ac:spMkLst>
            <pc:docMk/>
            <pc:sldMk cId="965765845" sldId="581"/>
            <ac:spMk id="495" creationId="{3A58C110-7D14-0B05-009B-EC23F838E212}"/>
          </ac:spMkLst>
        </pc:spChg>
        <pc:spChg chg="replST">
          <ac:chgData name="Bullinger, Marvin" userId="5b54ce5a-dc89-476f-af33-5abd75d5b1e8" providerId="ADAL" clId="{43B71669-8A80-4333-9349-B258A9296B49}" dt="2024-02-27T17:26:24.682" v="5336"/>
          <ac:spMkLst>
            <pc:docMk/>
            <pc:sldMk cId="965765845" sldId="581"/>
            <ac:spMk id="497" creationId="{2C29E967-C314-9750-89FB-64B576D89ABF}"/>
          </ac:spMkLst>
        </pc:spChg>
        <pc:spChg chg="replST">
          <ac:chgData name="Bullinger, Marvin" userId="5b54ce5a-dc89-476f-af33-5abd75d5b1e8" providerId="ADAL" clId="{43B71669-8A80-4333-9349-B258A9296B49}" dt="2024-02-27T17:26:24.682" v="5339"/>
          <ac:spMkLst>
            <pc:docMk/>
            <pc:sldMk cId="965765845" sldId="581"/>
            <ac:spMk id="498" creationId="{0B8C2DBF-EBEA-98E4-3D54-7A50C8275CE4}"/>
          </ac:spMkLst>
        </pc:spChg>
        <pc:spChg chg="replST">
          <ac:chgData name="Bullinger, Marvin" userId="5b54ce5a-dc89-476f-af33-5abd75d5b1e8" providerId="ADAL" clId="{43B71669-8A80-4333-9349-B258A9296B49}" dt="2024-02-27T17:26:24.698" v="5343"/>
          <ac:spMkLst>
            <pc:docMk/>
            <pc:sldMk cId="965765845" sldId="581"/>
            <ac:spMk id="500" creationId="{386C1295-BC3A-4992-C6E7-3C4022B025E2}"/>
          </ac:spMkLst>
        </pc:spChg>
        <pc:spChg chg="replST">
          <ac:chgData name="Bullinger, Marvin" userId="5b54ce5a-dc89-476f-af33-5abd75d5b1e8" providerId="ADAL" clId="{43B71669-8A80-4333-9349-B258A9296B49}" dt="2024-02-27T17:26:24.698" v="5346"/>
          <ac:spMkLst>
            <pc:docMk/>
            <pc:sldMk cId="965765845" sldId="581"/>
            <ac:spMk id="501" creationId="{3DA357EF-9FD7-C31C-1FD8-F4FE49968ADE}"/>
          </ac:spMkLst>
        </pc:spChg>
        <pc:spChg chg="replST">
          <ac:chgData name="Bullinger, Marvin" userId="5b54ce5a-dc89-476f-af33-5abd75d5b1e8" providerId="ADAL" clId="{43B71669-8A80-4333-9349-B258A9296B49}" dt="2024-02-27T17:26:24.714" v="5350"/>
          <ac:spMkLst>
            <pc:docMk/>
            <pc:sldMk cId="965765845" sldId="581"/>
            <ac:spMk id="503" creationId="{4DF1869B-B91C-9A73-83B0-E8FC872221EC}"/>
          </ac:spMkLst>
        </pc:spChg>
        <pc:spChg chg="replST">
          <ac:chgData name="Bullinger, Marvin" userId="5b54ce5a-dc89-476f-af33-5abd75d5b1e8" providerId="ADAL" clId="{43B71669-8A80-4333-9349-B258A9296B49}" dt="2024-02-27T17:26:24.714" v="5353"/>
          <ac:spMkLst>
            <pc:docMk/>
            <pc:sldMk cId="965765845" sldId="581"/>
            <ac:spMk id="504" creationId="{11148D9C-389C-AF96-AE7E-7760687F1530}"/>
          </ac:spMkLst>
        </pc:spChg>
        <pc:spChg chg="del ord replST">
          <ac:chgData name="Bullinger, Marvin" userId="5b54ce5a-dc89-476f-af33-5abd75d5b1e8" providerId="ADAL" clId="{43B71669-8A80-4333-9349-B258A9296B49}" dt="2024-02-27T17:26:59.303" v="5976" actId="478"/>
          <ac:spMkLst>
            <pc:docMk/>
            <pc:sldMk cId="965765845" sldId="581"/>
            <ac:spMk id="505" creationId="{8B049BCE-D5B0-5786-A8D4-ADDD3C719CBA}"/>
          </ac:spMkLst>
        </pc:spChg>
        <pc:spChg chg="replST">
          <ac:chgData name="Bullinger, Marvin" userId="5b54ce5a-dc89-476f-af33-5abd75d5b1e8" providerId="ADAL" clId="{43B71669-8A80-4333-9349-B258A9296B49}" dt="2024-02-27T17:26:24.714" v="5357"/>
          <ac:spMkLst>
            <pc:docMk/>
            <pc:sldMk cId="965765845" sldId="581"/>
            <ac:spMk id="506" creationId="{F6A0E05A-0366-BD87-45AC-7574EBB3FD21}"/>
          </ac:spMkLst>
        </pc:spChg>
        <pc:spChg chg="replST">
          <ac:chgData name="Bullinger, Marvin" userId="5b54ce5a-dc89-476f-af33-5abd75d5b1e8" providerId="ADAL" clId="{43B71669-8A80-4333-9349-B258A9296B49}" dt="2024-02-27T17:26:24.730" v="5360"/>
          <ac:spMkLst>
            <pc:docMk/>
            <pc:sldMk cId="965765845" sldId="581"/>
            <ac:spMk id="507" creationId="{85589A62-ECB8-8752-5BAB-414B5F17DB5E}"/>
          </ac:spMkLst>
        </pc:spChg>
        <pc:spChg chg="replST">
          <ac:chgData name="Bullinger, Marvin" userId="5b54ce5a-dc89-476f-af33-5abd75d5b1e8" providerId="ADAL" clId="{43B71669-8A80-4333-9349-B258A9296B49}" dt="2024-02-27T17:26:24.738" v="5364"/>
          <ac:spMkLst>
            <pc:docMk/>
            <pc:sldMk cId="965765845" sldId="581"/>
            <ac:spMk id="509" creationId="{701F5892-25DD-9B57-83F3-C8F6B0D63ED2}"/>
          </ac:spMkLst>
        </pc:spChg>
        <pc:spChg chg="replST">
          <ac:chgData name="Bullinger, Marvin" userId="5b54ce5a-dc89-476f-af33-5abd75d5b1e8" providerId="ADAL" clId="{43B71669-8A80-4333-9349-B258A9296B49}" dt="2024-02-27T17:26:24.746" v="5367"/>
          <ac:spMkLst>
            <pc:docMk/>
            <pc:sldMk cId="965765845" sldId="581"/>
            <ac:spMk id="510" creationId="{4C3B613B-B768-D062-CFC2-2333C9F79793}"/>
          </ac:spMkLst>
        </pc:spChg>
        <pc:spChg chg="replST">
          <ac:chgData name="Bullinger, Marvin" userId="5b54ce5a-dc89-476f-af33-5abd75d5b1e8" providerId="ADAL" clId="{43B71669-8A80-4333-9349-B258A9296B49}" dt="2024-02-27T17:26:24.750" v="5371"/>
          <ac:spMkLst>
            <pc:docMk/>
            <pc:sldMk cId="965765845" sldId="581"/>
            <ac:spMk id="512" creationId="{5F737DB8-013A-2537-30C1-69BEBB83B7BF}"/>
          </ac:spMkLst>
        </pc:spChg>
        <pc:spChg chg="replST">
          <ac:chgData name="Bullinger, Marvin" userId="5b54ce5a-dc89-476f-af33-5abd75d5b1e8" providerId="ADAL" clId="{43B71669-8A80-4333-9349-B258A9296B49}" dt="2024-02-27T17:26:24.750" v="5374"/>
          <ac:spMkLst>
            <pc:docMk/>
            <pc:sldMk cId="965765845" sldId="581"/>
            <ac:spMk id="513" creationId="{291B7521-6F85-BD5D-01B7-46725A1789DE}"/>
          </ac:spMkLst>
        </pc:spChg>
        <pc:spChg chg="add mod">
          <ac:chgData name="Bullinger, Marvin" userId="5b54ce5a-dc89-476f-af33-5abd75d5b1e8" providerId="ADAL" clId="{43B71669-8A80-4333-9349-B258A9296B49}" dt="2024-02-27T17:26:59.295" v="5970" actId="478"/>
          <ac:spMkLst>
            <pc:docMk/>
            <pc:sldMk cId="965765845" sldId="581"/>
            <ac:spMk id="554" creationId="{7C320FB0-C366-AC38-A1B7-246737BB24E3}"/>
          </ac:spMkLst>
        </pc:spChg>
        <pc:spChg chg="del mod ord replST">
          <ac:chgData name="Bullinger, Marvin" userId="5b54ce5a-dc89-476f-af33-5abd75d5b1e8" providerId="ADAL" clId="{43B71669-8A80-4333-9349-B258A9296B49}" dt="2024-02-27T17:27:36.991" v="7073" actId="478"/>
          <ac:spMkLst>
            <pc:docMk/>
            <pc:sldMk cId="965765845" sldId="581"/>
            <ac:spMk id="555" creationId="{4E2472DF-3D0D-B9B9-AE91-E89981617B3C}"/>
          </ac:spMkLst>
        </pc:spChg>
        <pc:spChg chg="del">
          <ac:chgData name="Bullinger, Marvin" userId="5b54ce5a-dc89-476f-af33-5abd75d5b1e8" providerId="ADAL" clId="{43B71669-8A80-4333-9349-B258A9296B49}" dt="2024-02-27T17:26:59.343" v="6009" actId="478"/>
          <ac:spMkLst>
            <pc:docMk/>
            <pc:sldMk cId="965765845" sldId="581"/>
            <ac:spMk id="556" creationId="{F40C95BD-B978-5B40-B4FC-17FBA6093ABE}"/>
          </ac:spMkLst>
        </pc:spChg>
        <pc:spChg chg="del">
          <ac:chgData name="Bullinger, Marvin" userId="5b54ce5a-dc89-476f-af33-5abd75d5b1e8" providerId="ADAL" clId="{43B71669-8A80-4333-9349-B258A9296B49}" dt="2024-02-27T17:26:59.341" v="6008" actId="478"/>
          <ac:spMkLst>
            <pc:docMk/>
            <pc:sldMk cId="965765845" sldId="581"/>
            <ac:spMk id="557" creationId="{F3F6C128-7DFF-32AE-F4C2-D5DBF2DCAF6F}"/>
          </ac:spMkLst>
        </pc:spChg>
        <pc:spChg chg="del">
          <ac:chgData name="Bullinger, Marvin" userId="5b54ce5a-dc89-476f-af33-5abd75d5b1e8" providerId="ADAL" clId="{43B71669-8A80-4333-9349-B258A9296B49}" dt="2024-02-27T17:26:59.341" v="6007" actId="478"/>
          <ac:spMkLst>
            <pc:docMk/>
            <pc:sldMk cId="965765845" sldId="581"/>
            <ac:spMk id="558" creationId="{C274F920-26F0-91AF-C77E-E877F7F486C1}"/>
          </ac:spMkLst>
        </pc:spChg>
        <pc:spChg chg="del">
          <ac:chgData name="Bullinger, Marvin" userId="5b54ce5a-dc89-476f-af33-5abd75d5b1e8" providerId="ADAL" clId="{43B71669-8A80-4333-9349-B258A9296B49}" dt="2024-02-27T17:26:59.341" v="6006" actId="478"/>
          <ac:spMkLst>
            <pc:docMk/>
            <pc:sldMk cId="965765845" sldId="581"/>
            <ac:spMk id="559" creationId="{62CF98C6-E1FE-D95E-5DBD-B2A4B3241E44}"/>
          </ac:spMkLst>
        </pc:spChg>
        <pc:spChg chg="del">
          <ac:chgData name="Bullinger, Marvin" userId="5b54ce5a-dc89-476f-af33-5abd75d5b1e8" providerId="ADAL" clId="{43B71669-8A80-4333-9349-B258A9296B49}" dt="2024-02-27T17:26:59.341" v="6005" actId="478"/>
          <ac:spMkLst>
            <pc:docMk/>
            <pc:sldMk cId="965765845" sldId="581"/>
            <ac:spMk id="560" creationId="{5752E14B-DFB2-FF5A-4D5D-083E88AE70F0}"/>
          </ac:spMkLst>
        </pc:spChg>
        <pc:spChg chg="del">
          <ac:chgData name="Bullinger, Marvin" userId="5b54ce5a-dc89-476f-af33-5abd75d5b1e8" providerId="ADAL" clId="{43B71669-8A80-4333-9349-B258A9296B49}" dt="2024-02-27T17:26:59.333" v="6004" actId="478"/>
          <ac:spMkLst>
            <pc:docMk/>
            <pc:sldMk cId="965765845" sldId="581"/>
            <ac:spMk id="561" creationId="{01B3977C-2FE5-3768-40C8-A851107FEE01}"/>
          </ac:spMkLst>
        </pc:spChg>
        <pc:spChg chg="del">
          <ac:chgData name="Bullinger, Marvin" userId="5b54ce5a-dc89-476f-af33-5abd75d5b1e8" providerId="ADAL" clId="{43B71669-8A80-4333-9349-B258A9296B49}" dt="2024-02-27T17:26:59.333" v="6001" actId="478"/>
          <ac:spMkLst>
            <pc:docMk/>
            <pc:sldMk cId="965765845" sldId="581"/>
            <ac:spMk id="562" creationId="{97DED24B-50A6-B461-B3FB-5149E898C55B}"/>
          </ac:spMkLst>
        </pc:spChg>
        <pc:spChg chg="del">
          <ac:chgData name="Bullinger, Marvin" userId="5b54ce5a-dc89-476f-af33-5abd75d5b1e8" providerId="ADAL" clId="{43B71669-8A80-4333-9349-B258A9296B49}" dt="2024-02-27T17:26:59.333" v="6000" actId="478"/>
          <ac:spMkLst>
            <pc:docMk/>
            <pc:sldMk cId="965765845" sldId="581"/>
            <ac:spMk id="563" creationId="{2EDD7027-EC15-863E-8F39-B34F5F312C2B}"/>
          </ac:spMkLst>
        </pc:spChg>
        <pc:spChg chg="del">
          <ac:chgData name="Bullinger, Marvin" userId="5b54ce5a-dc89-476f-af33-5abd75d5b1e8" providerId="ADAL" clId="{43B71669-8A80-4333-9349-B258A9296B49}" dt="2024-02-27T17:26:59.333" v="5999" actId="478"/>
          <ac:spMkLst>
            <pc:docMk/>
            <pc:sldMk cId="965765845" sldId="581"/>
            <ac:spMk id="564" creationId="{91C86D1E-7953-B65D-91B0-C6EC44E06C6F}"/>
          </ac:spMkLst>
        </pc:spChg>
        <pc:spChg chg="del">
          <ac:chgData name="Bullinger, Marvin" userId="5b54ce5a-dc89-476f-af33-5abd75d5b1e8" providerId="ADAL" clId="{43B71669-8A80-4333-9349-B258A9296B49}" dt="2024-02-27T17:26:59.333" v="5998" actId="478"/>
          <ac:spMkLst>
            <pc:docMk/>
            <pc:sldMk cId="965765845" sldId="581"/>
            <ac:spMk id="565" creationId="{3FECDEF4-5337-F272-637C-78C4E04AFAFA}"/>
          </ac:spMkLst>
        </pc:spChg>
        <pc:spChg chg="del">
          <ac:chgData name="Bullinger, Marvin" userId="5b54ce5a-dc89-476f-af33-5abd75d5b1e8" providerId="ADAL" clId="{43B71669-8A80-4333-9349-B258A9296B49}" dt="2024-02-27T17:26:59.333" v="5997" actId="478"/>
          <ac:spMkLst>
            <pc:docMk/>
            <pc:sldMk cId="965765845" sldId="581"/>
            <ac:spMk id="566" creationId="{D0F06DFD-C2CB-1CFF-0615-E6BA54355A25}"/>
          </ac:spMkLst>
        </pc:spChg>
        <pc:spChg chg="del">
          <ac:chgData name="Bullinger, Marvin" userId="5b54ce5a-dc89-476f-af33-5abd75d5b1e8" providerId="ADAL" clId="{43B71669-8A80-4333-9349-B258A9296B49}" dt="2024-02-27T17:26:59.333" v="5996" actId="478"/>
          <ac:spMkLst>
            <pc:docMk/>
            <pc:sldMk cId="965765845" sldId="581"/>
            <ac:spMk id="567" creationId="{2F5E68A6-9D58-0E9D-8F45-DFB7568DB528}"/>
          </ac:spMkLst>
        </pc:spChg>
        <pc:spChg chg="del">
          <ac:chgData name="Bullinger, Marvin" userId="5b54ce5a-dc89-476f-af33-5abd75d5b1e8" providerId="ADAL" clId="{43B71669-8A80-4333-9349-B258A9296B49}" dt="2024-02-27T17:26:59.343" v="6017" actId="478"/>
          <ac:spMkLst>
            <pc:docMk/>
            <pc:sldMk cId="965765845" sldId="581"/>
            <ac:spMk id="568" creationId="{F5943339-F7E6-48D4-9755-CA8F7F629FEF}"/>
          </ac:spMkLst>
        </pc:spChg>
        <pc:spChg chg="del">
          <ac:chgData name="Bullinger, Marvin" userId="5b54ce5a-dc89-476f-af33-5abd75d5b1e8" providerId="ADAL" clId="{43B71669-8A80-4333-9349-B258A9296B49}" dt="2024-02-27T17:26:59.343" v="6016" actId="478"/>
          <ac:spMkLst>
            <pc:docMk/>
            <pc:sldMk cId="965765845" sldId="581"/>
            <ac:spMk id="569" creationId="{EF18CA00-9486-870D-500E-0852EF789DD6}"/>
          </ac:spMkLst>
        </pc:spChg>
        <pc:spChg chg="del">
          <ac:chgData name="Bullinger, Marvin" userId="5b54ce5a-dc89-476f-af33-5abd75d5b1e8" providerId="ADAL" clId="{43B71669-8A80-4333-9349-B258A9296B49}" dt="2024-02-27T17:26:59.343" v="6015" actId="478"/>
          <ac:spMkLst>
            <pc:docMk/>
            <pc:sldMk cId="965765845" sldId="581"/>
            <ac:spMk id="570" creationId="{4D1D2A88-90D8-97EF-788D-92EA9AC57232}"/>
          </ac:spMkLst>
        </pc:spChg>
        <pc:spChg chg="del">
          <ac:chgData name="Bullinger, Marvin" userId="5b54ce5a-dc89-476f-af33-5abd75d5b1e8" providerId="ADAL" clId="{43B71669-8A80-4333-9349-B258A9296B49}" dt="2024-02-27T17:26:59.343" v="6014" actId="478"/>
          <ac:spMkLst>
            <pc:docMk/>
            <pc:sldMk cId="965765845" sldId="581"/>
            <ac:spMk id="571" creationId="{95C831D4-4EC5-3E3E-0CAA-CA9D5FEDBE71}"/>
          </ac:spMkLst>
        </pc:spChg>
        <pc:spChg chg="del">
          <ac:chgData name="Bullinger, Marvin" userId="5b54ce5a-dc89-476f-af33-5abd75d5b1e8" providerId="ADAL" clId="{43B71669-8A80-4333-9349-B258A9296B49}" dt="2024-02-27T17:26:59.343" v="6013" actId="478"/>
          <ac:spMkLst>
            <pc:docMk/>
            <pc:sldMk cId="965765845" sldId="581"/>
            <ac:spMk id="572" creationId="{05BB54B4-6D18-0919-564D-DE5FDBBF9A2C}"/>
          </ac:spMkLst>
        </pc:spChg>
        <pc:spChg chg="del">
          <ac:chgData name="Bullinger, Marvin" userId="5b54ce5a-dc89-476f-af33-5abd75d5b1e8" providerId="ADAL" clId="{43B71669-8A80-4333-9349-B258A9296B49}" dt="2024-02-27T17:26:59.343" v="6012" actId="478"/>
          <ac:spMkLst>
            <pc:docMk/>
            <pc:sldMk cId="965765845" sldId="581"/>
            <ac:spMk id="573" creationId="{EEB630F1-1E7B-0112-6B0A-8F9C6345B5A7}"/>
          </ac:spMkLst>
        </pc:spChg>
        <pc:spChg chg="del">
          <ac:chgData name="Bullinger, Marvin" userId="5b54ce5a-dc89-476f-af33-5abd75d5b1e8" providerId="ADAL" clId="{43B71669-8A80-4333-9349-B258A9296B49}" dt="2024-02-27T17:26:59.343" v="6011" actId="478"/>
          <ac:spMkLst>
            <pc:docMk/>
            <pc:sldMk cId="965765845" sldId="581"/>
            <ac:spMk id="574" creationId="{C2AA52FF-35A2-B2AB-DAE3-13E2A9623505}"/>
          </ac:spMkLst>
        </pc:spChg>
        <pc:spChg chg="del">
          <ac:chgData name="Bullinger, Marvin" userId="5b54ce5a-dc89-476f-af33-5abd75d5b1e8" providerId="ADAL" clId="{43B71669-8A80-4333-9349-B258A9296B49}" dt="2024-02-27T17:26:59.343" v="6010" actId="478"/>
          <ac:spMkLst>
            <pc:docMk/>
            <pc:sldMk cId="965765845" sldId="581"/>
            <ac:spMk id="575" creationId="{3AE09797-D2F1-90C7-CDB0-EF7F882FE3C8}"/>
          </ac:spMkLst>
        </pc:spChg>
        <pc:spChg chg="del">
          <ac:chgData name="Bullinger, Marvin" userId="5b54ce5a-dc89-476f-af33-5abd75d5b1e8" providerId="ADAL" clId="{43B71669-8A80-4333-9349-B258A9296B49}" dt="2024-02-27T17:26:59.333" v="6002" actId="478"/>
          <ac:spMkLst>
            <pc:docMk/>
            <pc:sldMk cId="965765845" sldId="581"/>
            <ac:spMk id="576" creationId="{79E076CE-F332-D637-B3A1-BF788E3FA493}"/>
          </ac:spMkLst>
        </pc:spChg>
        <pc:spChg chg="del">
          <ac:chgData name="Bullinger, Marvin" userId="5b54ce5a-dc89-476f-af33-5abd75d5b1e8" providerId="ADAL" clId="{43B71669-8A80-4333-9349-B258A9296B49}" dt="2024-02-27T17:26:59.333" v="5995" actId="478"/>
          <ac:spMkLst>
            <pc:docMk/>
            <pc:sldMk cId="965765845" sldId="581"/>
            <ac:spMk id="577" creationId="{5C75DD45-FADE-76CC-E7CC-C6FA627A3C64}"/>
          </ac:spMkLst>
        </pc:spChg>
        <pc:spChg chg="del">
          <ac:chgData name="Bullinger, Marvin" userId="5b54ce5a-dc89-476f-af33-5abd75d5b1e8" providerId="ADAL" clId="{43B71669-8A80-4333-9349-B258A9296B49}" dt="2024-02-27T17:26:59.333" v="6003" actId="478"/>
          <ac:spMkLst>
            <pc:docMk/>
            <pc:sldMk cId="965765845" sldId="581"/>
            <ac:spMk id="578" creationId="{E9F358F2-DEDD-259E-A3D2-CB1BAFFE68AC}"/>
          </ac:spMkLst>
        </pc:spChg>
        <pc:spChg chg="del">
          <ac:chgData name="Bullinger, Marvin" userId="5b54ce5a-dc89-476f-af33-5abd75d5b1e8" providerId="ADAL" clId="{43B71669-8A80-4333-9349-B258A9296B49}" dt="2024-02-27T17:26:59.333" v="5994" actId="478"/>
          <ac:spMkLst>
            <pc:docMk/>
            <pc:sldMk cId="965765845" sldId="581"/>
            <ac:spMk id="579" creationId="{97BD6ECB-ACB0-F4BB-1BA7-A6AD7E64C9E5}"/>
          </ac:spMkLst>
        </pc:spChg>
        <pc:spChg chg="del">
          <ac:chgData name="Bullinger, Marvin" userId="5b54ce5a-dc89-476f-af33-5abd75d5b1e8" providerId="ADAL" clId="{43B71669-8A80-4333-9349-B258A9296B49}" dt="2024-02-27T17:26:59.333" v="5993" actId="478"/>
          <ac:spMkLst>
            <pc:docMk/>
            <pc:sldMk cId="965765845" sldId="581"/>
            <ac:spMk id="580" creationId="{0EF8B556-12C7-49A1-32E0-302CFEEB320B}"/>
          </ac:spMkLst>
        </pc:spChg>
        <pc:spChg chg="del">
          <ac:chgData name="Bullinger, Marvin" userId="5b54ce5a-dc89-476f-af33-5abd75d5b1e8" providerId="ADAL" clId="{43B71669-8A80-4333-9349-B258A9296B49}" dt="2024-02-27T17:26:59.333" v="5992" actId="478"/>
          <ac:spMkLst>
            <pc:docMk/>
            <pc:sldMk cId="965765845" sldId="581"/>
            <ac:spMk id="581" creationId="{3FF0AE21-FCB5-FD30-0E29-3CB48B6063D3}"/>
          </ac:spMkLst>
        </pc:spChg>
        <pc:spChg chg="del">
          <ac:chgData name="Bullinger, Marvin" userId="5b54ce5a-dc89-476f-af33-5abd75d5b1e8" providerId="ADAL" clId="{43B71669-8A80-4333-9349-B258A9296B49}" dt="2024-02-27T17:26:59.331" v="5991" actId="478"/>
          <ac:spMkLst>
            <pc:docMk/>
            <pc:sldMk cId="965765845" sldId="581"/>
            <ac:spMk id="582" creationId="{4BEEC3B0-28C0-C639-DE39-A2ACDC028151}"/>
          </ac:spMkLst>
        </pc:spChg>
        <pc:spChg chg="del">
          <ac:chgData name="Bullinger, Marvin" userId="5b54ce5a-dc89-476f-af33-5abd75d5b1e8" providerId="ADAL" clId="{43B71669-8A80-4333-9349-B258A9296B49}" dt="2024-02-27T17:26:59.331" v="5990" actId="478"/>
          <ac:spMkLst>
            <pc:docMk/>
            <pc:sldMk cId="965765845" sldId="581"/>
            <ac:spMk id="583" creationId="{E538C863-B5EF-BD21-42BE-75E56C8DA689}"/>
          </ac:spMkLst>
        </pc:spChg>
        <pc:spChg chg="del">
          <ac:chgData name="Bullinger, Marvin" userId="5b54ce5a-dc89-476f-af33-5abd75d5b1e8" providerId="ADAL" clId="{43B71669-8A80-4333-9349-B258A9296B49}" dt="2024-02-27T17:26:59.323" v="5989" actId="478"/>
          <ac:spMkLst>
            <pc:docMk/>
            <pc:sldMk cId="965765845" sldId="581"/>
            <ac:spMk id="584" creationId="{9768F4F8-633B-1176-AAA0-13FE151BD474}"/>
          </ac:spMkLst>
        </pc:spChg>
        <pc:spChg chg="del">
          <ac:chgData name="Bullinger, Marvin" userId="5b54ce5a-dc89-476f-af33-5abd75d5b1e8" providerId="ADAL" clId="{43B71669-8A80-4333-9349-B258A9296B49}" dt="2024-02-27T17:26:59.323" v="5988" actId="478"/>
          <ac:spMkLst>
            <pc:docMk/>
            <pc:sldMk cId="965765845" sldId="581"/>
            <ac:spMk id="585" creationId="{79D119C2-33F4-B1C9-37B6-185D5ACCA892}"/>
          </ac:spMkLst>
        </pc:spChg>
        <pc:spChg chg="del">
          <ac:chgData name="Bullinger, Marvin" userId="5b54ce5a-dc89-476f-af33-5abd75d5b1e8" providerId="ADAL" clId="{43B71669-8A80-4333-9349-B258A9296B49}" dt="2024-02-27T17:26:59.323" v="5987" actId="478"/>
          <ac:spMkLst>
            <pc:docMk/>
            <pc:sldMk cId="965765845" sldId="581"/>
            <ac:spMk id="586" creationId="{C6C3BE74-743B-C10F-D2D2-C2A3608211F5}"/>
          </ac:spMkLst>
        </pc:spChg>
        <pc:spChg chg="del">
          <ac:chgData name="Bullinger, Marvin" userId="5b54ce5a-dc89-476f-af33-5abd75d5b1e8" providerId="ADAL" clId="{43B71669-8A80-4333-9349-B258A9296B49}" dt="2024-02-27T17:26:59.323" v="5986" actId="478"/>
          <ac:spMkLst>
            <pc:docMk/>
            <pc:sldMk cId="965765845" sldId="581"/>
            <ac:spMk id="587" creationId="{AA1D6E55-FDF5-FC76-8512-FF01E824A9AD}"/>
          </ac:spMkLst>
        </pc:spChg>
        <pc:spChg chg="del">
          <ac:chgData name="Bullinger, Marvin" userId="5b54ce5a-dc89-476f-af33-5abd75d5b1e8" providerId="ADAL" clId="{43B71669-8A80-4333-9349-B258A9296B49}" dt="2024-02-27T17:26:59.323" v="5985" actId="478"/>
          <ac:spMkLst>
            <pc:docMk/>
            <pc:sldMk cId="965765845" sldId="581"/>
            <ac:spMk id="588" creationId="{F7D4B390-9B2A-8474-6261-69E3878FD907}"/>
          </ac:spMkLst>
        </pc:spChg>
        <pc:spChg chg="del">
          <ac:chgData name="Bullinger, Marvin" userId="5b54ce5a-dc89-476f-af33-5abd75d5b1e8" providerId="ADAL" clId="{43B71669-8A80-4333-9349-B258A9296B49}" dt="2024-02-27T17:26:59.323" v="5984" actId="478"/>
          <ac:spMkLst>
            <pc:docMk/>
            <pc:sldMk cId="965765845" sldId="581"/>
            <ac:spMk id="589" creationId="{0F5F92E4-60D1-19EE-A286-7425B46D9961}"/>
          </ac:spMkLst>
        </pc:spChg>
        <pc:spChg chg="del">
          <ac:chgData name="Bullinger, Marvin" userId="5b54ce5a-dc89-476f-af33-5abd75d5b1e8" providerId="ADAL" clId="{43B71669-8A80-4333-9349-B258A9296B49}" dt="2024-02-27T17:26:59.323" v="5983" actId="478"/>
          <ac:spMkLst>
            <pc:docMk/>
            <pc:sldMk cId="965765845" sldId="581"/>
            <ac:spMk id="590" creationId="{AC5697E6-943F-46D1-FD8A-E8BEDCFB5B60}"/>
          </ac:spMkLst>
        </pc:spChg>
        <pc:spChg chg="del">
          <ac:chgData name="Bullinger, Marvin" userId="5b54ce5a-dc89-476f-af33-5abd75d5b1e8" providerId="ADAL" clId="{43B71669-8A80-4333-9349-B258A9296B49}" dt="2024-02-27T17:26:59.323" v="5982" actId="478"/>
          <ac:spMkLst>
            <pc:docMk/>
            <pc:sldMk cId="965765845" sldId="581"/>
            <ac:spMk id="591" creationId="{32A7DB0D-2A55-505B-CD54-B757CEEBA46A}"/>
          </ac:spMkLst>
        </pc:spChg>
        <pc:spChg chg="del">
          <ac:chgData name="Bullinger, Marvin" userId="5b54ce5a-dc89-476f-af33-5abd75d5b1e8" providerId="ADAL" clId="{43B71669-8A80-4333-9349-B258A9296B49}" dt="2024-02-27T17:26:59.323" v="5981" actId="478"/>
          <ac:spMkLst>
            <pc:docMk/>
            <pc:sldMk cId="965765845" sldId="581"/>
            <ac:spMk id="592" creationId="{03FD1C8D-91DE-E2F4-CA8F-85A124981D39}"/>
          </ac:spMkLst>
        </pc:spChg>
        <pc:spChg chg="replST">
          <ac:chgData name="Bullinger, Marvin" userId="5b54ce5a-dc89-476f-af33-5abd75d5b1e8" providerId="ADAL" clId="{43B71669-8A80-4333-9349-B258A9296B49}" dt="2024-02-27T17:27:00.356" v="6510"/>
          <ac:spMkLst>
            <pc:docMk/>
            <pc:sldMk cId="965765845" sldId="581"/>
            <ac:spMk id="593" creationId="{358111CF-5602-AF79-8EA2-B7CA7A79FC9E}"/>
          </ac:spMkLst>
        </pc:spChg>
        <pc:spChg chg="replST">
          <ac:chgData name="Bullinger, Marvin" userId="5b54ce5a-dc89-476f-af33-5abd75d5b1e8" providerId="ADAL" clId="{43B71669-8A80-4333-9349-B258A9296B49}" dt="2024-02-27T17:27:00.356" v="6513"/>
          <ac:spMkLst>
            <pc:docMk/>
            <pc:sldMk cId="965765845" sldId="581"/>
            <ac:spMk id="594" creationId="{C84252F3-8396-4D38-495F-EA2190D225F9}"/>
          </ac:spMkLst>
        </pc:spChg>
        <pc:spChg chg="replST">
          <ac:chgData name="Bullinger, Marvin" userId="5b54ce5a-dc89-476f-af33-5abd75d5b1e8" providerId="ADAL" clId="{43B71669-8A80-4333-9349-B258A9296B49}" dt="2024-02-27T17:27:00.373" v="6517"/>
          <ac:spMkLst>
            <pc:docMk/>
            <pc:sldMk cId="965765845" sldId="581"/>
            <ac:spMk id="596" creationId="{05E71907-D5E1-3179-5616-489B981CE32F}"/>
          </ac:spMkLst>
        </pc:spChg>
        <pc:spChg chg="replST">
          <ac:chgData name="Bullinger, Marvin" userId="5b54ce5a-dc89-476f-af33-5abd75d5b1e8" providerId="ADAL" clId="{43B71669-8A80-4333-9349-B258A9296B49}" dt="2024-02-27T17:27:00.373" v="6520"/>
          <ac:spMkLst>
            <pc:docMk/>
            <pc:sldMk cId="965765845" sldId="581"/>
            <ac:spMk id="597" creationId="{DEB7524D-9C56-7532-A7C4-6ADED5C7B89B}"/>
          </ac:spMkLst>
        </pc:spChg>
        <pc:spChg chg="replST">
          <ac:chgData name="Bullinger, Marvin" userId="5b54ce5a-dc89-476f-af33-5abd75d5b1e8" providerId="ADAL" clId="{43B71669-8A80-4333-9349-B258A9296B49}" dt="2024-02-27T17:27:00.381" v="6524"/>
          <ac:spMkLst>
            <pc:docMk/>
            <pc:sldMk cId="965765845" sldId="581"/>
            <ac:spMk id="599" creationId="{5E3297EF-7019-50C6-9F1C-1C3B036F7062}"/>
          </ac:spMkLst>
        </pc:spChg>
        <pc:spChg chg="replST">
          <ac:chgData name="Bullinger, Marvin" userId="5b54ce5a-dc89-476f-af33-5abd75d5b1e8" providerId="ADAL" clId="{43B71669-8A80-4333-9349-B258A9296B49}" dt="2024-02-27T17:27:00.389" v="6527"/>
          <ac:spMkLst>
            <pc:docMk/>
            <pc:sldMk cId="965765845" sldId="581"/>
            <ac:spMk id="600" creationId="{BB46F96C-9248-0D6F-D039-DE34C9A7C1D9}"/>
          </ac:spMkLst>
        </pc:spChg>
        <pc:spChg chg="replST">
          <ac:chgData name="Bullinger, Marvin" userId="5b54ce5a-dc89-476f-af33-5abd75d5b1e8" providerId="ADAL" clId="{43B71669-8A80-4333-9349-B258A9296B49}" dt="2024-02-27T17:27:00.389" v="6531"/>
          <ac:spMkLst>
            <pc:docMk/>
            <pc:sldMk cId="965765845" sldId="581"/>
            <ac:spMk id="602" creationId="{3910B962-5277-5A95-BDC4-CDE68675830E}"/>
          </ac:spMkLst>
        </pc:spChg>
        <pc:spChg chg="replST">
          <ac:chgData name="Bullinger, Marvin" userId="5b54ce5a-dc89-476f-af33-5abd75d5b1e8" providerId="ADAL" clId="{43B71669-8A80-4333-9349-B258A9296B49}" dt="2024-02-27T17:27:00.405" v="6534"/>
          <ac:spMkLst>
            <pc:docMk/>
            <pc:sldMk cId="965765845" sldId="581"/>
            <ac:spMk id="603" creationId="{45DF6D5D-8080-88B1-E1F2-2F6E11EE7886}"/>
          </ac:spMkLst>
        </pc:spChg>
        <pc:spChg chg="replST">
          <ac:chgData name="Bullinger, Marvin" userId="5b54ce5a-dc89-476f-af33-5abd75d5b1e8" providerId="ADAL" clId="{43B71669-8A80-4333-9349-B258A9296B49}" dt="2024-02-27T17:27:00.420" v="6538"/>
          <ac:spMkLst>
            <pc:docMk/>
            <pc:sldMk cId="965765845" sldId="581"/>
            <ac:spMk id="605" creationId="{294BEA9F-6A3A-DE8A-1148-3AC57C8B44AC}"/>
          </ac:spMkLst>
        </pc:spChg>
        <pc:spChg chg="replST">
          <ac:chgData name="Bullinger, Marvin" userId="5b54ce5a-dc89-476f-af33-5abd75d5b1e8" providerId="ADAL" clId="{43B71669-8A80-4333-9349-B258A9296B49}" dt="2024-02-27T17:27:00.425" v="6541"/>
          <ac:spMkLst>
            <pc:docMk/>
            <pc:sldMk cId="965765845" sldId="581"/>
            <ac:spMk id="606" creationId="{FE060BA7-6B3E-C7E7-9F64-268C202EE7B7}"/>
          </ac:spMkLst>
        </pc:spChg>
        <pc:spChg chg="del ord replST">
          <ac:chgData name="Bullinger, Marvin" userId="5b54ce5a-dc89-476f-af33-5abd75d5b1e8" providerId="ADAL" clId="{43B71669-8A80-4333-9349-B258A9296B49}" dt="2024-02-27T17:27:36.993" v="7078" actId="478"/>
          <ac:spMkLst>
            <pc:docMk/>
            <pc:sldMk cId="965765845" sldId="581"/>
            <ac:spMk id="607" creationId="{F7DA6800-59BE-910F-5822-6214B93A62D3}"/>
          </ac:spMkLst>
        </pc:spChg>
        <pc:spChg chg="replST">
          <ac:chgData name="Bullinger, Marvin" userId="5b54ce5a-dc89-476f-af33-5abd75d5b1e8" providerId="ADAL" clId="{43B71669-8A80-4333-9349-B258A9296B49}" dt="2024-02-27T17:27:00.425" v="6545"/>
          <ac:spMkLst>
            <pc:docMk/>
            <pc:sldMk cId="965765845" sldId="581"/>
            <ac:spMk id="608" creationId="{B0C41EDF-3F4B-F956-E1E5-60A861FD2A19}"/>
          </ac:spMkLst>
        </pc:spChg>
        <pc:spChg chg="replST">
          <ac:chgData name="Bullinger, Marvin" userId="5b54ce5a-dc89-476f-af33-5abd75d5b1e8" providerId="ADAL" clId="{43B71669-8A80-4333-9349-B258A9296B49}" dt="2024-02-27T17:27:00.425" v="6548"/>
          <ac:spMkLst>
            <pc:docMk/>
            <pc:sldMk cId="965765845" sldId="581"/>
            <ac:spMk id="609" creationId="{DF3FA5C8-D3AE-429D-338D-34AFD64FF9D4}"/>
          </ac:spMkLst>
        </pc:spChg>
        <pc:spChg chg="replST">
          <ac:chgData name="Bullinger, Marvin" userId="5b54ce5a-dc89-476f-af33-5abd75d5b1e8" providerId="ADAL" clId="{43B71669-8A80-4333-9349-B258A9296B49}" dt="2024-02-27T17:27:00.441" v="6552"/>
          <ac:spMkLst>
            <pc:docMk/>
            <pc:sldMk cId="965765845" sldId="581"/>
            <ac:spMk id="611" creationId="{BF9758E3-57D2-4F35-E2CB-3B16313BAE63}"/>
          </ac:spMkLst>
        </pc:spChg>
        <pc:spChg chg="replST">
          <ac:chgData name="Bullinger, Marvin" userId="5b54ce5a-dc89-476f-af33-5abd75d5b1e8" providerId="ADAL" clId="{43B71669-8A80-4333-9349-B258A9296B49}" dt="2024-02-27T17:27:00.441" v="6555"/>
          <ac:spMkLst>
            <pc:docMk/>
            <pc:sldMk cId="965765845" sldId="581"/>
            <ac:spMk id="612" creationId="{1D018B62-F8D6-44C5-93F5-2BAD0890D410}"/>
          </ac:spMkLst>
        </pc:spChg>
        <pc:spChg chg="replST">
          <ac:chgData name="Bullinger, Marvin" userId="5b54ce5a-dc89-476f-af33-5abd75d5b1e8" providerId="ADAL" clId="{43B71669-8A80-4333-9349-B258A9296B49}" dt="2024-02-27T17:27:00.441" v="6559"/>
          <ac:spMkLst>
            <pc:docMk/>
            <pc:sldMk cId="965765845" sldId="581"/>
            <ac:spMk id="614" creationId="{8B74B37A-606B-B624-D866-CE37D41394BC}"/>
          </ac:spMkLst>
        </pc:spChg>
        <pc:spChg chg="replST">
          <ac:chgData name="Bullinger, Marvin" userId="5b54ce5a-dc89-476f-af33-5abd75d5b1e8" providerId="ADAL" clId="{43B71669-8A80-4333-9349-B258A9296B49}" dt="2024-02-27T17:27:00.459" v="6562"/>
          <ac:spMkLst>
            <pc:docMk/>
            <pc:sldMk cId="965765845" sldId="581"/>
            <ac:spMk id="615" creationId="{45612F11-4471-FD91-E8F0-1FCC97CE501E}"/>
          </ac:spMkLst>
        </pc:spChg>
        <pc:spChg chg="add mod">
          <ac:chgData name="Bullinger, Marvin" userId="5b54ce5a-dc89-476f-af33-5abd75d5b1e8" providerId="ADAL" clId="{43B71669-8A80-4333-9349-B258A9296B49}" dt="2024-02-27T17:27:36.991" v="7073" actId="478"/>
          <ac:spMkLst>
            <pc:docMk/>
            <pc:sldMk cId="965765845" sldId="581"/>
            <ac:spMk id="656" creationId="{47CB5557-F397-4618-3785-0CB2DBC5C5D9}"/>
          </ac:spMkLst>
        </pc:spChg>
        <pc:spChg chg="mod ord replST">
          <ac:chgData name="Bullinger, Marvin" userId="5b54ce5a-dc89-476f-af33-5abd75d5b1e8" providerId="ADAL" clId="{43B71669-8A80-4333-9349-B258A9296B49}" dt="2024-02-27T17:27:37.951" v="7556"/>
          <ac:spMkLst>
            <pc:docMk/>
            <pc:sldMk cId="965765845" sldId="581"/>
            <ac:spMk id="657" creationId="{D715065B-41C7-F019-A03C-29B3277DA655}"/>
          </ac:spMkLst>
        </pc:spChg>
        <pc:spChg chg="del">
          <ac:chgData name="Bullinger, Marvin" userId="5b54ce5a-dc89-476f-af33-5abd75d5b1e8" providerId="ADAL" clId="{43B71669-8A80-4333-9349-B258A9296B49}" dt="2024-02-27T17:27:37.025" v="7111" actId="478"/>
          <ac:spMkLst>
            <pc:docMk/>
            <pc:sldMk cId="965765845" sldId="581"/>
            <ac:spMk id="658" creationId="{9C9AFCF7-6148-846B-EA46-35284143A37C}"/>
          </ac:spMkLst>
        </pc:spChg>
        <pc:spChg chg="del">
          <ac:chgData name="Bullinger, Marvin" userId="5b54ce5a-dc89-476f-af33-5abd75d5b1e8" providerId="ADAL" clId="{43B71669-8A80-4333-9349-B258A9296B49}" dt="2024-02-27T17:27:37.025" v="7110" actId="478"/>
          <ac:spMkLst>
            <pc:docMk/>
            <pc:sldMk cId="965765845" sldId="581"/>
            <ac:spMk id="659" creationId="{6499AE33-C211-4DEA-6AC3-E4F8B78977F3}"/>
          </ac:spMkLst>
        </pc:spChg>
        <pc:spChg chg="del">
          <ac:chgData name="Bullinger, Marvin" userId="5b54ce5a-dc89-476f-af33-5abd75d5b1e8" providerId="ADAL" clId="{43B71669-8A80-4333-9349-B258A9296B49}" dt="2024-02-27T17:27:37.025" v="7109" actId="478"/>
          <ac:spMkLst>
            <pc:docMk/>
            <pc:sldMk cId="965765845" sldId="581"/>
            <ac:spMk id="660" creationId="{03E37614-F829-02B1-41DB-EE926097977D}"/>
          </ac:spMkLst>
        </pc:spChg>
        <pc:spChg chg="del">
          <ac:chgData name="Bullinger, Marvin" userId="5b54ce5a-dc89-476f-af33-5abd75d5b1e8" providerId="ADAL" clId="{43B71669-8A80-4333-9349-B258A9296B49}" dt="2024-02-27T17:27:37.025" v="7108" actId="478"/>
          <ac:spMkLst>
            <pc:docMk/>
            <pc:sldMk cId="965765845" sldId="581"/>
            <ac:spMk id="661" creationId="{D3F3DA33-5D81-6F20-976E-8AED64E2FC56}"/>
          </ac:spMkLst>
        </pc:spChg>
        <pc:spChg chg="del">
          <ac:chgData name="Bullinger, Marvin" userId="5b54ce5a-dc89-476f-af33-5abd75d5b1e8" providerId="ADAL" clId="{43B71669-8A80-4333-9349-B258A9296B49}" dt="2024-02-27T17:27:37.025" v="7107" actId="478"/>
          <ac:spMkLst>
            <pc:docMk/>
            <pc:sldMk cId="965765845" sldId="581"/>
            <ac:spMk id="662" creationId="{6CFECC8A-41AC-A002-955B-0265D9609C98}"/>
          </ac:spMkLst>
        </pc:spChg>
        <pc:spChg chg="del">
          <ac:chgData name="Bullinger, Marvin" userId="5b54ce5a-dc89-476f-af33-5abd75d5b1e8" providerId="ADAL" clId="{43B71669-8A80-4333-9349-B258A9296B49}" dt="2024-02-27T17:27:37.025" v="7106" actId="478"/>
          <ac:spMkLst>
            <pc:docMk/>
            <pc:sldMk cId="965765845" sldId="581"/>
            <ac:spMk id="663" creationId="{FE88EC07-20AF-F8A6-96EA-0C0D85ECF121}"/>
          </ac:spMkLst>
        </pc:spChg>
        <pc:spChg chg="del">
          <ac:chgData name="Bullinger, Marvin" userId="5b54ce5a-dc89-476f-af33-5abd75d5b1e8" providerId="ADAL" clId="{43B71669-8A80-4333-9349-B258A9296B49}" dt="2024-02-27T17:27:37.022" v="7103" actId="478"/>
          <ac:spMkLst>
            <pc:docMk/>
            <pc:sldMk cId="965765845" sldId="581"/>
            <ac:spMk id="664" creationId="{9BCB65E1-4521-04E2-AD22-0670922255AD}"/>
          </ac:spMkLst>
        </pc:spChg>
        <pc:spChg chg="del">
          <ac:chgData name="Bullinger, Marvin" userId="5b54ce5a-dc89-476f-af33-5abd75d5b1e8" providerId="ADAL" clId="{43B71669-8A80-4333-9349-B258A9296B49}" dt="2024-02-27T17:27:37.022" v="7102" actId="478"/>
          <ac:spMkLst>
            <pc:docMk/>
            <pc:sldMk cId="965765845" sldId="581"/>
            <ac:spMk id="665" creationId="{F5BCEC16-D944-D211-5D0F-2CE87F6E4BD8}"/>
          </ac:spMkLst>
        </pc:spChg>
        <pc:spChg chg="del">
          <ac:chgData name="Bullinger, Marvin" userId="5b54ce5a-dc89-476f-af33-5abd75d5b1e8" providerId="ADAL" clId="{43B71669-8A80-4333-9349-B258A9296B49}" dt="2024-02-27T17:27:37.014" v="7101" actId="478"/>
          <ac:spMkLst>
            <pc:docMk/>
            <pc:sldMk cId="965765845" sldId="581"/>
            <ac:spMk id="666" creationId="{A56FB026-A4F9-68FF-A4DE-DC77FFF836AE}"/>
          </ac:spMkLst>
        </pc:spChg>
        <pc:spChg chg="del">
          <ac:chgData name="Bullinger, Marvin" userId="5b54ce5a-dc89-476f-af33-5abd75d5b1e8" providerId="ADAL" clId="{43B71669-8A80-4333-9349-B258A9296B49}" dt="2024-02-27T17:27:37.014" v="7100" actId="478"/>
          <ac:spMkLst>
            <pc:docMk/>
            <pc:sldMk cId="965765845" sldId="581"/>
            <ac:spMk id="667" creationId="{26C2FE2D-AFD1-770C-09A4-ABBBE0E0D6F0}"/>
          </ac:spMkLst>
        </pc:spChg>
        <pc:spChg chg="del">
          <ac:chgData name="Bullinger, Marvin" userId="5b54ce5a-dc89-476f-af33-5abd75d5b1e8" providerId="ADAL" clId="{43B71669-8A80-4333-9349-B258A9296B49}" dt="2024-02-27T17:27:37.014" v="7099" actId="478"/>
          <ac:spMkLst>
            <pc:docMk/>
            <pc:sldMk cId="965765845" sldId="581"/>
            <ac:spMk id="668" creationId="{95752C90-AF73-2DDF-FBF1-59763AFECE59}"/>
          </ac:spMkLst>
        </pc:spChg>
        <pc:spChg chg="del">
          <ac:chgData name="Bullinger, Marvin" userId="5b54ce5a-dc89-476f-af33-5abd75d5b1e8" providerId="ADAL" clId="{43B71669-8A80-4333-9349-B258A9296B49}" dt="2024-02-27T17:27:37.014" v="7098" actId="478"/>
          <ac:spMkLst>
            <pc:docMk/>
            <pc:sldMk cId="965765845" sldId="581"/>
            <ac:spMk id="669" creationId="{D12D592C-00F7-6B00-A50A-8C57CF097408}"/>
          </ac:spMkLst>
        </pc:spChg>
        <pc:spChg chg="del">
          <ac:chgData name="Bullinger, Marvin" userId="5b54ce5a-dc89-476f-af33-5abd75d5b1e8" providerId="ADAL" clId="{43B71669-8A80-4333-9349-B258A9296B49}" dt="2024-02-27T17:27:37.025" v="7119" actId="478"/>
          <ac:spMkLst>
            <pc:docMk/>
            <pc:sldMk cId="965765845" sldId="581"/>
            <ac:spMk id="670" creationId="{CE6BDCE2-EBE0-F99F-D966-08DBA595C8EB}"/>
          </ac:spMkLst>
        </pc:spChg>
        <pc:spChg chg="del">
          <ac:chgData name="Bullinger, Marvin" userId="5b54ce5a-dc89-476f-af33-5abd75d5b1e8" providerId="ADAL" clId="{43B71669-8A80-4333-9349-B258A9296B49}" dt="2024-02-27T17:27:37.025" v="7118" actId="478"/>
          <ac:spMkLst>
            <pc:docMk/>
            <pc:sldMk cId="965765845" sldId="581"/>
            <ac:spMk id="671" creationId="{023CA3E9-4F01-E29F-46BB-C3909F6E18FB}"/>
          </ac:spMkLst>
        </pc:spChg>
        <pc:spChg chg="del">
          <ac:chgData name="Bullinger, Marvin" userId="5b54ce5a-dc89-476f-af33-5abd75d5b1e8" providerId="ADAL" clId="{43B71669-8A80-4333-9349-B258A9296B49}" dt="2024-02-27T17:27:37.025" v="7117" actId="478"/>
          <ac:spMkLst>
            <pc:docMk/>
            <pc:sldMk cId="965765845" sldId="581"/>
            <ac:spMk id="672" creationId="{CB0F167C-1F6B-2477-62A5-3F0D102A4731}"/>
          </ac:spMkLst>
        </pc:spChg>
        <pc:spChg chg="del">
          <ac:chgData name="Bullinger, Marvin" userId="5b54ce5a-dc89-476f-af33-5abd75d5b1e8" providerId="ADAL" clId="{43B71669-8A80-4333-9349-B258A9296B49}" dt="2024-02-27T17:27:37.025" v="7116" actId="478"/>
          <ac:spMkLst>
            <pc:docMk/>
            <pc:sldMk cId="965765845" sldId="581"/>
            <ac:spMk id="673" creationId="{49F6D0B8-EB60-D5D2-B23B-380E37EB2D37}"/>
          </ac:spMkLst>
        </pc:spChg>
        <pc:spChg chg="del">
          <ac:chgData name="Bullinger, Marvin" userId="5b54ce5a-dc89-476f-af33-5abd75d5b1e8" providerId="ADAL" clId="{43B71669-8A80-4333-9349-B258A9296B49}" dt="2024-02-27T17:27:37.025" v="7115" actId="478"/>
          <ac:spMkLst>
            <pc:docMk/>
            <pc:sldMk cId="965765845" sldId="581"/>
            <ac:spMk id="674" creationId="{E3413F60-A03F-5C6D-DB92-9EC1D5207AE0}"/>
          </ac:spMkLst>
        </pc:spChg>
        <pc:spChg chg="del">
          <ac:chgData name="Bullinger, Marvin" userId="5b54ce5a-dc89-476f-af33-5abd75d5b1e8" providerId="ADAL" clId="{43B71669-8A80-4333-9349-B258A9296B49}" dt="2024-02-27T17:27:37.025" v="7114" actId="478"/>
          <ac:spMkLst>
            <pc:docMk/>
            <pc:sldMk cId="965765845" sldId="581"/>
            <ac:spMk id="675" creationId="{D3CFC8B1-EC2C-098B-26CA-704BEDB089BF}"/>
          </ac:spMkLst>
        </pc:spChg>
        <pc:spChg chg="del">
          <ac:chgData name="Bullinger, Marvin" userId="5b54ce5a-dc89-476f-af33-5abd75d5b1e8" providerId="ADAL" clId="{43B71669-8A80-4333-9349-B258A9296B49}" dt="2024-02-27T17:27:37.025" v="7113" actId="478"/>
          <ac:spMkLst>
            <pc:docMk/>
            <pc:sldMk cId="965765845" sldId="581"/>
            <ac:spMk id="676" creationId="{DC840863-526D-23D6-ADCA-0B1690013D7C}"/>
          </ac:spMkLst>
        </pc:spChg>
        <pc:spChg chg="del">
          <ac:chgData name="Bullinger, Marvin" userId="5b54ce5a-dc89-476f-af33-5abd75d5b1e8" providerId="ADAL" clId="{43B71669-8A80-4333-9349-B258A9296B49}" dt="2024-02-27T17:27:37.025" v="7112" actId="478"/>
          <ac:spMkLst>
            <pc:docMk/>
            <pc:sldMk cId="965765845" sldId="581"/>
            <ac:spMk id="677" creationId="{0C12A621-1359-0491-21EF-09258DF67E81}"/>
          </ac:spMkLst>
        </pc:spChg>
        <pc:spChg chg="del">
          <ac:chgData name="Bullinger, Marvin" userId="5b54ce5a-dc89-476f-af33-5abd75d5b1e8" providerId="ADAL" clId="{43B71669-8A80-4333-9349-B258A9296B49}" dt="2024-02-27T17:27:37.022" v="7104" actId="478"/>
          <ac:spMkLst>
            <pc:docMk/>
            <pc:sldMk cId="965765845" sldId="581"/>
            <ac:spMk id="678" creationId="{19A6F0F4-7AD5-6743-B38F-4476622040EA}"/>
          </ac:spMkLst>
        </pc:spChg>
        <pc:spChg chg="del">
          <ac:chgData name="Bullinger, Marvin" userId="5b54ce5a-dc89-476f-af33-5abd75d5b1e8" providerId="ADAL" clId="{43B71669-8A80-4333-9349-B258A9296B49}" dt="2024-02-27T17:27:37.014" v="7097" actId="478"/>
          <ac:spMkLst>
            <pc:docMk/>
            <pc:sldMk cId="965765845" sldId="581"/>
            <ac:spMk id="679" creationId="{D9DB479D-AABE-FCA0-5AFB-4F77758C9FB7}"/>
          </ac:spMkLst>
        </pc:spChg>
        <pc:spChg chg="del">
          <ac:chgData name="Bullinger, Marvin" userId="5b54ce5a-dc89-476f-af33-5abd75d5b1e8" providerId="ADAL" clId="{43B71669-8A80-4333-9349-B258A9296B49}" dt="2024-02-27T17:27:37.025" v="7105" actId="478"/>
          <ac:spMkLst>
            <pc:docMk/>
            <pc:sldMk cId="965765845" sldId="581"/>
            <ac:spMk id="680" creationId="{E661E1FD-7596-A445-3C8B-9C2001985BD2}"/>
          </ac:spMkLst>
        </pc:spChg>
        <pc:spChg chg="del">
          <ac:chgData name="Bullinger, Marvin" userId="5b54ce5a-dc89-476f-af33-5abd75d5b1e8" providerId="ADAL" clId="{43B71669-8A80-4333-9349-B258A9296B49}" dt="2024-02-27T17:27:37.014" v="7096" actId="478"/>
          <ac:spMkLst>
            <pc:docMk/>
            <pc:sldMk cId="965765845" sldId="581"/>
            <ac:spMk id="681" creationId="{71AAEEE4-8237-84D0-6393-C38C02553611}"/>
          </ac:spMkLst>
        </pc:spChg>
        <pc:spChg chg="del">
          <ac:chgData name="Bullinger, Marvin" userId="5b54ce5a-dc89-476f-af33-5abd75d5b1e8" providerId="ADAL" clId="{43B71669-8A80-4333-9349-B258A9296B49}" dt="2024-02-27T17:27:37.014" v="7095" actId="478"/>
          <ac:spMkLst>
            <pc:docMk/>
            <pc:sldMk cId="965765845" sldId="581"/>
            <ac:spMk id="682" creationId="{78B75D93-FB93-5AED-9B7A-D944341F736C}"/>
          </ac:spMkLst>
        </pc:spChg>
        <pc:spChg chg="del">
          <ac:chgData name="Bullinger, Marvin" userId="5b54ce5a-dc89-476f-af33-5abd75d5b1e8" providerId="ADAL" clId="{43B71669-8A80-4333-9349-B258A9296B49}" dt="2024-02-27T17:27:37.014" v="7094" actId="478"/>
          <ac:spMkLst>
            <pc:docMk/>
            <pc:sldMk cId="965765845" sldId="581"/>
            <ac:spMk id="683" creationId="{614FAB4E-4ACA-A41B-94DE-555FAB5E2C95}"/>
          </ac:spMkLst>
        </pc:spChg>
        <pc:spChg chg="del">
          <ac:chgData name="Bullinger, Marvin" userId="5b54ce5a-dc89-476f-af33-5abd75d5b1e8" providerId="ADAL" clId="{43B71669-8A80-4333-9349-B258A9296B49}" dt="2024-02-27T17:27:37.014" v="7093" actId="478"/>
          <ac:spMkLst>
            <pc:docMk/>
            <pc:sldMk cId="965765845" sldId="581"/>
            <ac:spMk id="684" creationId="{03190C48-62E0-5338-14D5-6A81E7D27695}"/>
          </ac:spMkLst>
        </pc:spChg>
        <pc:spChg chg="del">
          <ac:chgData name="Bullinger, Marvin" userId="5b54ce5a-dc89-476f-af33-5abd75d5b1e8" providerId="ADAL" clId="{43B71669-8A80-4333-9349-B258A9296B49}" dt="2024-02-27T17:27:37.014" v="7092" actId="478"/>
          <ac:spMkLst>
            <pc:docMk/>
            <pc:sldMk cId="965765845" sldId="581"/>
            <ac:spMk id="685" creationId="{45F3DB00-82BB-1255-C5A4-27DB600F9437}"/>
          </ac:spMkLst>
        </pc:spChg>
        <pc:spChg chg="del">
          <ac:chgData name="Bullinger, Marvin" userId="5b54ce5a-dc89-476f-af33-5abd75d5b1e8" providerId="ADAL" clId="{43B71669-8A80-4333-9349-B258A9296B49}" dt="2024-02-27T17:27:37.014" v="7091" actId="478"/>
          <ac:spMkLst>
            <pc:docMk/>
            <pc:sldMk cId="965765845" sldId="581"/>
            <ac:spMk id="686" creationId="{C0E2091C-B24B-EE6C-F3F2-172BF745653B}"/>
          </ac:spMkLst>
        </pc:spChg>
        <pc:spChg chg="del">
          <ac:chgData name="Bullinger, Marvin" userId="5b54ce5a-dc89-476f-af33-5abd75d5b1e8" providerId="ADAL" clId="{43B71669-8A80-4333-9349-B258A9296B49}" dt="2024-02-27T17:27:37.014" v="7090" actId="478"/>
          <ac:spMkLst>
            <pc:docMk/>
            <pc:sldMk cId="965765845" sldId="581"/>
            <ac:spMk id="687" creationId="{D2E3DA5A-63C7-DF6C-6021-35C4B2B4FCC2}"/>
          </ac:spMkLst>
        </pc:spChg>
        <pc:spChg chg="del">
          <ac:chgData name="Bullinger, Marvin" userId="5b54ce5a-dc89-476f-af33-5abd75d5b1e8" providerId="ADAL" clId="{43B71669-8A80-4333-9349-B258A9296B49}" dt="2024-02-27T17:27:37.014" v="7089" actId="478"/>
          <ac:spMkLst>
            <pc:docMk/>
            <pc:sldMk cId="965765845" sldId="581"/>
            <ac:spMk id="688" creationId="{0856F9B3-D3B5-AEC8-50EF-DD5B373C9448}"/>
          </ac:spMkLst>
        </pc:spChg>
        <pc:spChg chg="del">
          <ac:chgData name="Bullinger, Marvin" userId="5b54ce5a-dc89-476f-af33-5abd75d5b1e8" providerId="ADAL" clId="{43B71669-8A80-4333-9349-B258A9296B49}" dt="2024-02-27T17:27:37.014" v="7088" actId="478"/>
          <ac:spMkLst>
            <pc:docMk/>
            <pc:sldMk cId="965765845" sldId="581"/>
            <ac:spMk id="689" creationId="{AFB29EAB-E925-4ACA-80AD-A9D7DBD96411}"/>
          </ac:spMkLst>
        </pc:spChg>
        <pc:spChg chg="del">
          <ac:chgData name="Bullinger, Marvin" userId="5b54ce5a-dc89-476f-af33-5abd75d5b1e8" providerId="ADAL" clId="{43B71669-8A80-4333-9349-B258A9296B49}" dt="2024-02-27T17:27:37.014" v="7087" actId="478"/>
          <ac:spMkLst>
            <pc:docMk/>
            <pc:sldMk cId="965765845" sldId="581"/>
            <ac:spMk id="690" creationId="{D3D5E001-6F86-7A6C-660A-D4AF733515C2}"/>
          </ac:spMkLst>
        </pc:spChg>
        <pc:spChg chg="del">
          <ac:chgData name="Bullinger, Marvin" userId="5b54ce5a-dc89-476f-af33-5abd75d5b1e8" providerId="ADAL" clId="{43B71669-8A80-4333-9349-B258A9296B49}" dt="2024-02-27T17:27:37.012" v="7086" actId="478"/>
          <ac:spMkLst>
            <pc:docMk/>
            <pc:sldMk cId="965765845" sldId="581"/>
            <ac:spMk id="691" creationId="{7EA2EA97-2ED4-972B-93D2-A3D5383617E7}"/>
          </ac:spMkLst>
        </pc:spChg>
        <pc:spChg chg="del">
          <ac:chgData name="Bullinger, Marvin" userId="5b54ce5a-dc89-476f-af33-5abd75d5b1e8" providerId="ADAL" clId="{43B71669-8A80-4333-9349-B258A9296B49}" dt="2024-02-27T17:27:37.012" v="7085" actId="478"/>
          <ac:spMkLst>
            <pc:docMk/>
            <pc:sldMk cId="965765845" sldId="581"/>
            <ac:spMk id="692" creationId="{BCFDC6FA-EE89-1458-3E41-C47956B1E0A2}"/>
          </ac:spMkLst>
        </pc:spChg>
        <pc:spChg chg="del">
          <ac:chgData name="Bullinger, Marvin" userId="5b54ce5a-dc89-476f-af33-5abd75d5b1e8" providerId="ADAL" clId="{43B71669-8A80-4333-9349-B258A9296B49}" dt="2024-02-27T17:27:37.012" v="7084" actId="478"/>
          <ac:spMkLst>
            <pc:docMk/>
            <pc:sldMk cId="965765845" sldId="581"/>
            <ac:spMk id="693" creationId="{D5E5A250-45E1-064C-E5BA-8186DADE5050}"/>
          </ac:spMkLst>
        </pc:spChg>
        <pc:spChg chg="del">
          <ac:chgData name="Bullinger, Marvin" userId="5b54ce5a-dc89-476f-af33-5abd75d5b1e8" providerId="ADAL" clId="{43B71669-8A80-4333-9349-B258A9296B49}" dt="2024-02-27T17:27:37.012" v="7083" actId="478"/>
          <ac:spMkLst>
            <pc:docMk/>
            <pc:sldMk cId="965765845" sldId="581"/>
            <ac:spMk id="694" creationId="{BFD25001-E3A6-9878-4509-9402449139DF}"/>
          </ac:spMkLst>
        </pc:spChg>
        <pc:spChg chg="replST">
          <ac:chgData name="Bullinger, Marvin" userId="5b54ce5a-dc89-476f-af33-5abd75d5b1e8" providerId="ADAL" clId="{43B71669-8A80-4333-9349-B258A9296B49}" dt="2024-02-27T17:27:37.859" v="7508"/>
          <ac:spMkLst>
            <pc:docMk/>
            <pc:sldMk cId="965765845" sldId="581"/>
            <ac:spMk id="695" creationId="{18302503-4C74-8836-13E6-ACCDFAD3D617}"/>
          </ac:spMkLst>
        </pc:spChg>
        <pc:spChg chg="replST">
          <ac:chgData name="Bullinger, Marvin" userId="5b54ce5a-dc89-476f-af33-5abd75d5b1e8" providerId="ADAL" clId="{43B71669-8A80-4333-9349-B258A9296B49}" dt="2024-02-27T17:27:37.867" v="7511"/>
          <ac:spMkLst>
            <pc:docMk/>
            <pc:sldMk cId="965765845" sldId="581"/>
            <ac:spMk id="696" creationId="{36005EA1-F6A3-60B9-34E5-AAF8E2FAF75C}"/>
          </ac:spMkLst>
        </pc:spChg>
        <pc:spChg chg="replST">
          <ac:chgData name="Bullinger, Marvin" userId="5b54ce5a-dc89-476f-af33-5abd75d5b1e8" providerId="ADAL" clId="{43B71669-8A80-4333-9349-B258A9296B49}" dt="2024-02-27T17:27:37.871" v="7515"/>
          <ac:spMkLst>
            <pc:docMk/>
            <pc:sldMk cId="965765845" sldId="581"/>
            <ac:spMk id="698" creationId="{8E34EBCF-AF0F-9E9C-E766-F1A0851BB72D}"/>
          </ac:spMkLst>
        </pc:spChg>
        <pc:spChg chg="replST">
          <ac:chgData name="Bullinger, Marvin" userId="5b54ce5a-dc89-476f-af33-5abd75d5b1e8" providerId="ADAL" clId="{43B71669-8A80-4333-9349-B258A9296B49}" dt="2024-02-27T17:27:37.882" v="7518"/>
          <ac:spMkLst>
            <pc:docMk/>
            <pc:sldMk cId="965765845" sldId="581"/>
            <ac:spMk id="699" creationId="{F2B8EFE0-552F-E6C9-314A-683F959E9B17}"/>
          </ac:spMkLst>
        </pc:spChg>
        <pc:spChg chg="replST">
          <ac:chgData name="Bullinger, Marvin" userId="5b54ce5a-dc89-476f-af33-5abd75d5b1e8" providerId="ADAL" clId="{43B71669-8A80-4333-9349-B258A9296B49}" dt="2024-02-27T17:27:37.882" v="7522"/>
          <ac:spMkLst>
            <pc:docMk/>
            <pc:sldMk cId="965765845" sldId="581"/>
            <ac:spMk id="701" creationId="{FFE9941E-5656-94F1-8541-FFA640F5EE40}"/>
          </ac:spMkLst>
        </pc:spChg>
        <pc:spChg chg="replST">
          <ac:chgData name="Bullinger, Marvin" userId="5b54ce5a-dc89-476f-af33-5abd75d5b1e8" providerId="ADAL" clId="{43B71669-8A80-4333-9349-B258A9296B49}" dt="2024-02-27T17:27:37.892" v="7525"/>
          <ac:spMkLst>
            <pc:docMk/>
            <pc:sldMk cId="965765845" sldId="581"/>
            <ac:spMk id="702" creationId="{9DEA4110-70BF-8DE0-11DF-A0BB6A1D72DE}"/>
          </ac:spMkLst>
        </pc:spChg>
        <pc:spChg chg="replST">
          <ac:chgData name="Bullinger, Marvin" userId="5b54ce5a-dc89-476f-af33-5abd75d5b1e8" providerId="ADAL" clId="{43B71669-8A80-4333-9349-B258A9296B49}" dt="2024-02-27T17:27:37.902" v="7529"/>
          <ac:spMkLst>
            <pc:docMk/>
            <pc:sldMk cId="965765845" sldId="581"/>
            <ac:spMk id="704" creationId="{61208DF6-77AB-05BE-6D25-1F24810B7086}"/>
          </ac:spMkLst>
        </pc:spChg>
        <pc:spChg chg="replST">
          <ac:chgData name="Bullinger, Marvin" userId="5b54ce5a-dc89-476f-af33-5abd75d5b1e8" providerId="ADAL" clId="{43B71669-8A80-4333-9349-B258A9296B49}" dt="2024-02-27T17:27:37.902" v="7532"/>
          <ac:spMkLst>
            <pc:docMk/>
            <pc:sldMk cId="965765845" sldId="581"/>
            <ac:spMk id="705" creationId="{F79879F5-BB53-CFEF-9125-0B71D279DDFE}"/>
          </ac:spMkLst>
        </pc:spChg>
        <pc:spChg chg="ord replST">
          <ac:chgData name="Bullinger, Marvin" userId="5b54ce5a-dc89-476f-af33-5abd75d5b1e8" providerId="ADAL" clId="{43B71669-8A80-4333-9349-B258A9296B49}" dt="2024-02-27T17:27:37.953" v="7560"/>
          <ac:spMkLst>
            <pc:docMk/>
            <pc:sldMk cId="965765845" sldId="581"/>
            <ac:spMk id="706" creationId="{FDC0C3FB-2353-4E6D-DCE6-B2CF4105CA7A}"/>
          </ac:spMkLst>
        </pc:spChg>
        <pc:spChg chg="replST">
          <ac:chgData name="Bullinger, Marvin" userId="5b54ce5a-dc89-476f-af33-5abd75d5b1e8" providerId="ADAL" clId="{43B71669-8A80-4333-9349-B258A9296B49}" dt="2024-02-27T17:27:37.913" v="7536"/>
          <ac:spMkLst>
            <pc:docMk/>
            <pc:sldMk cId="965765845" sldId="581"/>
            <ac:spMk id="707" creationId="{16F28C2B-9768-CDBC-9E03-DB349EE19967}"/>
          </ac:spMkLst>
        </pc:spChg>
        <pc:spChg chg="replST">
          <ac:chgData name="Bullinger, Marvin" userId="5b54ce5a-dc89-476f-af33-5abd75d5b1e8" providerId="ADAL" clId="{43B71669-8A80-4333-9349-B258A9296B49}" dt="2024-02-27T17:27:37.921" v="7539"/>
          <ac:spMkLst>
            <pc:docMk/>
            <pc:sldMk cId="965765845" sldId="581"/>
            <ac:spMk id="708" creationId="{26065BB8-4BF3-ACFC-32D3-BDCD73444B0A}"/>
          </ac:spMkLst>
        </pc:spChg>
        <pc:spChg chg="replST">
          <ac:chgData name="Bullinger, Marvin" userId="5b54ce5a-dc89-476f-af33-5abd75d5b1e8" providerId="ADAL" clId="{43B71669-8A80-4333-9349-B258A9296B49}" dt="2024-02-27T17:27:37.923" v="7543"/>
          <ac:spMkLst>
            <pc:docMk/>
            <pc:sldMk cId="965765845" sldId="581"/>
            <ac:spMk id="710" creationId="{90A0B743-E41D-F12A-8F74-9C8CC0C9AEDB}"/>
          </ac:spMkLst>
        </pc:spChg>
        <pc:spChg chg="replST">
          <ac:chgData name="Bullinger, Marvin" userId="5b54ce5a-dc89-476f-af33-5abd75d5b1e8" providerId="ADAL" clId="{43B71669-8A80-4333-9349-B258A9296B49}" dt="2024-02-27T17:27:37.933" v="7546"/>
          <ac:spMkLst>
            <pc:docMk/>
            <pc:sldMk cId="965765845" sldId="581"/>
            <ac:spMk id="711" creationId="{A8486986-6735-75E2-F5E6-8C02C6343F6F}"/>
          </ac:spMkLst>
        </pc:spChg>
        <pc:spChg chg="replST">
          <ac:chgData name="Bullinger, Marvin" userId="5b54ce5a-dc89-476f-af33-5abd75d5b1e8" providerId="ADAL" clId="{43B71669-8A80-4333-9349-B258A9296B49}" dt="2024-02-27T17:27:37.933" v="7550"/>
          <ac:spMkLst>
            <pc:docMk/>
            <pc:sldMk cId="965765845" sldId="581"/>
            <ac:spMk id="713" creationId="{9272B56A-C5F9-C12D-DA64-EE1D7C8DE423}"/>
          </ac:spMkLst>
        </pc:spChg>
        <pc:spChg chg="replST">
          <ac:chgData name="Bullinger, Marvin" userId="5b54ce5a-dc89-476f-af33-5abd75d5b1e8" providerId="ADAL" clId="{43B71669-8A80-4333-9349-B258A9296B49}" dt="2024-02-27T17:27:37.943" v="7553"/>
          <ac:spMkLst>
            <pc:docMk/>
            <pc:sldMk cId="965765845" sldId="581"/>
            <ac:spMk id="714" creationId="{997C659D-4EB2-921B-78DE-E7697915FFB4}"/>
          </ac:spMkLst>
        </pc:spChg>
        <pc:cxnChg chg="del">
          <ac:chgData name="Bullinger, Marvin" userId="5b54ce5a-dc89-476f-af33-5abd75d5b1e8" providerId="ADAL" clId="{43B71669-8A80-4333-9349-B258A9296B49}" dt="2024-02-27T16:45:50.059" v="474" actId="478"/>
          <ac:cxnSpMkLst>
            <pc:docMk/>
            <pc:sldMk cId="965765845" sldId="581"/>
            <ac:cxnSpMk id="239" creationId="{8418E23E-4E68-8FA5-BDF9-5C282BE5F6A5}"/>
          </ac:cxnSpMkLst>
        </pc:cxnChg>
        <pc:cxnChg chg="del">
          <ac:chgData name="Bullinger, Marvin" userId="5b54ce5a-dc89-476f-af33-5abd75d5b1e8" providerId="ADAL" clId="{43B71669-8A80-4333-9349-B258A9296B49}" dt="2024-02-27T16:45:50.059" v="475" actId="478"/>
          <ac:cxnSpMkLst>
            <pc:docMk/>
            <pc:sldMk cId="965765845" sldId="581"/>
            <ac:cxnSpMk id="242" creationId="{8D2D8B20-5CF7-4776-7A9F-486A03B2148B}"/>
          </ac:cxnSpMkLst>
        </pc:cxnChg>
        <pc:cxnChg chg="del">
          <ac:chgData name="Bullinger, Marvin" userId="5b54ce5a-dc89-476f-af33-5abd75d5b1e8" providerId="ADAL" clId="{43B71669-8A80-4333-9349-B258A9296B49}" dt="2024-02-27T16:45:50.059" v="476" actId="478"/>
          <ac:cxnSpMkLst>
            <pc:docMk/>
            <pc:sldMk cId="965765845" sldId="581"/>
            <ac:cxnSpMk id="245" creationId="{492651BC-DE94-A0F3-B6BC-72DE3FFFF7FB}"/>
          </ac:cxnSpMkLst>
        </pc:cxnChg>
        <pc:cxnChg chg="del">
          <ac:chgData name="Bullinger, Marvin" userId="5b54ce5a-dc89-476f-af33-5abd75d5b1e8" providerId="ADAL" clId="{43B71669-8A80-4333-9349-B258A9296B49}" dt="2024-02-27T16:45:50.059" v="478" actId="478"/>
          <ac:cxnSpMkLst>
            <pc:docMk/>
            <pc:sldMk cId="965765845" sldId="581"/>
            <ac:cxnSpMk id="251" creationId="{96A3F842-000C-2198-9F3B-C6C6E3195627}"/>
          </ac:cxnSpMkLst>
        </pc:cxnChg>
        <pc:cxnChg chg="del">
          <ac:chgData name="Bullinger, Marvin" userId="5b54ce5a-dc89-476f-af33-5abd75d5b1e8" providerId="ADAL" clId="{43B71669-8A80-4333-9349-B258A9296B49}" dt="2024-02-27T16:45:50.059" v="479" actId="478"/>
          <ac:cxnSpMkLst>
            <pc:docMk/>
            <pc:sldMk cId="965765845" sldId="581"/>
            <ac:cxnSpMk id="254" creationId="{CE0755E2-5388-49AA-FFB0-DFB07C45A0D5}"/>
          </ac:cxnSpMkLst>
        </pc:cxnChg>
        <pc:cxnChg chg="del">
          <ac:chgData name="Bullinger, Marvin" userId="5b54ce5a-dc89-476f-af33-5abd75d5b1e8" providerId="ADAL" clId="{43B71669-8A80-4333-9349-B258A9296B49}" dt="2024-02-27T16:45:50.059" v="480" actId="478"/>
          <ac:cxnSpMkLst>
            <pc:docMk/>
            <pc:sldMk cId="965765845" sldId="581"/>
            <ac:cxnSpMk id="255" creationId="{A1A33FC9-2D61-283E-D09D-7D4C5F2EB483}"/>
          </ac:cxnSpMkLst>
        </pc:cxnChg>
        <pc:cxnChg chg="del ord replST">
          <ac:chgData name="Bullinger, Marvin" userId="5b54ce5a-dc89-476f-af33-5abd75d5b1e8" providerId="ADAL" clId="{43B71669-8A80-4333-9349-B258A9296B49}" dt="2024-02-27T16:46:20.315" v="1252" actId="478"/>
          <ac:cxnSpMkLst>
            <pc:docMk/>
            <pc:sldMk cId="965765845" sldId="581"/>
            <ac:cxnSpMk id="263" creationId="{713CA1A3-CA57-A929-3E3A-D0601C9C5967}"/>
          </ac:cxnSpMkLst>
        </pc:cxnChg>
        <pc:cxnChg chg="del ord replST">
          <ac:chgData name="Bullinger, Marvin" userId="5b54ce5a-dc89-476f-af33-5abd75d5b1e8" providerId="ADAL" clId="{43B71669-8A80-4333-9349-B258A9296B49}" dt="2024-02-27T16:46:20.316" v="1253" actId="478"/>
          <ac:cxnSpMkLst>
            <pc:docMk/>
            <pc:sldMk cId="965765845" sldId="581"/>
            <ac:cxnSpMk id="266" creationId="{9FDD60A8-BF68-32A1-9971-7E8F61365EF8}"/>
          </ac:cxnSpMkLst>
        </pc:cxnChg>
        <pc:cxnChg chg="del ord replST">
          <ac:chgData name="Bullinger, Marvin" userId="5b54ce5a-dc89-476f-af33-5abd75d5b1e8" providerId="ADAL" clId="{43B71669-8A80-4333-9349-B258A9296B49}" dt="2024-02-27T16:46:20.317" v="1254" actId="478"/>
          <ac:cxnSpMkLst>
            <pc:docMk/>
            <pc:sldMk cId="965765845" sldId="581"/>
            <ac:cxnSpMk id="269" creationId="{92422F8C-C9F8-DE0B-C422-0257C7287029}"/>
          </ac:cxnSpMkLst>
        </pc:cxnChg>
        <pc:cxnChg chg="del ord replST">
          <ac:chgData name="Bullinger, Marvin" userId="5b54ce5a-dc89-476f-af33-5abd75d5b1e8" providerId="ADAL" clId="{43B71669-8A80-4333-9349-B258A9296B49}" dt="2024-02-27T16:46:20.318" v="1256" actId="478"/>
          <ac:cxnSpMkLst>
            <pc:docMk/>
            <pc:sldMk cId="965765845" sldId="581"/>
            <ac:cxnSpMk id="275" creationId="{D9E9D105-673F-AFB6-D6FB-E96EB1E5069D}"/>
          </ac:cxnSpMkLst>
        </pc:cxnChg>
        <pc:cxnChg chg="del ord replST">
          <ac:chgData name="Bullinger, Marvin" userId="5b54ce5a-dc89-476f-af33-5abd75d5b1e8" providerId="ADAL" clId="{43B71669-8A80-4333-9349-B258A9296B49}" dt="2024-02-27T16:46:20.319" v="1257" actId="478"/>
          <ac:cxnSpMkLst>
            <pc:docMk/>
            <pc:sldMk cId="965765845" sldId="581"/>
            <ac:cxnSpMk id="278" creationId="{BFA077A1-7CD9-33DE-30E0-FC133E3CC804}"/>
          </ac:cxnSpMkLst>
        </pc:cxnChg>
        <pc:cxnChg chg="del ord replST">
          <ac:chgData name="Bullinger, Marvin" userId="5b54ce5a-dc89-476f-af33-5abd75d5b1e8" providerId="ADAL" clId="{43B71669-8A80-4333-9349-B258A9296B49}" dt="2024-02-27T16:46:20.319" v="1258" actId="478"/>
          <ac:cxnSpMkLst>
            <pc:docMk/>
            <pc:sldMk cId="965765845" sldId="581"/>
            <ac:cxnSpMk id="279" creationId="{C937618B-17DC-C991-BA19-BBB6672D708D}"/>
          </ac:cxnSpMkLst>
        </pc:cxnChg>
        <pc:cxnChg chg="add del ord replST">
          <ac:chgData name="Bullinger, Marvin" userId="5b54ce5a-dc89-476f-af33-5abd75d5b1e8" providerId="ADAL" clId="{43B71669-8A80-4333-9349-B258A9296B49}" dt="2024-02-27T17:21:07.393" v="3629" actId="478"/>
          <ac:cxnSpMkLst>
            <pc:docMk/>
            <pc:sldMk cId="965765845" sldId="581"/>
            <ac:cxnSpMk id="359" creationId="{51627267-187F-F504-BA9A-293FE53723CB}"/>
          </ac:cxnSpMkLst>
        </pc:cxnChg>
        <pc:cxnChg chg="add del ord replST">
          <ac:chgData name="Bullinger, Marvin" userId="5b54ce5a-dc89-476f-af33-5abd75d5b1e8" providerId="ADAL" clId="{43B71669-8A80-4333-9349-B258A9296B49}" dt="2024-02-27T17:21:07.393" v="3630" actId="478"/>
          <ac:cxnSpMkLst>
            <pc:docMk/>
            <pc:sldMk cId="965765845" sldId="581"/>
            <ac:cxnSpMk id="362" creationId="{0DE27FA7-7DE3-E5CB-770D-12C9553EEBAD}"/>
          </ac:cxnSpMkLst>
        </pc:cxnChg>
        <pc:cxnChg chg="add del ord replST">
          <ac:chgData name="Bullinger, Marvin" userId="5b54ce5a-dc89-476f-af33-5abd75d5b1e8" providerId="ADAL" clId="{43B71669-8A80-4333-9349-B258A9296B49}" dt="2024-02-27T17:21:07.393" v="3631" actId="478"/>
          <ac:cxnSpMkLst>
            <pc:docMk/>
            <pc:sldMk cId="965765845" sldId="581"/>
            <ac:cxnSpMk id="365" creationId="{F55E275E-83BB-C145-FF4A-5D1948D494C0}"/>
          </ac:cxnSpMkLst>
        </pc:cxnChg>
        <pc:cxnChg chg="add del ord replST">
          <ac:chgData name="Bullinger, Marvin" userId="5b54ce5a-dc89-476f-af33-5abd75d5b1e8" providerId="ADAL" clId="{43B71669-8A80-4333-9349-B258A9296B49}" dt="2024-02-27T17:21:07.409" v="3633" actId="478"/>
          <ac:cxnSpMkLst>
            <pc:docMk/>
            <pc:sldMk cId="965765845" sldId="581"/>
            <ac:cxnSpMk id="371" creationId="{20169B84-6340-BBBC-A408-B47D64C995C1}"/>
          </ac:cxnSpMkLst>
        </pc:cxnChg>
        <pc:cxnChg chg="add del ord replST">
          <ac:chgData name="Bullinger, Marvin" userId="5b54ce5a-dc89-476f-af33-5abd75d5b1e8" providerId="ADAL" clId="{43B71669-8A80-4333-9349-B258A9296B49}" dt="2024-02-27T17:21:07.409" v="3634" actId="478"/>
          <ac:cxnSpMkLst>
            <pc:docMk/>
            <pc:sldMk cId="965765845" sldId="581"/>
            <ac:cxnSpMk id="374" creationId="{AD20F756-0F04-A557-3304-D6E1B2039F23}"/>
          </ac:cxnSpMkLst>
        </pc:cxnChg>
        <pc:cxnChg chg="add del ord replST">
          <ac:chgData name="Bullinger, Marvin" userId="5b54ce5a-dc89-476f-af33-5abd75d5b1e8" providerId="ADAL" clId="{43B71669-8A80-4333-9349-B258A9296B49}" dt="2024-02-27T17:21:07.409" v="3635" actId="478"/>
          <ac:cxnSpMkLst>
            <pc:docMk/>
            <pc:sldMk cId="965765845" sldId="581"/>
            <ac:cxnSpMk id="375" creationId="{F45F1684-6AE3-7182-B230-468F92BB410E}"/>
          </ac:cxnSpMkLst>
        </pc:cxnChg>
        <pc:cxnChg chg="del ord replST">
          <ac:chgData name="Bullinger, Marvin" userId="5b54ce5a-dc89-476f-af33-5abd75d5b1e8" providerId="ADAL" clId="{43B71669-8A80-4333-9349-B258A9296B49}" dt="2024-02-27T17:26:23.318" v="4667" actId="478"/>
          <ac:cxnSpMkLst>
            <pc:docMk/>
            <pc:sldMk cId="965765845" sldId="581"/>
            <ac:cxnSpMk id="391" creationId="{5A44F5F5-BF58-BB51-DEA1-361786233262}"/>
          </ac:cxnSpMkLst>
        </pc:cxnChg>
        <pc:cxnChg chg="del ord replST">
          <ac:chgData name="Bullinger, Marvin" userId="5b54ce5a-dc89-476f-af33-5abd75d5b1e8" providerId="ADAL" clId="{43B71669-8A80-4333-9349-B258A9296B49}" dt="2024-02-27T17:26:23.319" v="4668" actId="478"/>
          <ac:cxnSpMkLst>
            <pc:docMk/>
            <pc:sldMk cId="965765845" sldId="581"/>
            <ac:cxnSpMk id="394" creationId="{6D1187E7-5CD7-D51B-C061-0EBC51470966}"/>
          </ac:cxnSpMkLst>
        </pc:cxnChg>
        <pc:cxnChg chg="del ord replST">
          <ac:chgData name="Bullinger, Marvin" userId="5b54ce5a-dc89-476f-af33-5abd75d5b1e8" providerId="ADAL" clId="{43B71669-8A80-4333-9349-B258A9296B49}" dt="2024-02-27T17:26:23.319" v="4669" actId="478"/>
          <ac:cxnSpMkLst>
            <pc:docMk/>
            <pc:sldMk cId="965765845" sldId="581"/>
            <ac:cxnSpMk id="397" creationId="{EE917A77-6669-6626-A65C-693B7CD0C70F}"/>
          </ac:cxnSpMkLst>
        </pc:cxnChg>
        <pc:cxnChg chg="del ord replST">
          <ac:chgData name="Bullinger, Marvin" userId="5b54ce5a-dc89-476f-af33-5abd75d5b1e8" providerId="ADAL" clId="{43B71669-8A80-4333-9349-B258A9296B49}" dt="2024-02-27T17:26:23.319" v="4671" actId="478"/>
          <ac:cxnSpMkLst>
            <pc:docMk/>
            <pc:sldMk cId="965765845" sldId="581"/>
            <ac:cxnSpMk id="403" creationId="{7A4C8FE2-771D-B63E-B3E3-EC1A274F969A}"/>
          </ac:cxnSpMkLst>
        </pc:cxnChg>
        <pc:cxnChg chg="del ord replST">
          <ac:chgData name="Bullinger, Marvin" userId="5b54ce5a-dc89-476f-af33-5abd75d5b1e8" providerId="ADAL" clId="{43B71669-8A80-4333-9349-B258A9296B49}" dt="2024-02-27T17:26:23.319" v="4672" actId="478"/>
          <ac:cxnSpMkLst>
            <pc:docMk/>
            <pc:sldMk cId="965765845" sldId="581"/>
            <ac:cxnSpMk id="406" creationId="{A670755A-5ECD-807C-8A6B-5931329AF4AC}"/>
          </ac:cxnSpMkLst>
        </pc:cxnChg>
        <pc:cxnChg chg="del ord replST">
          <ac:chgData name="Bullinger, Marvin" userId="5b54ce5a-dc89-476f-af33-5abd75d5b1e8" providerId="ADAL" clId="{43B71669-8A80-4333-9349-B258A9296B49}" dt="2024-02-27T17:26:23.325" v="4673" actId="478"/>
          <ac:cxnSpMkLst>
            <pc:docMk/>
            <pc:sldMk cId="965765845" sldId="581"/>
            <ac:cxnSpMk id="409" creationId="{6D103750-CB83-35D2-8A5F-588CBA69CE14}"/>
          </ac:cxnSpMkLst>
        </pc:cxnChg>
        <pc:cxnChg chg="del ord replST">
          <ac:chgData name="Bullinger, Marvin" userId="5b54ce5a-dc89-476f-af33-5abd75d5b1e8" providerId="ADAL" clId="{43B71669-8A80-4333-9349-B258A9296B49}" dt="2024-02-27T17:26:23.325" v="4674" actId="478"/>
          <ac:cxnSpMkLst>
            <pc:docMk/>
            <pc:sldMk cId="965765845" sldId="581"/>
            <ac:cxnSpMk id="410" creationId="{A9D9D0DD-29E2-6C74-A202-8AD3FDDE6AB0}"/>
          </ac:cxnSpMkLst>
        </pc:cxnChg>
        <pc:cxnChg chg="mod ord replST delST">
          <ac:chgData name="Bullinger, Marvin" userId="5b54ce5a-dc89-476f-af33-5abd75d5b1e8" providerId="ADAL" clId="{43B71669-8A80-4333-9349-B258A9296B49}" dt="2024-02-27T16:53:49.050" v="3382"/>
          <ac:cxnSpMkLst>
            <pc:docMk/>
            <pc:sldMk cId="965765845" sldId="581"/>
            <ac:cxnSpMk id="455" creationId="{125356DF-1F47-D98F-A655-F63F35F3AC99}"/>
          </ac:cxnSpMkLst>
        </pc:cxnChg>
        <pc:cxnChg chg="mod ord replST delST">
          <ac:chgData name="Bullinger, Marvin" userId="5b54ce5a-dc89-476f-af33-5abd75d5b1e8" providerId="ADAL" clId="{43B71669-8A80-4333-9349-B258A9296B49}" dt="2024-02-27T16:53:49.050" v="3382"/>
          <ac:cxnSpMkLst>
            <pc:docMk/>
            <pc:sldMk cId="965765845" sldId="581"/>
            <ac:cxnSpMk id="458" creationId="{EB9EC1B0-617A-E570-E9EB-96F44C6E40F4}"/>
          </ac:cxnSpMkLst>
        </pc:cxnChg>
        <pc:cxnChg chg="mod ord replST delST">
          <ac:chgData name="Bullinger, Marvin" userId="5b54ce5a-dc89-476f-af33-5abd75d5b1e8" providerId="ADAL" clId="{43B71669-8A80-4333-9349-B258A9296B49}" dt="2024-02-27T16:53:49.050" v="3382"/>
          <ac:cxnSpMkLst>
            <pc:docMk/>
            <pc:sldMk cId="965765845" sldId="581"/>
            <ac:cxnSpMk id="461" creationId="{DCC9C87B-63B8-BF9A-AB60-05D19E1A43A5}"/>
          </ac:cxnSpMkLst>
        </pc:cxnChg>
        <pc:cxnChg chg="mod ord replST delST">
          <ac:chgData name="Bullinger, Marvin" userId="5b54ce5a-dc89-476f-af33-5abd75d5b1e8" providerId="ADAL" clId="{43B71669-8A80-4333-9349-B258A9296B49}" dt="2024-02-27T16:53:49.050" v="3382"/>
          <ac:cxnSpMkLst>
            <pc:docMk/>
            <pc:sldMk cId="965765845" sldId="581"/>
            <ac:cxnSpMk id="467" creationId="{BE4D4B87-26FA-6131-954C-FC174B092F62}"/>
          </ac:cxnSpMkLst>
        </pc:cxnChg>
        <pc:cxnChg chg="mod ord replST delST">
          <ac:chgData name="Bullinger, Marvin" userId="5b54ce5a-dc89-476f-af33-5abd75d5b1e8" providerId="ADAL" clId="{43B71669-8A80-4333-9349-B258A9296B49}" dt="2024-02-27T16:53:49.050" v="3382"/>
          <ac:cxnSpMkLst>
            <pc:docMk/>
            <pc:sldMk cId="965765845" sldId="581"/>
            <ac:cxnSpMk id="470" creationId="{C3B9ECA4-F7FC-C535-3184-3A5F67F984DC}"/>
          </ac:cxnSpMkLst>
        </pc:cxnChg>
        <pc:cxnChg chg="mod ord replST delST">
          <ac:chgData name="Bullinger, Marvin" userId="5b54ce5a-dc89-476f-af33-5abd75d5b1e8" providerId="ADAL" clId="{43B71669-8A80-4333-9349-B258A9296B49}" dt="2024-02-27T16:53:49.050" v="3382"/>
          <ac:cxnSpMkLst>
            <pc:docMk/>
            <pc:sldMk cId="965765845" sldId="581"/>
            <ac:cxnSpMk id="471" creationId="{1C60055C-27E7-E8F8-93C2-33D4E1E93DB6}"/>
          </ac:cxnSpMkLst>
        </pc:cxnChg>
        <pc:cxnChg chg="del ord replST">
          <ac:chgData name="Bullinger, Marvin" userId="5b54ce5a-dc89-476f-af33-5abd75d5b1e8" providerId="ADAL" clId="{43B71669-8A80-4333-9349-B258A9296B49}" dt="2024-02-27T17:26:59.295" v="5971" actId="478"/>
          <ac:cxnSpMkLst>
            <pc:docMk/>
            <pc:sldMk cId="965765845" sldId="581"/>
            <ac:cxnSpMk id="490" creationId="{0E1FF39F-0D9B-A214-EB68-616AA9FE9C4B}"/>
          </ac:cxnSpMkLst>
        </pc:cxnChg>
        <pc:cxnChg chg="del ord replST">
          <ac:chgData name="Bullinger, Marvin" userId="5b54ce5a-dc89-476f-af33-5abd75d5b1e8" providerId="ADAL" clId="{43B71669-8A80-4333-9349-B258A9296B49}" dt="2024-02-27T17:26:59.303" v="5972" actId="478"/>
          <ac:cxnSpMkLst>
            <pc:docMk/>
            <pc:sldMk cId="965765845" sldId="581"/>
            <ac:cxnSpMk id="493" creationId="{1ED03591-AF7E-EEFA-61DF-C23F66416BE8}"/>
          </ac:cxnSpMkLst>
        </pc:cxnChg>
        <pc:cxnChg chg="del ord replST">
          <ac:chgData name="Bullinger, Marvin" userId="5b54ce5a-dc89-476f-af33-5abd75d5b1e8" providerId="ADAL" clId="{43B71669-8A80-4333-9349-B258A9296B49}" dt="2024-02-27T17:26:59.303" v="5973" actId="478"/>
          <ac:cxnSpMkLst>
            <pc:docMk/>
            <pc:sldMk cId="965765845" sldId="581"/>
            <ac:cxnSpMk id="496" creationId="{B3BE406E-93C7-5BE1-712F-5FE04B431960}"/>
          </ac:cxnSpMkLst>
        </pc:cxnChg>
        <pc:cxnChg chg="del ord replST">
          <ac:chgData name="Bullinger, Marvin" userId="5b54ce5a-dc89-476f-af33-5abd75d5b1e8" providerId="ADAL" clId="{43B71669-8A80-4333-9349-B258A9296B49}" dt="2024-02-27T17:26:59.303" v="5974" actId="478"/>
          <ac:cxnSpMkLst>
            <pc:docMk/>
            <pc:sldMk cId="965765845" sldId="581"/>
            <ac:cxnSpMk id="499" creationId="{A8371C1B-1135-48D8-E5F9-11B422F10FA7}"/>
          </ac:cxnSpMkLst>
        </pc:cxnChg>
        <pc:cxnChg chg="del ord replST">
          <ac:chgData name="Bullinger, Marvin" userId="5b54ce5a-dc89-476f-af33-5abd75d5b1e8" providerId="ADAL" clId="{43B71669-8A80-4333-9349-B258A9296B49}" dt="2024-02-27T17:26:59.303" v="5975" actId="478"/>
          <ac:cxnSpMkLst>
            <pc:docMk/>
            <pc:sldMk cId="965765845" sldId="581"/>
            <ac:cxnSpMk id="502" creationId="{03CFA8BB-7CFB-CA81-C17E-E2073FA8DEA1}"/>
          </ac:cxnSpMkLst>
        </pc:cxnChg>
        <pc:cxnChg chg="del ord replST">
          <ac:chgData name="Bullinger, Marvin" userId="5b54ce5a-dc89-476f-af33-5abd75d5b1e8" providerId="ADAL" clId="{43B71669-8A80-4333-9349-B258A9296B49}" dt="2024-02-27T17:26:59.303" v="5977" actId="478"/>
          <ac:cxnSpMkLst>
            <pc:docMk/>
            <pc:sldMk cId="965765845" sldId="581"/>
            <ac:cxnSpMk id="508" creationId="{8A14BF88-3F27-B809-FBCE-1A5BD6632530}"/>
          </ac:cxnSpMkLst>
        </pc:cxnChg>
        <pc:cxnChg chg="del ord replST">
          <ac:chgData name="Bullinger, Marvin" userId="5b54ce5a-dc89-476f-af33-5abd75d5b1e8" providerId="ADAL" clId="{43B71669-8A80-4333-9349-B258A9296B49}" dt="2024-02-27T17:26:59.311" v="5978" actId="478"/>
          <ac:cxnSpMkLst>
            <pc:docMk/>
            <pc:sldMk cId="965765845" sldId="581"/>
            <ac:cxnSpMk id="511" creationId="{54DBA210-00BE-A895-E93B-4FCE3557D9B2}"/>
          </ac:cxnSpMkLst>
        </pc:cxnChg>
        <pc:cxnChg chg="del ord replST">
          <ac:chgData name="Bullinger, Marvin" userId="5b54ce5a-dc89-476f-af33-5abd75d5b1e8" providerId="ADAL" clId="{43B71669-8A80-4333-9349-B258A9296B49}" dt="2024-02-27T17:26:59.311" v="5979" actId="478"/>
          <ac:cxnSpMkLst>
            <pc:docMk/>
            <pc:sldMk cId="965765845" sldId="581"/>
            <ac:cxnSpMk id="514" creationId="{6891863D-60BC-2DA8-FA29-3C1752415637}"/>
          </ac:cxnSpMkLst>
        </pc:cxnChg>
        <pc:cxnChg chg="del ord replST">
          <ac:chgData name="Bullinger, Marvin" userId="5b54ce5a-dc89-476f-af33-5abd75d5b1e8" providerId="ADAL" clId="{43B71669-8A80-4333-9349-B258A9296B49}" dt="2024-02-27T17:26:59.313" v="5980" actId="478"/>
          <ac:cxnSpMkLst>
            <pc:docMk/>
            <pc:sldMk cId="965765845" sldId="581"/>
            <ac:cxnSpMk id="515" creationId="{9BFE30BC-BE73-E760-647C-DA39C907498C}"/>
          </ac:cxnSpMkLst>
        </pc:cxnChg>
        <pc:cxnChg chg="del ord replST">
          <ac:chgData name="Bullinger, Marvin" userId="5b54ce5a-dc89-476f-af33-5abd75d5b1e8" providerId="ADAL" clId="{43B71669-8A80-4333-9349-B258A9296B49}" dt="2024-02-27T17:27:36.991" v="7074" actId="478"/>
          <ac:cxnSpMkLst>
            <pc:docMk/>
            <pc:sldMk cId="965765845" sldId="581"/>
            <ac:cxnSpMk id="595" creationId="{4156300F-97A3-BEAC-34A2-B1296486B04E}"/>
          </ac:cxnSpMkLst>
        </pc:cxnChg>
        <pc:cxnChg chg="del ord replST">
          <ac:chgData name="Bullinger, Marvin" userId="5b54ce5a-dc89-476f-af33-5abd75d5b1e8" providerId="ADAL" clId="{43B71669-8A80-4333-9349-B258A9296B49}" dt="2024-02-27T17:27:36.993" v="7075" actId="478"/>
          <ac:cxnSpMkLst>
            <pc:docMk/>
            <pc:sldMk cId="965765845" sldId="581"/>
            <ac:cxnSpMk id="598" creationId="{DFB15204-6E29-B53C-7634-9FA2BDD4FD01}"/>
          </ac:cxnSpMkLst>
        </pc:cxnChg>
        <pc:cxnChg chg="del ord replST">
          <ac:chgData name="Bullinger, Marvin" userId="5b54ce5a-dc89-476f-af33-5abd75d5b1e8" providerId="ADAL" clId="{43B71669-8A80-4333-9349-B258A9296B49}" dt="2024-02-27T17:27:36.993" v="7076" actId="478"/>
          <ac:cxnSpMkLst>
            <pc:docMk/>
            <pc:sldMk cId="965765845" sldId="581"/>
            <ac:cxnSpMk id="601" creationId="{8F8EA383-FCFC-5A48-37F9-CFFE868629D4}"/>
          </ac:cxnSpMkLst>
        </pc:cxnChg>
        <pc:cxnChg chg="del ord replST">
          <ac:chgData name="Bullinger, Marvin" userId="5b54ce5a-dc89-476f-af33-5abd75d5b1e8" providerId="ADAL" clId="{43B71669-8A80-4333-9349-B258A9296B49}" dt="2024-02-27T17:27:36.993" v="7077" actId="478"/>
          <ac:cxnSpMkLst>
            <pc:docMk/>
            <pc:sldMk cId="965765845" sldId="581"/>
            <ac:cxnSpMk id="604" creationId="{15516B44-E2FD-74E1-5D16-21C62380C040}"/>
          </ac:cxnSpMkLst>
        </pc:cxnChg>
        <pc:cxnChg chg="del ord replST">
          <ac:chgData name="Bullinger, Marvin" userId="5b54ce5a-dc89-476f-af33-5abd75d5b1e8" providerId="ADAL" clId="{43B71669-8A80-4333-9349-B258A9296B49}" dt="2024-02-27T17:27:36.993" v="7079" actId="478"/>
          <ac:cxnSpMkLst>
            <pc:docMk/>
            <pc:sldMk cId="965765845" sldId="581"/>
            <ac:cxnSpMk id="610" creationId="{463718B6-2F99-CBDA-F1F7-96EDD8E2EC44}"/>
          </ac:cxnSpMkLst>
        </pc:cxnChg>
        <pc:cxnChg chg="del ord replST">
          <ac:chgData name="Bullinger, Marvin" userId="5b54ce5a-dc89-476f-af33-5abd75d5b1e8" providerId="ADAL" clId="{43B71669-8A80-4333-9349-B258A9296B49}" dt="2024-02-27T17:27:36.993" v="7080" actId="478"/>
          <ac:cxnSpMkLst>
            <pc:docMk/>
            <pc:sldMk cId="965765845" sldId="581"/>
            <ac:cxnSpMk id="613" creationId="{6DD969EF-D904-78F4-1ACC-DFB974341908}"/>
          </ac:cxnSpMkLst>
        </pc:cxnChg>
        <pc:cxnChg chg="del ord replST">
          <ac:chgData name="Bullinger, Marvin" userId="5b54ce5a-dc89-476f-af33-5abd75d5b1e8" providerId="ADAL" clId="{43B71669-8A80-4333-9349-B258A9296B49}" dt="2024-02-27T17:27:36.993" v="7081" actId="478"/>
          <ac:cxnSpMkLst>
            <pc:docMk/>
            <pc:sldMk cId="965765845" sldId="581"/>
            <ac:cxnSpMk id="616" creationId="{92B51086-6420-6583-93E1-CCCA76E4495B}"/>
          </ac:cxnSpMkLst>
        </pc:cxnChg>
        <pc:cxnChg chg="del ord replST">
          <ac:chgData name="Bullinger, Marvin" userId="5b54ce5a-dc89-476f-af33-5abd75d5b1e8" providerId="ADAL" clId="{43B71669-8A80-4333-9349-B258A9296B49}" dt="2024-02-27T17:27:36.993" v="7082" actId="478"/>
          <ac:cxnSpMkLst>
            <pc:docMk/>
            <pc:sldMk cId="965765845" sldId="581"/>
            <ac:cxnSpMk id="617" creationId="{CD9DD7CF-B130-5370-7079-DCCD2818ABF6}"/>
          </ac:cxnSpMkLst>
        </pc:cxnChg>
        <pc:cxnChg chg="ord replST">
          <ac:chgData name="Bullinger, Marvin" userId="5b54ce5a-dc89-476f-af33-5abd75d5b1e8" providerId="ADAL" clId="{43B71669-8A80-4333-9349-B258A9296B49}" dt="2024-02-27T17:27:37.953" v="7557"/>
          <ac:cxnSpMkLst>
            <pc:docMk/>
            <pc:sldMk cId="965765845" sldId="581"/>
            <ac:cxnSpMk id="697" creationId="{667B5226-699F-3AAC-F489-105F40903616}"/>
          </ac:cxnSpMkLst>
        </pc:cxnChg>
        <pc:cxnChg chg="ord replST">
          <ac:chgData name="Bullinger, Marvin" userId="5b54ce5a-dc89-476f-af33-5abd75d5b1e8" providerId="ADAL" clId="{43B71669-8A80-4333-9349-B258A9296B49}" dt="2024-02-27T17:27:37.953" v="7558"/>
          <ac:cxnSpMkLst>
            <pc:docMk/>
            <pc:sldMk cId="965765845" sldId="581"/>
            <ac:cxnSpMk id="700" creationId="{E29B988E-1BDF-D9BB-7E25-A672E256FD1F}"/>
          </ac:cxnSpMkLst>
        </pc:cxnChg>
        <pc:cxnChg chg="ord replST">
          <ac:chgData name="Bullinger, Marvin" userId="5b54ce5a-dc89-476f-af33-5abd75d5b1e8" providerId="ADAL" clId="{43B71669-8A80-4333-9349-B258A9296B49}" dt="2024-02-27T17:27:37.953" v="7559"/>
          <ac:cxnSpMkLst>
            <pc:docMk/>
            <pc:sldMk cId="965765845" sldId="581"/>
            <ac:cxnSpMk id="703" creationId="{2AAA2367-8D1B-4E45-BC6D-11B812294437}"/>
          </ac:cxnSpMkLst>
        </pc:cxnChg>
        <pc:cxnChg chg="ord replST">
          <ac:chgData name="Bullinger, Marvin" userId="5b54ce5a-dc89-476f-af33-5abd75d5b1e8" providerId="ADAL" clId="{43B71669-8A80-4333-9349-B258A9296B49}" dt="2024-02-27T17:27:37.953" v="7561"/>
          <ac:cxnSpMkLst>
            <pc:docMk/>
            <pc:sldMk cId="965765845" sldId="581"/>
            <ac:cxnSpMk id="709" creationId="{955AFA7B-214D-C35D-2068-CEF908C83125}"/>
          </ac:cxnSpMkLst>
        </pc:cxnChg>
        <pc:cxnChg chg="ord replST">
          <ac:chgData name="Bullinger, Marvin" userId="5b54ce5a-dc89-476f-af33-5abd75d5b1e8" providerId="ADAL" clId="{43B71669-8A80-4333-9349-B258A9296B49}" dt="2024-02-27T17:27:37.953" v="7562"/>
          <ac:cxnSpMkLst>
            <pc:docMk/>
            <pc:sldMk cId="965765845" sldId="581"/>
            <ac:cxnSpMk id="712" creationId="{0F5D7698-7BF2-4E2F-BD86-D90273EDE7AF}"/>
          </ac:cxnSpMkLst>
        </pc:cxnChg>
        <pc:cxnChg chg="ord replST">
          <ac:chgData name="Bullinger, Marvin" userId="5b54ce5a-dc89-476f-af33-5abd75d5b1e8" providerId="ADAL" clId="{43B71669-8A80-4333-9349-B258A9296B49}" dt="2024-02-27T17:27:37.953" v="7563"/>
          <ac:cxnSpMkLst>
            <pc:docMk/>
            <pc:sldMk cId="965765845" sldId="581"/>
            <ac:cxnSpMk id="715" creationId="{0ECC7187-B06F-78AB-69DA-4A4694149112}"/>
          </ac:cxnSpMkLst>
        </pc:cxnChg>
        <pc:cxnChg chg="ord replST">
          <ac:chgData name="Bullinger, Marvin" userId="5b54ce5a-dc89-476f-af33-5abd75d5b1e8" providerId="ADAL" clId="{43B71669-8A80-4333-9349-B258A9296B49}" dt="2024-02-27T17:27:37.961" v="7564"/>
          <ac:cxnSpMkLst>
            <pc:docMk/>
            <pc:sldMk cId="965765845" sldId="581"/>
            <ac:cxnSpMk id="716" creationId="{D1D94600-DE69-1DBC-854B-AC249B384D54}"/>
          </ac:cxnSpMkLst>
        </pc:cxnChg>
      </pc:sldChg>
      <pc:sldChg chg="addSp delSp modSp mod ord modTransition">
        <pc:chgData name="Bullinger, Marvin" userId="5b54ce5a-dc89-476f-af33-5abd75d5b1e8" providerId="ADAL" clId="{43B71669-8A80-4333-9349-B258A9296B49}" dt="2024-02-27T17:27:38.118" v="7625"/>
        <pc:sldMkLst>
          <pc:docMk/>
          <pc:sldMk cId="1945724814" sldId="582"/>
        </pc:sldMkLst>
        <pc:spChg chg="mod">
          <ac:chgData name="Bullinger, Marvin" userId="5b54ce5a-dc89-476f-af33-5abd75d5b1e8" providerId="ADAL" clId="{43B71669-8A80-4333-9349-B258A9296B49}" dt="2024-02-27T16:53:49.050" v="3382"/>
          <ac:spMkLst>
            <pc:docMk/>
            <pc:sldMk cId="1945724814" sldId="582"/>
            <ac:spMk id="26" creationId="{32344A4C-0B05-71DE-2E85-D6C8696FBCBA}"/>
          </ac:spMkLst>
        </pc:spChg>
        <pc:spChg chg="mod">
          <ac:chgData name="Bullinger, Marvin" userId="5b54ce5a-dc89-476f-af33-5abd75d5b1e8" providerId="ADAL" clId="{43B71669-8A80-4333-9349-B258A9296B49}" dt="2024-02-27T16:53:49.050" v="3382"/>
          <ac:spMkLst>
            <pc:docMk/>
            <pc:sldMk cId="1945724814" sldId="582"/>
            <ac:spMk id="27" creationId="{69E29C50-CA5B-7AE5-363E-873EABD2B5FC}"/>
          </ac:spMkLst>
        </pc:spChg>
        <pc:spChg chg="del">
          <ac:chgData name="Bullinger, Marvin" userId="5b54ce5a-dc89-476f-af33-5abd75d5b1e8" providerId="ADAL" clId="{43B71669-8A80-4333-9349-B258A9296B49}" dt="2024-02-27T16:45:50.122" v="553" actId="478"/>
          <ac:spMkLst>
            <pc:docMk/>
            <pc:sldMk cId="1945724814" sldId="582"/>
            <ac:spMk id="192" creationId="{63539261-EBCC-B2DF-56D9-56B33CD64653}"/>
          </ac:spMkLst>
        </pc:spChg>
        <pc:spChg chg="del">
          <ac:chgData name="Bullinger, Marvin" userId="5b54ce5a-dc89-476f-af33-5abd75d5b1e8" providerId="ADAL" clId="{43B71669-8A80-4333-9349-B258A9296B49}" dt="2024-02-27T16:45:50.122" v="552" actId="478"/>
          <ac:spMkLst>
            <pc:docMk/>
            <pc:sldMk cId="1945724814" sldId="582"/>
            <ac:spMk id="193" creationId="{9F4F864A-38F1-CF15-C5EC-78BB167DA7E7}"/>
          </ac:spMkLst>
        </pc:spChg>
        <pc:spChg chg="del">
          <ac:chgData name="Bullinger, Marvin" userId="5b54ce5a-dc89-476f-af33-5abd75d5b1e8" providerId="ADAL" clId="{43B71669-8A80-4333-9349-B258A9296B49}" dt="2024-02-27T16:45:50.122" v="551" actId="478"/>
          <ac:spMkLst>
            <pc:docMk/>
            <pc:sldMk cId="1945724814" sldId="582"/>
            <ac:spMk id="194" creationId="{9330DEAC-1BA2-8F78-EB70-7CECD70CB9FE}"/>
          </ac:spMkLst>
        </pc:spChg>
        <pc:spChg chg="del">
          <ac:chgData name="Bullinger, Marvin" userId="5b54ce5a-dc89-476f-af33-5abd75d5b1e8" providerId="ADAL" clId="{43B71669-8A80-4333-9349-B258A9296B49}" dt="2024-02-27T16:45:50.122" v="550" actId="478"/>
          <ac:spMkLst>
            <pc:docMk/>
            <pc:sldMk cId="1945724814" sldId="582"/>
            <ac:spMk id="195" creationId="{D650A2FC-324E-134F-4EED-907E5D79722B}"/>
          </ac:spMkLst>
        </pc:spChg>
        <pc:spChg chg="del">
          <ac:chgData name="Bullinger, Marvin" userId="5b54ce5a-dc89-476f-af33-5abd75d5b1e8" providerId="ADAL" clId="{43B71669-8A80-4333-9349-B258A9296B49}" dt="2024-02-27T16:45:50.122" v="549" actId="478"/>
          <ac:spMkLst>
            <pc:docMk/>
            <pc:sldMk cId="1945724814" sldId="582"/>
            <ac:spMk id="196" creationId="{634DA036-B686-0805-B985-AAACCE420F6B}"/>
          </ac:spMkLst>
        </pc:spChg>
        <pc:spChg chg="del">
          <ac:chgData name="Bullinger, Marvin" userId="5b54ce5a-dc89-476f-af33-5abd75d5b1e8" providerId="ADAL" clId="{43B71669-8A80-4333-9349-B258A9296B49}" dt="2024-02-27T16:45:50.106" v="546" actId="478"/>
          <ac:spMkLst>
            <pc:docMk/>
            <pc:sldMk cId="1945724814" sldId="582"/>
            <ac:spMk id="197" creationId="{9D0BB2EE-5DA7-E93D-1B5F-540E4E5879AF}"/>
          </ac:spMkLst>
        </pc:spChg>
        <pc:spChg chg="del">
          <ac:chgData name="Bullinger, Marvin" userId="5b54ce5a-dc89-476f-af33-5abd75d5b1e8" providerId="ADAL" clId="{43B71669-8A80-4333-9349-B258A9296B49}" dt="2024-02-27T16:45:50.106" v="545" actId="478"/>
          <ac:spMkLst>
            <pc:docMk/>
            <pc:sldMk cId="1945724814" sldId="582"/>
            <ac:spMk id="198" creationId="{8A23E072-7DFB-F1CB-8508-5DEC4E286C79}"/>
          </ac:spMkLst>
        </pc:spChg>
        <pc:spChg chg="del">
          <ac:chgData name="Bullinger, Marvin" userId="5b54ce5a-dc89-476f-af33-5abd75d5b1e8" providerId="ADAL" clId="{43B71669-8A80-4333-9349-B258A9296B49}" dt="2024-02-27T16:45:50.090" v="518" actId="478"/>
          <ac:spMkLst>
            <pc:docMk/>
            <pc:sldMk cId="1945724814" sldId="582"/>
            <ac:spMk id="199" creationId="{76DC3D70-FF11-C70A-35C6-6EB82925C1F5}"/>
          </ac:spMkLst>
        </pc:spChg>
        <pc:spChg chg="del">
          <ac:chgData name="Bullinger, Marvin" userId="5b54ce5a-dc89-476f-af33-5abd75d5b1e8" providerId="ADAL" clId="{43B71669-8A80-4333-9349-B258A9296B49}" dt="2024-02-27T16:45:50.106" v="544" actId="478"/>
          <ac:spMkLst>
            <pc:docMk/>
            <pc:sldMk cId="1945724814" sldId="582"/>
            <ac:spMk id="200" creationId="{2573C5A5-4167-DA5E-06F5-7D523BBAD23C}"/>
          </ac:spMkLst>
        </pc:spChg>
        <pc:spChg chg="del">
          <ac:chgData name="Bullinger, Marvin" userId="5b54ce5a-dc89-476f-af33-5abd75d5b1e8" providerId="ADAL" clId="{43B71669-8A80-4333-9349-B258A9296B49}" dt="2024-02-27T16:45:50.106" v="543" actId="478"/>
          <ac:spMkLst>
            <pc:docMk/>
            <pc:sldMk cId="1945724814" sldId="582"/>
            <ac:spMk id="201" creationId="{3E4CA7E4-63FB-41C7-87D8-57247194E15E}"/>
          </ac:spMkLst>
        </pc:spChg>
        <pc:spChg chg="del">
          <ac:chgData name="Bullinger, Marvin" userId="5b54ce5a-dc89-476f-af33-5abd75d5b1e8" providerId="ADAL" clId="{43B71669-8A80-4333-9349-B258A9296B49}" dt="2024-02-27T16:45:50.106" v="542" actId="478"/>
          <ac:spMkLst>
            <pc:docMk/>
            <pc:sldMk cId="1945724814" sldId="582"/>
            <ac:spMk id="202" creationId="{7C12F292-6A93-AAD6-3D9B-448895B0B348}"/>
          </ac:spMkLst>
        </pc:spChg>
        <pc:spChg chg="del">
          <ac:chgData name="Bullinger, Marvin" userId="5b54ce5a-dc89-476f-af33-5abd75d5b1e8" providerId="ADAL" clId="{43B71669-8A80-4333-9349-B258A9296B49}" dt="2024-02-27T16:45:50.106" v="541" actId="478"/>
          <ac:spMkLst>
            <pc:docMk/>
            <pc:sldMk cId="1945724814" sldId="582"/>
            <ac:spMk id="203" creationId="{FD6D7A32-0B64-530E-6B93-E7335B953F24}"/>
          </ac:spMkLst>
        </pc:spChg>
        <pc:spChg chg="del">
          <ac:chgData name="Bullinger, Marvin" userId="5b54ce5a-dc89-476f-af33-5abd75d5b1e8" providerId="ADAL" clId="{43B71669-8A80-4333-9349-B258A9296B49}" dt="2024-02-27T16:45:50.122" v="562" actId="478"/>
          <ac:spMkLst>
            <pc:docMk/>
            <pc:sldMk cId="1945724814" sldId="582"/>
            <ac:spMk id="204" creationId="{2AA1B08A-5930-184B-F87E-3D70F39AC13A}"/>
          </ac:spMkLst>
        </pc:spChg>
        <pc:spChg chg="del">
          <ac:chgData name="Bullinger, Marvin" userId="5b54ce5a-dc89-476f-af33-5abd75d5b1e8" providerId="ADAL" clId="{43B71669-8A80-4333-9349-B258A9296B49}" dt="2024-02-27T16:45:50.122" v="561" actId="478"/>
          <ac:spMkLst>
            <pc:docMk/>
            <pc:sldMk cId="1945724814" sldId="582"/>
            <ac:spMk id="205" creationId="{6EF5AB4D-1683-28B3-11FA-5FB829E1E7B2}"/>
          </ac:spMkLst>
        </pc:spChg>
        <pc:spChg chg="del">
          <ac:chgData name="Bullinger, Marvin" userId="5b54ce5a-dc89-476f-af33-5abd75d5b1e8" providerId="ADAL" clId="{43B71669-8A80-4333-9349-B258A9296B49}" dt="2024-02-27T16:45:50.122" v="560" actId="478"/>
          <ac:spMkLst>
            <pc:docMk/>
            <pc:sldMk cId="1945724814" sldId="582"/>
            <ac:spMk id="206" creationId="{2FC7D763-1214-A64B-B6D0-627005ED1A80}"/>
          </ac:spMkLst>
        </pc:spChg>
        <pc:spChg chg="del">
          <ac:chgData name="Bullinger, Marvin" userId="5b54ce5a-dc89-476f-af33-5abd75d5b1e8" providerId="ADAL" clId="{43B71669-8A80-4333-9349-B258A9296B49}" dt="2024-02-27T16:45:50.122" v="559" actId="478"/>
          <ac:spMkLst>
            <pc:docMk/>
            <pc:sldMk cId="1945724814" sldId="582"/>
            <ac:spMk id="207" creationId="{6F09C538-80BC-4619-D0A0-720B04296A09}"/>
          </ac:spMkLst>
        </pc:spChg>
        <pc:spChg chg="del">
          <ac:chgData name="Bullinger, Marvin" userId="5b54ce5a-dc89-476f-af33-5abd75d5b1e8" providerId="ADAL" clId="{43B71669-8A80-4333-9349-B258A9296B49}" dt="2024-02-27T16:45:50.122" v="558" actId="478"/>
          <ac:spMkLst>
            <pc:docMk/>
            <pc:sldMk cId="1945724814" sldId="582"/>
            <ac:spMk id="208" creationId="{8BF0D685-BEC1-E2EF-0545-62FC228BA5BB}"/>
          </ac:spMkLst>
        </pc:spChg>
        <pc:spChg chg="del">
          <ac:chgData name="Bullinger, Marvin" userId="5b54ce5a-dc89-476f-af33-5abd75d5b1e8" providerId="ADAL" clId="{43B71669-8A80-4333-9349-B258A9296B49}" dt="2024-02-27T16:45:50.122" v="557" actId="478"/>
          <ac:spMkLst>
            <pc:docMk/>
            <pc:sldMk cId="1945724814" sldId="582"/>
            <ac:spMk id="209" creationId="{4372B6C3-55ED-01E9-E7AB-9C492A9293F6}"/>
          </ac:spMkLst>
        </pc:spChg>
        <pc:spChg chg="del">
          <ac:chgData name="Bullinger, Marvin" userId="5b54ce5a-dc89-476f-af33-5abd75d5b1e8" providerId="ADAL" clId="{43B71669-8A80-4333-9349-B258A9296B49}" dt="2024-02-27T16:45:50.122" v="556" actId="478"/>
          <ac:spMkLst>
            <pc:docMk/>
            <pc:sldMk cId="1945724814" sldId="582"/>
            <ac:spMk id="210" creationId="{252BFF61-E47F-F11B-6F20-B4723C0AF283}"/>
          </ac:spMkLst>
        </pc:spChg>
        <pc:spChg chg="del">
          <ac:chgData name="Bullinger, Marvin" userId="5b54ce5a-dc89-476f-af33-5abd75d5b1e8" providerId="ADAL" clId="{43B71669-8A80-4333-9349-B258A9296B49}" dt="2024-02-27T16:45:50.122" v="555" actId="478"/>
          <ac:spMkLst>
            <pc:docMk/>
            <pc:sldMk cId="1945724814" sldId="582"/>
            <ac:spMk id="211" creationId="{E001184A-3C09-9474-18B7-B3269E7024EB}"/>
          </ac:spMkLst>
        </pc:spChg>
        <pc:spChg chg="del">
          <ac:chgData name="Bullinger, Marvin" userId="5b54ce5a-dc89-476f-af33-5abd75d5b1e8" providerId="ADAL" clId="{43B71669-8A80-4333-9349-B258A9296B49}" dt="2024-02-27T16:45:50.106" v="547" actId="478"/>
          <ac:spMkLst>
            <pc:docMk/>
            <pc:sldMk cId="1945724814" sldId="582"/>
            <ac:spMk id="212" creationId="{7443C07C-6CBA-F4C0-EE39-5C128614CC60}"/>
          </ac:spMkLst>
        </pc:spChg>
        <pc:spChg chg="del">
          <ac:chgData name="Bullinger, Marvin" userId="5b54ce5a-dc89-476f-af33-5abd75d5b1e8" providerId="ADAL" clId="{43B71669-8A80-4333-9349-B258A9296B49}" dt="2024-02-27T16:45:50.106" v="540" actId="478"/>
          <ac:spMkLst>
            <pc:docMk/>
            <pc:sldMk cId="1945724814" sldId="582"/>
            <ac:spMk id="213" creationId="{AA728866-5EB3-AD9A-920E-9B6A69E8D182}"/>
          </ac:spMkLst>
        </pc:spChg>
        <pc:spChg chg="del">
          <ac:chgData name="Bullinger, Marvin" userId="5b54ce5a-dc89-476f-af33-5abd75d5b1e8" providerId="ADAL" clId="{43B71669-8A80-4333-9349-B258A9296B49}" dt="2024-02-27T16:45:50.122" v="548" actId="478"/>
          <ac:spMkLst>
            <pc:docMk/>
            <pc:sldMk cId="1945724814" sldId="582"/>
            <ac:spMk id="214" creationId="{5163E589-5F1B-D8F4-30CC-AA261DD1D662}"/>
          </ac:spMkLst>
        </pc:spChg>
        <pc:spChg chg="del">
          <ac:chgData name="Bullinger, Marvin" userId="5b54ce5a-dc89-476f-af33-5abd75d5b1e8" providerId="ADAL" clId="{43B71669-8A80-4333-9349-B258A9296B49}" dt="2024-02-27T16:45:50.106" v="539" actId="478"/>
          <ac:spMkLst>
            <pc:docMk/>
            <pc:sldMk cId="1945724814" sldId="582"/>
            <ac:spMk id="215" creationId="{41595302-250C-38FB-88F8-1C18993C9C01}"/>
          </ac:spMkLst>
        </pc:spChg>
        <pc:spChg chg="del">
          <ac:chgData name="Bullinger, Marvin" userId="5b54ce5a-dc89-476f-af33-5abd75d5b1e8" providerId="ADAL" clId="{43B71669-8A80-4333-9349-B258A9296B49}" dt="2024-02-27T16:45:50.106" v="538" actId="478"/>
          <ac:spMkLst>
            <pc:docMk/>
            <pc:sldMk cId="1945724814" sldId="582"/>
            <ac:spMk id="216" creationId="{56003E7C-0429-69BE-68F6-7E8A2035BAB8}"/>
          </ac:spMkLst>
        </pc:spChg>
        <pc:spChg chg="del">
          <ac:chgData name="Bullinger, Marvin" userId="5b54ce5a-dc89-476f-af33-5abd75d5b1e8" providerId="ADAL" clId="{43B71669-8A80-4333-9349-B258A9296B49}" dt="2024-02-27T16:45:50.106" v="537" actId="478"/>
          <ac:spMkLst>
            <pc:docMk/>
            <pc:sldMk cId="1945724814" sldId="582"/>
            <ac:spMk id="217" creationId="{A53E6E4E-B2F9-8403-D39D-1E250D6B3BA7}"/>
          </ac:spMkLst>
        </pc:spChg>
        <pc:spChg chg="del">
          <ac:chgData name="Bullinger, Marvin" userId="5b54ce5a-dc89-476f-af33-5abd75d5b1e8" providerId="ADAL" clId="{43B71669-8A80-4333-9349-B258A9296B49}" dt="2024-02-27T16:45:50.106" v="536" actId="478"/>
          <ac:spMkLst>
            <pc:docMk/>
            <pc:sldMk cId="1945724814" sldId="582"/>
            <ac:spMk id="218" creationId="{5C4377FF-2EF4-D08A-4EE6-07E806BF088F}"/>
          </ac:spMkLst>
        </pc:spChg>
        <pc:spChg chg="del">
          <ac:chgData name="Bullinger, Marvin" userId="5b54ce5a-dc89-476f-af33-5abd75d5b1e8" providerId="ADAL" clId="{43B71669-8A80-4333-9349-B258A9296B49}" dt="2024-02-27T16:45:50.106" v="535" actId="478"/>
          <ac:spMkLst>
            <pc:docMk/>
            <pc:sldMk cId="1945724814" sldId="582"/>
            <ac:spMk id="219" creationId="{7B12C0AB-7806-2816-BBEC-32AB92E8B6B1}"/>
          </ac:spMkLst>
        </pc:spChg>
        <pc:spChg chg="del">
          <ac:chgData name="Bullinger, Marvin" userId="5b54ce5a-dc89-476f-af33-5abd75d5b1e8" providerId="ADAL" clId="{43B71669-8A80-4333-9349-B258A9296B49}" dt="2024-02-27T16:45:50.106" v="534" actId="478"/>
          <ac:spMkLst>
            <pc:docMk/>
            <pc:sldMk cId="1945724814" sldId="582"/>
            <ac:spMk id="220" creationId="{667E1D1A-8E2F-A9F0-64BA-F6E15AE5B989}"/>
          </ac:spMkLst>
        </pc:spChg>
        <pc:spChg chg="del">
          <ac:chgData name="Bullinger, Marvin" userId="5b54ce5a-dc89-476f-af33-5abd75d5b1e8" providerId="ADAL" clId="{43B71669-8A80-4333-9349-B258A9296B49}" dt="2024-02-27T16:45:50.106" v="533" actId="478"/>
          <ac:spMkLst>
            <pc:docMk/>
            <pc:sldMk cId="1945724814" sldId="582"/>
            <ac:spMk id="221" creationId="{6E9D2684-7F87-E5CC-A4EB-3C1BAD1BE7B7}"/>
          </ac:spMkLst>
        </pc:spChg>
        <pc:spChg chg="del">
          <ac:chgData name="Bullinger, Marvin" userId="5b54ce5a-dc89-476f-af33-5abd75d5b1e8" providerId="ADAL" clId="{43B71669-8A80-4333-9349-B258A9296B49}" dt="2024-02-27T16:45:50.106" v="532" actId="478"/>
          <ac:spMkLst>
            <pc:docMk/>
            <pc:sldMk cId="1945724814" sldId="582"/>
            <ac:spMk id="222" creationId="{425A77DA-DE09-A30D-3F10-4E66BE3EA61E}"/>
          </ac:spMkLst>
        </pc:spChg>
        <pc:spChg chg="del">
          <ac:chgData name="Bullinger, Marvin" userId="5b54ce5a-dc89-476f-af33-5abd75d5b1e8" providerId="ADAL" clId="{43B71669-8A80-4333-9349-B258A9296B49}" dt="2024-02-27T16:45:50.106" v="531" actId="478"/>
          <ac:spMkLst>
            <pc:docMk/>
            <pc:sldMk cId="1945724814" sldId="582"/>
            <ac:spMk id="223" creationId="{5683EEF2-238D-C318-2370-28D820366708}"/>
          </ac:spMkLst>
        </pc:spChg>
        <pc:spChg chg="add mod">
          <ac:chgData name="Bullinger, Marvin" userId="5b54ce5a-dc89-476f-af33-5abd75d5b1e8" providerId="ADAL" clId="{43B71669-8A80-4333-9349-B258A9296B49}" dt="2024-02-27T16:45:50.090" v="518" actId="478"/>
          <ac:spMkLst>
            <pc:docMk/>
            <pc:sldMk cId="1945724814" sldId="582"/>
            <ac:spMk id="234" creationId="{EE7C7734-405B-F43F-5CAC-E39CF5B06346}"/>
          </ac:spMkLst>
        </pc:spChg>
        <pc:spChg chg="del mod ord replST">
          <ac:chgData name="Bullinger, Marvin" userId="5b54ce5a-dc89-476f-af33-5abd75d5b1e8" providerId="ADAL" clId="{43B71669-8A80-4333-9349-B258A9296B49}" dt="2024-02-27T16:46:20.348" v="1296" actId="478"/>
          <ac:spMkLst>
            <pc:docMk/>
            <pc:sldMk cId="1945724814" sldId="582"/>
            <ac:spMk id="235" creationId="{89A70336-3C4B-0D92-73EE-5A397DB0D5E0}"/>
          </ac:spMkLst>
        </pc:spChg>
        <pc:spChg chg="del">
          <ac:chgData name="Bullinger, Marvin" userId="5b54ce5a-dc89-476f-af33-5abd75d5b1e8" providerId="ADAL" clId="{43B71669-8A80-4333-9349-B258A9296B49}" dt="2024-02-27T16:45:50.122" v="554" actId="478"/>
          <ac:spMkLst>
            <pc:docMk/>
            <pc:sldMk cId="1945724814" sldId="582"/>
            <ac:spMk id="236" creationId="{F739A193-6215-746B-4669-A66EF20B767E}"/>
          </ac:spMkLst>
        </pc:spChg>
        <pc:spChg chg="del">
          <ac:chgData name="Bullinger, Marvin" userId="5b54ce5a-dc89-476f-af33-5abd75d5b1e8" providerId="ADAL" clId="{43B71669-8A80-4333-9349-B258A9296B49}" dt="2024-02-27T16:45:50.090" v="523" actId="478"/>
          <ac:spMkLst>
            <pc:docMk/>
            <pc:sldMk cId="1945724814" sldId="582"/>
            <ac:spMk id="251" creationId="{793A6DD5-87BE-5B0A-18FF-FB25AF49E3E1}"/>
          </ac:spMkLst>
        </pc:spChg>
        <pc:spChg chg="del">
          <ac:chgData name="Bullinger, Marvin" userId="5b54ce5a-dc89-476f-af33-5abd75d5b1e8" providerId="ADAL" clId="{43B71669-8A80-4333-9349-B258A9296B49}" dt="2024-02-27T16:45:50.106" v="530" actId="478"/>
          <ac:spMkLst>
            <pc:docMk/>
            <pc:sldMk cId="1945724814" sldId="582"/>
            <ac:spMk id="256" creationId="{E897F099-1B6E-58BA-2765-57A962D0C0DD}"/>
          </ac:spMkLst>
        </pc:spChg>
        <pc:spChg chg="del">
          <ac:chgData name="Bullinger, Marvin" userId="5b54ce5a-dc89-476f-af33-5abd75d5b1e8" providerId="ADAL" clId="{43B71669-8A80-4333-9349-B258A9296B49}" dt="2024-02-27T16:45:50.106" v="529" actId="478"/>
          <ac:spMkLst>
            <pc:docMk/>
            <pc:sldMk cId="1945724814" sldId="582"/>
            <ac:spMk id="257" creationId="{43C068CD-E686-54D2-2D3B-24294D173E81}"/>
          </ac:spMkLst>
        </pc:spChg>
        <pc:spChg chg="del">
          <ac:chgData name="Bullinger, Marvin" userId="5b54ce5a-dc89-476f-af33-5abd75d5b1e8" providerId="ADAL" clId="{43B71669-8A80-4333-9349-B258A9296B49}" dt="2024-02-27T16:45:50.106" v="528" actId="478"/>
          <ac:spMkLst>
            <pc:docMk/>
            <pc:sldMk cId="1945724814" sldId="582"/>
            <ac:spMk id="258" creationId="{324674A6-69FD-9926-7D76-9583DFD0E75A}"/>
          </ac:spMkLst>
        </pc:spChg>
        <pc:spChg chg="del">
          <ac:chgData name="Bullinger, Marvin" userId="5b54ce5a-dc89-476f-af33-5abd75d5b1e8" providerId="ADAL" clId="{43B71669-8A80-4333-9349-B258A9296B49}" dt="2024-02-27T16:45:50.106" v="527" actId="478"/>
          <ac:spMkLst>
            <pc:docMk/>
            <pc:sldMk cId="1945724814" sldId="582"/>
            <ac:spMk id="259" creationId="{F58B0778-9663-968C-6E57-20158223A3E8}"/>
          </ac:spMkLst>
        </pc:spChg>
        <pc:spChg chg="del">
          <ac:chgData name="Bullinger, Marvin" userId="5b54ce5a-dc89-476f-af33-5abd75d5b1e8" providerId="ADAL" clId="{43B71669-8A80-4333-9349-B258A9296B49}" dt="2024-02-27T16:45:50.106" v="526" actId="478"/>
          <ac:spMkLst>
            <pc:docMk/>
            <pc:sldMk cId="1945724814" sldId="582"/>
            <ac:spMk id="260" creationId="{97C83C38-58C5-4AFF-DFC9-B4C6C8E52EE2}"/>
          </ac:spMkLst>
        </pc:spChg>
        <pc:spChg chg="replST">
          <ac:chgData name="Bullinger, Marvin" userId="5b54ce5a-dc89-476f-af33-5abd75d5b1e8" providerId="ADAL" clId="{43B71669-8A80-4333-9349-B258A9296B49}" dt="2024-02-27T16:45:50.560" v="876"/>
          <ac:spMkLst>
            <pc:docMk/>
            <pc:sldMk cId="1945724814" sldId="582"/>
            <ac:spMk id="261" creationId="{BC322400-9761-F4FD-F26A-4F7F4D350E34}"/>
          </ac:spMkLst>
        </pc:spChg>
        <pc:spChg chg="replST">
          <ac:chgData name="Bullinger, Marvin" userId="5b54ce5a-dc89-476f-af33-5abd75d5b1e8" providerId="ADAL" clId="{43B71669-8A80-4333-9349-B258A9296B49}" dt="2024-02-27T16:45:50.575" v="879"/>
          <ac:spMkLst>
            <pc:docMk/>
            <pc:sldMk cId="1945724814" sldId="582"/>
            <ac:spMk id="262" creationId="{ED84710F-0FBF-BFF9-A764-CAA2BF9FC669}"/>
          </ac:spMkLst>
        </pc:spChg>
        <pc:spChg chg="replST">
          <ac:chgData name="Bullinger, Marvin" userId="5b54ce5a-dc89-476f-af33-5abd75d5b1e8" providerId="ADAL" clId="{43B71669-8A80-4333-9349-B258A9296B49}" dt="2024-02-27T16:45:50.575" v="883"/>
          <ac:spMkLst>
            <pc:docMk/>
            <pc:sldMk cId="1945724814" sldId="582"/>
            <ac:spMk id="264" creationId="{DD69CE3C-E84A-9820-A566-4BE97204C4EA}"/>
          </ac:spMkLst>
        </pc:spChg>
        <pc:spChg chg="replST">
          <ac:chgData name="Bullinger, Marvin" userId="5b54ce5a-dc89-476f-af33-5abd75d5b1e8" providerId="ADAL" clId="{43B71669-8A80-4333-9349-B258A9296B49}" dt="2024-02-27T16:45:50.575" v="886"/>
          <ac:spMkLst>
            <pc:docMk/>
            <pc:sldMk cId="1945724814" sldId="582"/>
            <ac:spMk id="265" creationId="{51B0E201-7F0A-25E2-9534-E57DD21627D0}"/>
          </ac:spMkLst>
        </pc:spChg>
        <pc:spChg chg="replST">
          <ac:chgData name="Bullinger, Marvin" userId="5b54ce5a-dc89-476f-af33-5abd75d5b1e8" providerId="ADAL" clId="{43B71669-8A80-4333-9349-B258A9296B49}" dt="2024-02-27T16:45:50.575" v="890"/>
          <ac:spMkLst>
            <pc:docMk/>
            <pc:sldMk cId="1945724814" sldId="582"/>
            <ac:spMk id="267" creationId="{F971DDC1-C1AF-AA1E-9E85-B09B06531F0F}"/>
          </ac:spMkLst>
        </pc:spChg>
        <pc:spChg chg="replST">
          <ac:chgData name="Bullinger, Marvin" userId="5b54ce5a-dc89-476f-af33-5abd75d5b1e8" providerId="ADAL" clId="{43B71669-8A80-4333-9349-B258A9296B49}" dt="2024-02-27T16:45:50.591" v="893"/>
          <ac:spMkLst>
            <pc:docMk/>
            <pc:sldMk cId="1945724814" sldId="582"/>
            <ac:spMk id="268" creationId="{6C321407-02AB-73EA-E1B2-6348265FB408}"/>
          </ac:spMkLst>
        </pc:spChg>
        <pc:spChg chg="replST">
          <ac:chgData name="Bullinger, Marvin" userId="5b54ce5a-dc89-476f-af33-5abd75d5b1e8" providerId="ADAL" clId="{43B71669-8A80-4333-9349-B258A9296B49}" dt="2024-02-27T16:45:50.591" v="897"/>
          <ac:spMkLst>
            <pc:docMk/>
            <pc:sldMk cId="1945724814" sldId="582"/>
            <ac:spMk id="270" creationId="{63583B86-BD35-47BE-5404-413609C73CFE}"/>
          </ac:spMkLst>
        </pc:spChg>
        <pc:spChg chg="replST">
          <ac:chgData name="Bullinger, Marvin" userId="5b54ce5a-dc89-476f-af33-5abd75d5b1e8" providerId="ADAL" clId="{43B71669-8A80-4333-9349-B258A9296B49}" dt="2024-02-27T16:45:50.591" v="900"/>
          <ac:spMkLst>
            <pc:docMk/>
            <pc:sldMk cId="1945724814" sldId="582"/>
            <ac:spMk id="271" creationId="{FF477509-4F95-3525-769E-C3C87E2EFBA3}"/>
          </ac:spMkLst>
        </pc:spChg>
        <pc:spChg chg="replST">
          <ac:chgData name="Bullinger, Marvin" userId="5b54ce5a-dc89-476f-af33-5abd75d5b1e8" providerId="ADAL" clId="{43B71669-8A80-4333-9349-B258A9296B49}" dt="2024-02-27T16:45:50.591" v="904"/>
          <ac:spMkLst>
            <pc:docMk/>
            <pc:sldMk cId="1945724814" sldId="582"/>
            <ac:spMk id="273" creationId="{AA61631E-EEA4-7CE7-15B5-D77C5AC797D7}"/>
          </ac:spMkLst>
        </pc:spChg>
        <pc:spChg chg="replST">
          <ac:chgData name="Bullinger, Marvin" userId="5b54ce5a-dc89-476f-af33-5abd75d5b1e8" providerId="ADAL" clId="{43B71669-8A80-4333-9349-B258A9296B49}" dt="2024-02-27T16:45:50.607" v="907"/>
          <ac:spMkLst>
            <pc:docMk/>
            <pc:sldMk cId="1945724814" sldId="582"/>
            <ac:spMk id="274" creationId="{2A83FD94-8934-B99F-DC8B-CB7A931D2210}"/>
          </ac:spMkLst>
        </pc:spChg>
        <pc:spChg chg="del ord replST">
          <ac:chgData name="Bullinger, Marvin" userId="5b54ce5a-dc89-476f-af33-5abd75d5b1e8" providerId="ADAL" clId="{43B71669-8A80-4333-9349-B258A9296B49}" dt="2024-02-27T16:46:20.351" v="1301" actId="478"/>
          <ac:spMkLst>
            <pc:docMk/>
            <pc:sldMk cId="1945724814" sldId="582"/>
            <ac:spMk id="275" creationId="{15F817C0-A0FF-B055-2FE7-D3FBFCC324AB}"/>
          </ac:spMkLst>
        </pc:spChg>
        <pc:spChg chg="replST">
          <ac:chgData name="Bullinger, Marvin" userId="5b54ce5a-dc89-476f-af33-5abd75d5b1e8" providerId="ADAL" clId="{43B71669-8A80-4333-9349-B258A9296B49}" dt="2024-02-27T16:45:50.607" v="911"/>
          <ac:spMkLst>
            <pc:docMk/>
            <pc:sldMk cId="1945724814" sldId="582"/>
            <ac:spMk id="276" creationId="{AF489A39-CAF5-449B-796D-23D219954A27}"/>
          </ac:spMkLst>
        </pc:spChg>
        <pc:spChg chg="replST">
          <ac:chgData name="Bullinger, Marvin" userId="5b54ce5a-dc89-476f-af33-5abd75d5b1e8" providerId="ADAL" clId="{43B71669-8A80-4333-9349-B258A9296B49}" dt="2024-02-27T16:45:50.607" v="914"/>
          <ac:spMkLst>
            <pc:docMk/>
            <pc:sldMk cId="1945724814" sldId="582"/>
            <ac:spMk id="277" creationId="{091A9B1C-F84C-F225-ABE2-E2337C8C8FF0}"/>
          </ac:spMkLst>
        </pc:spChg>
        <pc:spChg chg="add mod">
          <ac:chgData name="Bullinger, Marvin" userId="5b54ce5a-dc89-476f-af33-5abd75d5b1e8" providerId="ADAL" clId="{43B71669-8A80-4333-9349-B258A9296B49}" dt="2024-02-27T17:21:07.440" v="3673" actId="478"/>
          <ac:spMkLst>
            <pc:docMk/>
            <pc:sldMk cId="1945724814" sldId="582"/>
            <ac:spMk id="298" creationId="{4295EC32-1DD2-A2D5-35DA-A1C421F37B0C}"/>
          </ac:spMkLst>
        </pc:spChg>
        <pc:spChg chg="del mod ord replST">
          <ac:chgData name="Bullinger, Marvin" userId="5b54ce5a-dc89-476f-af33-5abd75d5b1e8" providerId="ADAL" clId="{43B71669-8A80-4333-9349-B258A9296B49}" dt="2024-02-27T17:26:23.368" v="4712" actId="478"/>
          <ac:spMkLst>
            <pc:docMk/>
            <pc:sldMk cId="1945724814" sldId="582"/>
            <ac:spMk id="299" creationId="{59C60167-073C-6479-A2E0-CE25448DFBD7}"/>
          </ac:spMkLst>
        </pc:spChg>
        <pc:spChg chg="del">
          <ac:chgData name="Bullinger, Marvin" userId="5b54ce5a-dc89-476f-af33-5abd75d5b1e8" providerId="ADAL" clId="{43B71669-8A80-4333-9349-B258A9296B49}" dt="2024-02-27T17:21:07.490" v="3709" actId="478"/>
          <ac:spMkLst>
            <pc:docMk/>
            <pc:sldMk cId="1945724814" sldId="582"/>
            <ac:spMk id="300" creationId="{E07A49B5-2490-2DD1-A765-863FC5D97D97}"/>
          </ac:spMkLst>
        </pc:spChg>
        <pc:spChg chg="del">
          <ac:chgData name="Bullinger, Marvin" userId="5b54ce5a-dc89-476f-af33-5abd75d5b1e8" providerId="ADAL" clId="{43B71669-8A80-4333-9349-B258A9296B49}" dt="2024-02-27T17:21:07.490" v="3708" actId="478"/>
          <ac:spMkLst>
            <pc:docMk/>
            <pc:sldMk cId="1945724814" sldId="582"/>
            <ac:spMk id="301" creationId="{53569087-DB45-C18A-1CE8-6427078E98CB}"/>
          </ac:spMkLst>
        </pc:spChg>
        <pc:spChg chg="del">
          <ac:chgData name="Bullinger, Marvin" userId="5b54ce5a-dc89-476f-af33-5abd75d5b1e8" providerId="ADAL" clId="{43B71669-8A80-4333-9349-B258A9296B49}" dt="2024-02-27T17:21:07.490" v="3707" actId="478"/>
          <ac:spMkLst>
            <pc:docMk/>
            <pc:sldMk cId="1945724814" sldId="582"/>
            <ac:spMk id="302" creationId="{A183D999-93C2-7F53-60FF-42B5921E035C}"/>
          </ac:spMkLst>
        </pc:spChg>
        <pc:spChg chg="del">
          <ac:chgData name="Bullinger, Marvin" userId="5b54ce5a-dc89-476f-af33-5abd75d5b1e8" providerId="ADAL" clId="{43B71669-8A80-4333-9349-B258A9296B49}" dt="2024-02-27T17:21:07.490" v="3706" actId="478"/>
          <ac:spMkLst>
            <pc:docMk/>
            <pc:sldMk cId="1945724814" sldId="582"/>
            <ac:spMk id="303" creationId="{B858A95D-2505-ADC6-D379-52023061D01F}"/>
          </ac:spMkLst>
        </pc:spChg>
        <pc:spChg chg="del">
          <ac:chgData name="Bullinger, Marvin" userId="5b54ce5a-dc89-476f-af33-5abd75d5b1e8" providerId="ADAL" clId="{43B71669-8A80-4333-9349-B258A9296B49}" dt="2024-02-27T17:21:07.490" v="3705" actId="478"/>
          <ac:spMkLst>
            <pc:docMk/>
            <pc:sldMk cId="1945724814" sldId="582"/>
            <ac:spMk id="304" creationId="{752C63CC-FCBE-1D2B-87CC-AC016DCB2DF2}"/>
          </ac:spMkLst>
        </pc:spChg>
        <pc:spChg chg="del">
          <ac:chgData name="Bullinger, Marvin" userId="5b54ce5a-dc89-476f-af33-5abd75d5b1e8" providerId="ADAL" clId="{43B71669-8A80-4333-9349-B258A9296B49}" dt="2024-02-27T17:21:07.488" v="3704" actId="478"/>
          <ac:spMkLst>
            <pc:docMk/>
            <pc:sldMk cId="1945724814" sldId="582"/>
            <ac:spMk id="305" creationId="{8E1A4681-2E46-F956-F4BC-715787BD2A0C}"/>
          </ac:spMkLst>
        </pc:spChg>
        <pc:spChg chg="del">
          <ac:chgData name="Bullinger, Marvin" userId="5b54ce5a-dc89-476f-af33-5abd75d5b1e8" providerId="ADAL" clId="{43B71669-8A80-4333-9349-B258A9296B49}" dt="2024-02-27T17:21:07.480" v="3701" actId="478"/>
          <ac:spMkLst>
            <pc:docMk/>
            <pc:sldMk cId="1945724814" sldId="582"/>
            <ac:spMk id="306" creationId="{7C123E03-4CE2-13BD-6D02-8C08BF35172D}"/>
          </ac:spMkLst>
        </pc:spChg>
        <pc:spChg chg="del">
          <ac:chgData name="Bullinger, Marvin" userId="5b54ce5a-dc89-476f-af33-5abd75d5b1e8" providerId="ADAL" clId="{43B71669-8A80-4333-9349-B258A9296B49}" dt="2024-02-27T17:21:07.480" v="3700" actId="478"/>
          <ac:spMkLst>
            <pc:docMk/>
            <pc:sldMk cId="1945724814" sldId="582"/>
            <ac:spMk id="307" creationId="{902BB90B-E29A-8A43-F732-FAE678741959}"/>
          </ac:spMkLst>
        </pc:spChg>
        <pc:spChg chg="del">
          <ac:chgData name="Bullinger, Marvin" userId="5b54ce5a-dc89-476f-af33-5abd75d5b1e8" providerId="ADAL" clId="{43B71669-8A80-4333-9349-B258A9296B49}" dt="2024-02-27T17:21:07.480" v="3699" actId="478"/>
          <ac:spMkLst>
            <pc:docMk/>
            <pc:sldMk cId="1945724814" sldId="582"/>
            <ac:spMk id="308" creationId="{A25D56BD-A84C-84D3-70CA-60EC6C05D879}"/>
          </ac:spMkLst>
        </pc:spChg>
        <pc:spChg chg="del">
          <ac:chgData name="Bullinger, Marvin" userId="5b54ce5a-dc89-476f-af33-5abd75d5b1e8" providerId="ADAL" clId="{43B71669-8A80-4333-9349-B258A9296B49}" dt="2024-02-27T17:21:07.480" v="3698" actId="478"/>
          <ac:spMkLst>
            <pc:docMk/>
            <pc:sldMk cId="1945724814" sldId="582"/>
            <ac:spMk id="309" creationId="{74A96DD3-7CA8-A092-9546-23504D2CD267}"/>
          </ac:spMkLst>
        </pc:spChg>
        <pc:spChg chg="del">
          <ac:chgData name="Bullinger, Marvin" userId="5b54ce5a-dc89-476f-af33-5abd75d5b1e8" providerId="ADAL" clId="{43B71669-8A80-4333-9349-B258A9296B49}" dt="2024-02-27T17:21:07.480" v="3697" actId="478"/>
          <ac:spMkLst>
            <pc:docMk/>
            <pc:sldMk cId="1945724814" sldId="582"/>
            <ac:spMk id="310" creationId="{A41F7442-A996-AD27-E7D0-EAD70A8A7955}"/>
          </ac:spMkLst>
        </pc:spChg>
        <pc:spChg chg="del">
          <ac:chgData name="Bullinger, Marvin" userId="5b54ce5a-dc89-476f-af33-5abd75d5b1e8" providerId="ADAL" clId="{43B71669-8A80-4333-9349-B258A9296B49}" dt="2024-02-27T17:21:07.480" v="3696" actId="478"/>
          <ac:spMkLst>
            <pc:docMk/>
            <pc:sldMk cId="1945724814" sldId="582"/>
            <ac:spMk id="311" creationId="{D00C5E3B-0EA0-F11B-F915-D328989FD8CC}"/>
          </ac:spMkLst>
        </pc:spChg>
        <pc:spChg chg="del">
          <ac:chgData name="Bullinger, Marvin" userId="5b54ce5a-dc89-476f-af33-5abd75d5b1e8" providerId="ADAL" clId="{43B71669-8A80-4333-9349-B258A9296B49}" dt="2024-02-27T17:21:07.490" v="3717" actId="478"/>
          <ac:spMkLst>
            <pc:docMk/>
            <pc:sldMk cId="1945724814" sldId="582"/>
            <ac:spMk id="312" creationId="{07CBB61F-A99A-30D0-5C30-7536B4CC3EFA}"/>
          </ac:spMkLst>
        </pc:spChg>
        <pc:spChg chg="del">
          <ac:chgData name="Bullinger, Marvin" userId="5b54ce5a-dc89-476f-af33-5abd75d5b1e8" providerId="ADAL" clId="{43B71669-8A80-4333-9349-B258A9296B49}" dt="2024-02-27T17:21:07.490" v="3716" actId="478"/>
          <ac:spMkLst>
            <pc:docMk/>
            <pc:sldMk cId="1945724814" sldId="582"/>
            <ac:spMk id="313" creationId="{6A161821-5619-6BF0-E005-42BE59D8803F}"/>
          </ac:spMkLst>
        </pc:spChg>
        <pc:spChg chg="del">
          <ac:chgData name="Bullinger, Marvin" userId="5b54ce5a-dc89-476f-af33-5abd75d5b1e8" providerId="ADAL" clId="{43B71669-8A80-4333-9349-B258A9296B49}" dt="2024-02-27T17:21:07.490" v="3715" actId="478"/>
          <ac:spMkLst>
            <pc:docMk/>
            <pc:sldMk cId="1945724814" sldId="582"/>
            <ac:spMk id="314" creationId="{62BD7E7F-1D72-792A-D1C3-31114EDFEDB9}"/>
          </ac:spMkLst>
        </pc:spChg>
        <pc:spChg chg="del">
          <ac:chgData name="Bullinger, Marvin" userId="5b54ce5a-dc89-476f-af33-5abd75d5b1e8" providerId="ADAL" clId="{43B71669-8A80-4333-9349-B258A9296B49}" dt="2024-02-27T17:21:07.490" v="3714" actId="478"/>
          <ac:spMkLst>
            <pc:docMk/>
            <pc:sldMk cId="1945724814" sldId="582"/>
            <ac:spMk id="315" creationId="{1A976FC9-2419-2E96-3545-0F0C92C558EE}"/>
          </ac:spMkLst>
        </pc:spChg>
        <pc:spChg chg="del">
          <ac:chgData name="Bullinger, Marvin" userId="5b54ce5a-dc89-476f-af33-5abd75d5b1e8" providerId="ADAL" clId="{43B71669-8A80-4333-9349-B258A9296B49}" dt="2024-02-27T17:21:07.490" v="3713" actId="478"/>
          <ac:spMkLst>
            <pc:docMk/>
            <pc:sldMk cId="1945724814" sldId="582"/>
            <ac:spMk id="316" creationId="{D1783B56-B73B-7110-1276-EF28F00307FD}"/>
          </ac:spMkLst>
        </pc:spChg>
        <pc:spChg chg="del">
          <ac:chgData name="Bullinger, Marvin" userId="5b54ce5a-dc89-476f-af33-5abd75d5b1e8" providerId="ADAL" clId="{43B71669-8A80-4333-9349-B258A9296B49}" dt="2024-02-27T17:21:07.490" v="3712" actId="478"/>
          <ac:spMkLst>
            <pc:docMk/>
            <pc:sldMk cId="1945724814" sldId="582"/>
            <ac:spMk id="317" creationId="{DE69FE42-66F0-F14B-3D2C-960C2D726BF6}"/>
          </ac:spMkLst>
        </pc:spChg>
        <pc:spChg chg="del">
          <ac:chgData name="Bullinger, Marvin" userId="5b54ce5a-dc89-476f-af33-5abd75d5b1e8" providerId="ADAL" clId="{43B71669-8A80-4333-9349-B258A9296B49}" dt="2024-02-27T17:21:07.490" v="3711" actId="478"/>
          <ac:spMkLst>
            <pc:docMk/>
            <pc:sldMk cId="1945724814" sldId="582"/>
            <ac:spMk id="318" creationId="{CF1FC9C0-EA14-8F41-6D53-E086ED9036AF}"/>
          </ac:spMkLst>
        </pc:spChg>
        <pc:spChg chg="add mod">
          <ac:chgData name="Bullinger, Marvin" userId="5b54ce5a-dc89-476f-af33-5abd75d5b1e8" providerId="ADAL" clId="{43B71669-8A80-4333-9349-B258A9296B49}" dt="2024-02-27T16:46:20.348" v="1296" actId="478"/>
          <ac:spMkLst>
            <pc:docMk/>
            <pc:sldMk cId="1945724814" sldId="582"/>
            <ac:spMk id="318" creationId="{EDC2DEF3-2B21-A5C0-80E1-216A7DD8CAD1}"/>
          </ac:spMkLst>
        </pc:spChg>
        <pc:spChg chg="add del mod ord replST">
          <ac:chgData name="Bullinger, Marvin" userId="5b54ce5a-dc89-476f-af33-5abd75d5b1e8" providerId="ADAL" clId="{43B71669-8A80-4333-9349-B258A9296B49}" dt="2024-02-27T17:21:07.440" v="3673" actId="478"/>
          <ac:spMkLst>
            <pc:docMk/>
            <pc:sldMk cId="1945724814" sldId="582"/>
            <ac:spMk id="319" creationId="{8C1C476B-415F-62BE-4E99-55D06A3D48D6}"/>
          </ac:spMkLst>
        </pc:spChg>
        <pc:spChg chg="del">
          <ac:chgData name="Bullinger, Marvin" userId="5b54ce5a-dc89-476f-af33-5abd75d5b1e8" providerId="ADAL" clId="{43B71669-8A80-4333-9349-B258A9296B49}" dt="2024-02-27T16:46:20.371" v="1332" actId="478"/>
          <ac:spMkLst>
            <pc:docMk/>
            <pc:sldMk cId="1945724814" sldId="582"/>
            <ac:spMk id="320" creationId="{015E20D1-D464-5757-A50C-66E9935B6373}"/>
          </ac:spMkLst>
        </pc:spChg>
        <pc:spChg chg="del">
          <ac:chgData name="Bullinger, Marvin" userId="5b54ce5a-dc89-476f-af33-5abd75d5b1e8" providerId="ADAL" clId="{43B71669-8A80-4333-9349-B258A9296B49}" dt="2024-02-27T16:46:20.371" v="1331" actId="478"/>
          <ac:spMkLst>
            <pc:docMk/>
            <pc:sldMk cId="1945724814" sldId="582"/>
            <ac:spMk id="321" creationId="{C5D516F6-4CCA-2881-C479-881986C5BAD4}"/>
          </ac:spMkLst>
        </pc:spChg>
        <pc:spChg chg="del">
          <ac:chgData name="Bullinger, Marvin" userId="5b54ce5a-dc89-476f-af33-5abd75d5b1e8" providerId="ADAL" clId="{43B71669-8A80-4333-9349-B258A9296B49}" dt="2024-02-27T16:46:20.371" v="1330" actId="478"/>
          <ac:spMkLst>
            <pc:docMk/>
            <pc:sldMk cId="1945724814" sldId="582"/>
            <ac:spMk id="322" creationId="{C93D574F-F8DC-B832-8CAF-603D265E2B06}"/>
          </ac:spMkLst>
        </pc:spChg>
        <pc:spChg chg="del">
          <ac:chgData name="Bullinger, Marvin" userId="5b54ce5a-dc89-476f-af33-5abd75d5b1e8" providerId="ADAL" clId="{43B71669-8A80-4333-9349-B258A9296B49}" dt="2024-02-27T16:46:20.371" v="1329" actId="478"/>
          <ac:spMkLst>
            <pc:docMk/>
            <pc:sldMk cId="1945724814" sldId="582"/>
            <ac:spMk id="323" creationId="{42E1A774-E97A-B380-1559-E01A2EE376BB}"/>
          </ac:spMkLst>
        </pc:spChg>
        <pc:spChg chg="del">
          <ac:chgData name="Bullinger, Marvin" userId="5b54ce5a-dc89-476f-af33-5abd75d5b1e8" providerId="ADAL" clId="{43B71669-8A80-4333-9349-B258A9296B49}" dt="2024-02-27T16:46:20.369" v="1328" actId="478"/>
          <ac:spMkLst>
            <pc:docMk/>
            <pc:sldMk cId="1945724814" sldId="582"/>
            <ac:spMk id="324" creationId="{D49468C4-59F9-8830-4BFD-3BE76D7D72BB}"/>
          </ac:spMkLst>
        </pc:spChg>
        <pc:spChg chg="del">
          <ac:chgData name="Bullinger, Marvin" userId="5b54ce5a-dc89-476f-af33-5abd75d5b1e8" providerId="ADAL" clId="{43B71669-8A80-4333-9349-B258A9296B49}" dt="2024-02-27T16:46:20.369" v="1327" actId="478"/>
          <ac:spMkLst>
            <pc:docMk/>
            <pc:sldMk cId="1945724814" sldId="582"/>
            <ac:spMk id="325" creationId="{145D3339-4EF8-9090-69C4-41E1AD9796B8}"/>
          </ac:spMkLst>
        </pc:spChg>
        <pc:spChg chg="del">
          <ac:chgData name="Bullinger, Marvin" userId="5b54ce5a-dc89-476f-af33-5abd75d5b1e8" providerId="ADAL" clId="{43B71669-8A80-4333-9349-B258A9296B49}" dt="2024-02-27T16:46:20.369" v="1324" actId="478"/>
          <ac:spMkLst>
            <pc:docMk/>
            <pc:sldMk cId="1945724814" sldId="582"/>
            <ac:spMk id="326" creationId="{614AE1E9-69A9-E1CE-61B1-544C2C9FE5DE}"/>
          </ac:spMkLst>
        </pc:spChg>
        <pc:spChg chg="del">
          <ac:chgData name="Bullinger, Marvin" userId="5b54ce5a-dc89-476f-af33-5abd75d5b1e8" providerId="ADAL" clId="{43B71669-8A80-4333-9349-B258A9296B49}" dt="2024-02-27T16:46:20.361" v="1323" actId="478"/>
          <ac:spMkLst>
            <pc:docMk/>
            <pc:sldMk cId="1945724814" sldId="582"/>
            <ac:spMk id="327" creationId="{EA51AA69-7428-9D91-CF48-DD455958D9DD}"/>
          </ac:spMkLst>
        </pc:spChg>
        <pc:spChg chg="del">
          <ac:chgData name="Bullinger, Marvin" userId="5b54ce5a-dc89-476f-af33-5abd75d5b1e8" providerId="ADAL" clId="{43B71669-8A80-4333-9349-B258A9296B49}" dt="2024-02-27T16:46:20.361" v="1322" actId="478"/>
          <ac:spMkLst>
            <pc:docMk/>
            <pc:sldMk cId="1945724814" sldId="582"/>
            <ac:spMk id="328" creationId="{D1AC1560-A8C0-3543-CED8-7B8DF42A4251}"/>
          </ac:spMkLst>
        </pc:spChg>
        <pc:spChg chg="del">
          <ac:chgData name="Bullinger, Marvin" userId="5b54ce5a-dc89-476f-af33-5abd75d5b1e8" providerId="ADAL" clId="{43B71669-8A80-4333-9349-B258A9296B49}" dt="2024-02-27T16:46:20.361" v="1321" actId="478"/>
          <ac:spMkLst>
            <pc:docMk/>
            <pc:sldMk cId="1945724814" sldId="582"/>
            <ac:spMk id="329" creationId="{A658A942-B5F5-F5FF-5C3D-BF935A2FF14B}"/>
          </ac:spMkLst>
        </pc:spChg>
        <pc:spChg chg="del">
          <ac:chgData name="Bullinger, Marvin" userId="5b54ce5a-dc89-476f-af33-5abd75d5b1e8" providerId="ADAL" clId="{43B71669-8A80-4333-9349-B258A9296B49}" dt="2024-02-27T16:46:20.361" v="1320" actId="478"/>
          <ac:spMkLst>
            <pc:docMk/>
            <pc:sldMk cId="1945724814" sldId="582"/>
            <ac:spMk id="330" creationId="{931D6B2E-584F-CCAC-0E75-595F4411A008}"/>
          </ac:spMkLst>
        </pc:spChg>
        <pc:spChg chg="del">
          <ac:chgData name="Bullinger, Marvin" userId="5b54ce5a-dc89-476f-af33-5abd75d5b1e8" providerId="ADAL" clId="{43B71669-8A80-4333-9349-B258A9296B49}" dt="2024-02-27T16:46:20.361" v="1319" actId="478"/>
          <ac:spMkLst>
            <pc:docMk/>
            <pc:sldMk cId="1945724814" sldId="582"/>
            <ac:spMk id="331" creationId="{CEFCB0C7-2898-3998-B38E-3648AE9C58C6}"/>
          </ac:spMkLst>
        </pc:spChg>
        <pc:spChg chg="del">
          <ac:chgData name="Bullinger, Marvin" userId="5b54ce5a-dc89-476f-af33-5abd75d5b1e8" providerId="ADAL" clId="{43B71669-8A80-4333-9349-B258A9296B49}" dt="2024-02-27T16:46:20.371" v="1340" actId="478"/>
          <ac:spMkLst>
            <pc:docMk/>
            <pc:sldMk cId="1945724814" sldId="582"/>
            <ac:spMk id="332" creationId="{F5A954B2-A928-6B51-4A35-F0718FE3DC66}"/>
          </ac:spMkLst>
        </pc:spChg>
        <pc:spChg chg="del">
          <ac:chgData name="Bullinger, Marvin" userId="5b54ce5a-dc89-476f-af33-5abd75d5b1e8" providerId="ADAL" clId="{43B71669-8A80-4333-9349-B258A9296B49}" dt="2024-02-27T16:46:20.371" v="1339" actId="478"/>
          <ac:spMkLst>
            <pc:docMk/>
            <pc:sldMk cId="1945724814" sldId="582"/>
            <ac:spMk id="333" creationId="{F1E2D019-AF68-EA0C-4C01-71DEA89E3343}"/>
          </ac:spMkLst>
        </pc:spChg>
        <pc:spChg chg="del">
          <ac:chgData name="Bullinger, Marvin" userId="5b54ce5a-dc89-476f-af33-5abd75d5b1e8" providerId="ADAL" clId="{43B71669-8A80-4333-9349-B258A9296B49}" dt="2024-02-27T16:46:20.371" v="1338" actId="478"/>
          <ac:spMkLst>
            <pc:docMk/>
            <pc:sldMk cId="1945724814" sldId="582"/>
            <ac:spMk id="334" creationId="{51673151-DEFD-00EF-9762-F4FB55618D0F}"/>
          </ac:spMkLst>
        </pc:spChg>
        <pc:spChg chg="del">
          <ac:chgData name="Bullinger, Marvin" userId="5b54ce5a-dc89-476f-af33-5abd75d5b1e8" providerId="ADAL" clId="{43B71669-8A80-4333-9349-B258A9296B49}" dt="2024-02-27T16:46:20.371" v="1337" actId="478"/>
          <ac:spMkLst>
            <pc:docMk/>
            <pc:sldMk cId="1945724814" sldId="582"/>
            <ac:spMk id="335" creationId="{B7DCA415-8792-1E53-9111-F551198209C9}"/>
          </ac:spMkLst>
        </pc:spChg>
        <pc:spChg chg="del">
          <ac:chgData name="Bullinger, Marvin" userId="5b54ce5a-dc89-476f-af33-5abd75d5b1e8" providerId="ADAL" clId="{43B71669-8A80-4333-9349-B258A9296B49}" dt="2024-02-27T16:46:20.371" v="1336" actId="478"/>
          <ac:spMkLst>
            <pc:docMk/>
            <pc:sldMk cId="1945724814" sldId="582"/>
            <ac:spMk id="336" creationId="{ED559080-38D0-CA2F-C263-23E106827C42}"/>
          </ac:spMkLst>
        </pc:spChg>
        <pc:spChg chg="del">
          <ac:chgData name="Bullinger, Marvin" userId="5b54ce5a-dc89-476f-af33-5abd75d5b1e8" providerId="ADAL" clId="{43B71669-8A80-4333-9349-B258A9296B49}" dt="2024-02-27T16:46:20.371" v="1335" actId="478"/>
          <ac:spMkLst>
            <pc:docMk/>
            <pc:sldMk cId="1945724814" sldId="582"/>
            <ac:spMk id="337" creationId="{AC5C768F-D66F-083C-19CC-4387D73C55FA}"/>
          </ac:spMkLst>
        </pc:spChg>
        <pc:spChg chg="del">
          <ac:chgData name="Bullinger, Marvin" userId="5b54ce5a-dc89-476f-af33-5abd75d5b1e8" providerId="ADAL" clId="{43B71669-8A80-4333-9349-B258A9296B49}" dt="2024-02-27T16:46:20.371" v="1334" actId="478"/>
          <ac:spMkLst>
            <pc:docMk/>
            <pc:sldMk cId="1945724814" sldId="582"/>
            <ac:spMk id="338" creationId="{9BC6A45C-FF46-970D-C2E4-AD9241520087}"/>
          </ac:spMkLst>
        </pc:spChg>
        <pc:spChg chg="del">
          <ac:chgData name="Bullinger, Marvin" userId="5b54ce5a-dc89-476f-af33-5abd75d5b1e8" providerId="ADAL" clId="{43B71669-8A80-4333-9349-B258A9296B49}" dt="2024-02-27T16:46:20.371" v="1333" actId="478"/>
          <ac:spMkLst>
            <pc:docMk/>
            <pc:sldMk cId="1945724814" sldId="582"/>
            <ac:spMk id="339" creationId="{5277FCA3-1AD7-69DE-DACE-6B1DBD63CEC9}"/>
          </ac:spMkLst>
        </pc:spChg>
        <pc:spChg chg="del">
          <ac:chgData name="Bullinger, Marvin" userId="5b54ce5a-dc89-476f-af33-5abd75d5b1e8" providerId="ADAL" clId="{43B71669-8A80-4333-9349-B258A9296B49}" dt="2024-02-27T16:46:20.369" v="1325" actId="478"/>
          <ac:spMkLst>
            <pc:docMk/>
            <pc:sldMk cId="1945724814" sldId="582"/>
            <ac:spMk id="340" creationId="{51F4926C-3539-0724-DB6F-8597D280C0DA}"/>
          </ac:spMkLst>
        </pc:spChg>
        <pc:spChg chg="del">
          <ac:chgData name="Bullinger, Marvin" userId="5b54ce5a-dc89-476f-af33-5abd75d5b1e8" providerId="ADAL" clId="{43B71669-8A80-4333-9349-B258A9296B49}" dt="2024-02-27T16:46:20.361" v="1318" actId="478"/>
          <ac:spMkLst>
            <pc:docMk/>
            <pc:sldMk cId="1945724814" sldId="582"/>
            <ac:spMk id="341" creationId="{22A896A6-461F-26FF-5FF3-8B44F096FA51}"/>
          </ac:spMkLst>
        </pc:spChg>
        <pc:spChg chg="del">
          <ac:chgData name="Bullinger, Marvin" userId="5b54ce5a-dc89-476f-af33-5abd75d5b1e8" providerId="ADAL" clId="{43B71669-8A80-4333-9349-B258A9296B49}" dt="2024-02-27T16:46:20.369" v="1326" actId="478"/>
          <ac:spMkLst>
            <pc:docMk/>
            <pc:sldMk cId="1945724814" sldId="582"/>
            <ac:spMk id="342" creationId="{9C3C0839-2994-2837-C200-C70E394A7A4B}"/>
          </ac:spMkLst>
        </pc:spChg>
        <pc:spChg chg="del">
          <ac:chgData name="Bullinger, Marvin" userId="5b54ce5a-dc89-476f-af33-5abd75d5b1e8" providerId="ADAL" clId="{43B71669-8A80-4333-9349-B258A9296B49}" dt="2024-02-27T16:46:20.361" v="1317" actId="478"/>
          <ac:spMkLst>
            <pc:docMk/>
            <pc:sldMk cId="1945724814" sldId="582"/>
            <ac:spMk id="343" creationId="{D71D9327-69BB-C0DD-BE78-F8336C685D4B}"/>
          </ac:spMkLst>
        </pc:spChg>
        <pc:spChg chg="del">
          <ac:chgData name="Bullinger, Marvin" userId="5b54ce5a-dc89-476f-af33-5abd75d5b1e8" providerId="ADAL" clId="{43B71669-8A80-4333-9349-B258A9296B49}" dt="2024-02-27T16:46:20.361" v="1316" actId="478"/>
          <ac:spMkLst>
            <pc:docMk/>
            <pc:sldMk cId="1945724814" sldId="582"/>
            <ac:spMk id="344" creationId="{A125F029-5185-489C-8FE8-E638DC5626C5}"/>
          </ac:spMkLst>
        </pc:spChg>
        <pc:spChg chg="del">
          <ac:chgData name="Bullinger, Marvin" userId="5b54ce5a-dc89-476f-af33-5abd75d5b1e8" providerId="ADAL" clId="{43B71669-8A80-4333-9349-B258A9296B49}" dt="2024-02-27T16:46:20.361" v="1315" actId="478"/>
          <ac:spMkLst>
            <pc:docMk/>
            <pc:sldMk cId="1945724814" sldId="582"/>
            <ac:spMk id="345" creationId="{091BAC16-3226-6562-BB61-442713604AB3}"/>
          </ac:spMkLst>
        </pc:spChg>
        <pc:spChg chg="del">
          <ac:chgData name="Bullinger, Marvin" userId="5b54ce5a-dc89-476f-af33-5abd75d5b1e8" providerId="ADAL" clId="{43B71669-8A80-4333-9349-B258A9296B49}" dt="2024-02-27T16:46:20.361" v="1314" actId="478"/>
          <ac:spMkLst>
            <pc:docMk/>
            <pc:sldMk cId="1945724814" sldId="582"/>
            <ac:spMk id="346" creationId="{83408271-700A-568E-CC86-C275A076E00F}"/>
          </ac:spMkLst>
        </pc:spChg>
        <pc:spChg chg="del">
          <ac:chgData name="Bullinger, Marvin" userId="5b54ce5a-dc89-476f-af33-5abd75d5b1e8" providerId="ADAL" clId="{43B71669-8A80-4333-9349-B258A9296B49}" dt="2024-02-27T16:46:20.361" v="1313" actId="478"/>
          <ac:spMkLst>
            <pc:docMk/>
            <pc:sldMk cId="1945724814" sldId="582"/>
            <ac:spMk id="347" creationId="{1DB3B4F1-021C-182E-EB86-85E2DF115894}"/>
          </ac:spMkLst>
        </pc:spChg>
        <pc:spChg chg="del">
          <ac:chgData name="Bullinger, Marvin" userId="5b54ce5a-dc89-476f-af33-5abd75d5b1e8" providerId="ADAL" clId="{43B71669-8A80-4333-9349-B258A9296B49}" dt="2024-02-27T16:46:20.361" v="1312" actId="478"/>
          <ac:spMkLst>
            <pc:docMk/>
            <pc:sldMk cId="1945724814" sldId="582"/>
            <ac:spMk id="348" creationId="{165EF315-E63B-C777-DDEB-5F3A99CC94B2}"/>
          </ac:spMkLst>
        </pc:spChg>
        <pc:spChg chg="del">
          <ac:chgData name="Bullinger, Marvin" userId="5b54ce5a-dc89-476f-af33-5abd75d5b1e8" providerId="ADAL" clId="{43B71669-8A80-4333-9349-B258A9296B49}" dt="2024-02-27T16:46:20.361" v="1311" actId="478"/>
          <ac:spMkLst>
            <pc:docMk/>
            <pc:sldMk cId="1945724814" sldId="582"/>
            <ac:spMk id="349" creationId="{CDE99872-E0F5-939A-DC79-4875040F6036}"/>
          </ac:spMkLst>
        </pc:spChg>
        <pc:spChg chg="del">
          <ac:chgData name="Bullinger, Marvin" userId="5b54ce5a-dc89-476f-af33-5abd75d5b1e8" providerId="ADAL" clId="{43B71669-8A80-4333-9349-B258A9296B49}" dt="2024-02-27T16:46:20.361" v="1310" actId="478"/>
          <ac:spMkLst>
            <pc:docMk/>
            <pc:sldMk cId="1945724814" sldId="582"/>
            <ac:spMk id="350" creationId="{0BCCC5B5-2F43-8246-F0A0-646BC39D946D}"/>
          </ac:spMkLst>
        </pc:spChg>
        <pc:spChg chg="del">
          <ac:chgData name="Bullinger, Marvin" userId="5b54ce5a-dc89-476f-af33-5abd75d5b1e8" providerId="ADAL" clId="{43B71669-8A80-4333-9349-B258A9296B49}" dt="2024-02-27T16:46:20.361" v="1309" actId="478"/>
          <ac:spMkLst>
            <pc:docMk/>
            <pc:sldMk cId="1945724814" sldId="582"/>
            <ac:spMk id="351" creationId="{89593BE2-6356-F642-538B-79435F056EAE}"/>
          </ac:spMkLst>
        </pc:spChg>
        <pc:spChg chg="del">
          <ac:chgData name="Bullinger, Marvin" userId="5b54ce5a-dc89-476f-af33-5abd75d5b1e8" providerId="ADAL" clId="{43B71669-8A80-4333-9349-B258A9296B49}" dt="2024-02-27T16:46:20.361" v="1308" actId="478"/>
          <ac:spMkLst>
            <pc:docMk/>
            <pc:sldMk cId="1945724814" sldId="582"/>
            <ac:spMk id="352" creationId="{596C0222-ABB9-19E5-878E-0C116856E4B8}"/>
          </ac:spMkLst>
        </pc:spChg>
        <pc:spChg chg="del">
          <ac:chgData name="Bullinger, Marvin" userId="5b54ce5a-dc89-476f-af33-5abd75d5b1e8" providerId="ADAL" clId="{43B71669-8A80-4333-9349-B258A9296B49}" dt="2024-02-27T17:21:07.490" v="3710" actId="478"/>
          <ac:spMkLst>
            <pc:docMk/>
            <pc:sldMk cId="1945724814" sldId="582"/>
            <ac:spMk id="352" creationId="{65B9BD84-E161-8403-C3E8-FFE2CC45C0A1}"/>
          </ac:spMkLst>
        </pc:spChg>
        <pc:spChg chg="del">
          <ac:chgData name="Bullinger, Marvin" userId="5b54ce5a-dc89-476f-af33-5abd75d5b1e8" providerId="ADAL" clId="{43B71669-8A80-4333-9349-B258A9296B49}" dt="2024-02-27T17:21:07.488" v="3702" actId="478"/>
          <ac:spMkLst>
            <pc:docMk/>
            <pc:sldMk cId="1945724814" sldId="582"/>
            <ac:spMk id="353" creationId="{298B3395-99A5-5C00-F439-6194C42D63E2}"/>
          </ac:spMkLst>
        </pc:spChg>
        <pc:spChg chg="del">
          <ac:chgData name="Bullinger, Marvin" userId="5b54ce5a-dc89-476f-af33-5abd75d5b1e8" providerId="ADAL" clId="{43B71669-8A80-4333-9349-B258A9296B49}" dt="2024-02-27T16:46:20.361" v="1307" actId="478"/>
          <ac:spMkLst>
            <pc:docMk/>
            <pc:sldMk cId="1945724814" sldId="582"/>
            <ac:spMk id="353" creationId="{6F9E0425-BD91-A873-3672-6722D04334C0}"/>
          </ac:spMkLst>
        </pc:spChg>
        <pc:spChg chg="del">
          <ac:chgData name="Bullinger, Marvin" userId="5b54ce5a-dc89-476f-af33-5abd75d5b1e8" providerId="ADAL" clId="{43B71669-8A80-4333-9349-B258A9296B49}" dt="2024-02-27T17:21:07.480" v="3695" actId="478"/>
          <ac:spMkLst>
            <pc:docMk/>
            <pc:sldMk cId="1945724814" sldId="582"/>
            <ac:spMk id="354" creationId="{8B5D675C-C452-6615-8A36-BFC854D1E59C}"/>
          </ac:spMkLst>
        </pc:spChg>
        <pc:spChg chg="del">
          <ac:chgData name="Bullinger, Marvin" userId="5b54ce5a-dc89-476f-af33-5abd75d5b1e8" providerId="ADAL" clId="{43B71669-8A80-4333-9349-B258A9296B49}" dt="2024-02-27T16:46:20.361" v="1306" actId="478"/>
          <ac:spMkLst>
            <pc:docMk/>
            <pc:sldMk cId="1945724814" sldId="582"/>
            <ac:spMk id="354" creationId="{FD3F2128-C5D0-1332-1CFD-385CF07851A1}"/>
          </ac:spMkLst>
        </pc:spChg>
        <pc:spChg chg="del">
          <ac:chgData name="Bullinger, Marvin" userId="5b54ce5a-dc89-476f-af33-5abd75d5b1e8" providerId="ADAL" clId="{43B71669-8A80-4333-9349-B258A9296B49}" dt="2024-02-27T17:21:07.488" v="3703" actId="478"/>
          <ac:spMkLst>
            <pc:docMk/>
            <pc:sldMk cId="1945724814" sldId="582"/>
            <ac:spMk id="355" creationId="{62100020-E423-C9B1-30AC-405BF2E5A963}"/>
          </ac:spMkLst>
        </pc:spChg>
        <pc:spChg chg="del">
          <ac:chgData name="Bullinger, Marvin" userId="5b54ce5a-dc89-476f-af33-5abd75d5b1e8" providerId="ADAL" clId="{43B71669-8A80-4333-9349-B258A9296B49}" dt="2024-02-27T16:46:20.361" v="1305" actId="478"/>
          <ac:spMkLst>
            <pc:docMk/>
            <pc:sldMk cId="1945724814" sldId="582"/>
            <ac:spMk id="355" creationId="{DCABFBAF-FE80-9C0C-EED6-B0A4ECD4F722}"/>
          </ac:spMkLst>
        </pc:spChg>
        <pc:spChg chg="del">
          <ac:chgData name="Bullinger, Marvin" userId="5b54ce5a-dc89-476f-af33-5abd75d5b1e8" providerId="ADAL" clId="{43B71669-8A80-4333-9349-B258A9296B49}" dt="2024-02-27T17:21:07.480" v="3694" actId="478"/>
          <ac:spMkLst>
            <pc:docMk/>
            <pc:sldMk cId="1945724814" sldId="582"/>
            <ac:spMk id="356" creationId="{4EF9CC38-C411-61A9-369B-36F5EA27141D}"/>
          </ac:spMkLst>
        </pc:spChg>
        <pc:spChg chg="del">
          <ac:chgData name="Bullinger, Marvin" userId="5b54ce5a-dc89-476f-af33-5abd75d5b1e8" providerId="ADAL" clId="{43B71669-8A80-4333-9349-B258A9296B49}" dt="2024-02-27T16:46:20.361" v="1304" actId="478"/>
          <ac:spMkLst>
            <pc:docMk/>
            <pc:sldMk cId="1945724814" sldId="582"/>
            <ac:spMk id="356" creationId="{BB704F06-EB50-FDFB-39DE-DEA3DC1BE550}"/>
          </ac:spMkLst>
        </pc:spChg>
        <pc:spChg chg="add replST">
          <ac:chgData name="Bullinger, Marvin" userId="5b54ce5a-dc89-476f-af33-5abd75d5b1e8" providerId="ADAL" clId="{43B71669-8A80-4333-9349-B258A9296B49}" dt="2024-02-27T16:53:49.050" v="3382"/>
          <ac:spMkLst>
            <pc:docMk/>
            <pc:sldMk cId="1945724814" sldId="582"/>
            <ac:spMk id="357" creationId="{87CB59AB-8710-D416-0CF7-1B90189077ED}"/>
          </ac:spMkLst>
        </pc:spChg>
        <pc:spChg chg="add replST">
          <ac:chgData name="Bullinger, Marvin" userId="5b54ce5a-dc89-476f-af33-5abd75d5b1e8" providerId="ADAL" clId="{43B71669-8A80-4333-9349-B258A9296B49}" dt="2024-02-27T16:53:49.050" v="3382"/>
          <ac:spMkLst>
            <pc:docMk/>
            <pc:sldMk cId="1945724814" sldId="582"/>
            <ac:spMk id="358" creationId="{E1AE9F56-AEB5-4DEC-5380-93DD6ED4A305}"/>
          </ac:spMkLst>
        </pc:spChg>
        <pc:spChg chg="add replST">
          <ac:chgData name="Bullinger, Marvin" userId="5b54ce5a-dc89-476f-af33-5abd75d5b1e8" providerId="ADAL" clId="{43B71669-8A80-4333-9349-B258A9296B49}" dt="2024-02-27T16:53:49.050" v="3382"/>
          <ac:spMkLst>
            <pc:docMk/>
            <pc:sldMk cId="1945724814" sldId="582"/>
            <ac:spMk id="360" creationId="{BB29BFCD-D035-01F1-E8A6-2CED01CFB76C}"/>
          </ac:spMkLst>
        </pc:spChg>
        <pc:spChg chg="add replST">
          <ac:chgData name="Bullinger, Marvin" userId="5b54ce5a-dc89-476f-af33-5abd75d5b1e8" providerId="ADAL" clId="{43B71669-8A80-4333-9349-B258A9296B49}" dt="2024-02-27T16:53:49.050" v="3382"/>
          <ac:spMkLst>
            <pc:docMk/>
            <pc:sldMk cId="1945724814" sldId="582"/>
            <ac:spMk id="361" creationId="{8B0A032C-9442-41E1-D79F-7EF3617DCE62}"/>
          </ac:spMkLst>
        </pc:spChg>
        <pc:spChg chg="add replST">
          <ac:chgData name="Bullinger, Marvin" userId="5b54ce5a-dc89-476f-af33-5abd75d5b1e8" providerId="ADAL" clId="{43B71669-8A80-4333-9349-B258A9296B49}" dt="2024-02-27T16:53:49.050" v="3382"/>
          <ac:spMkLst>
            <pc:docMk/>
            <pc:sldMk cId="1945724814" sldId="582"/>
            <ac:spMk id="363" creationId="{50063980-D2CD-FBA1-D948-B14A9484D344}"/>
          </ac:spMkLst>
        </pc:spChg>
        <pc:spChg chg="add replST">
          <ac:chgData name="Bullinger, Marvin" userId="5b54ce5a-dc89-476f-af33-5abd75d5b1e8" providerId="ADAL" clId="{43B71669-8A80-4333-9349-B258A9296B49}" dt="2024-02-27T16:53:49.050" v="3382"/>
          <ac:spMkLst>
            <pc:docMk/>
            <pc:sldMk cId="1945724814" sldId="582"/>
            <ac:spMk id="364" creationId="{D7BB7C2C-74CC-39E3-CD75-4949E8DE1786}"/>
          </ac:spMkLst>
        </pc:spChg>
        <pc:spChg chg="add replST">
          <ac:chgData name="Bullinger, Marvin" userId="5b54ce5a-dc89-476f-af33-5abd75d5b1e8" providerId="ADAL" clId="{43B71669-8A80-4333-9349-B258A9296B49}" dt="2024-02-27T16:53:49.050" v="3382"/>
          <ac:spMkLst>
            <pc:docMk/>
            <pc:sldMk cId="1945724814" sldId="582"/>
            <ac:spMk id="366" creationId="{A95036B6-FE45-12F0-C5BC-42848AF79903}"/>
          </ac:spMkLst>
        </pc:spChg>
        <pc:spChg chg="add replST">
          <ac:chgData name="Bullinger, Marvin" userId="5b54ce5a-dc89-476f-af33-5abd75d5b1e8" providerId="ADAL" clId="{43B71669-8A80-4333-9349-B258A9296B49}" dt="2024-02-27T16:53:49.050" v="3382"/>
          <ac:spMkLst>
            <pc:docMk/>
            <pc:sldMk cId="1945724814" sldId="582"/>
            <ac:spMk id="367" creationId="{19140BD1-B887-18F6-1ABE-914CBD5D02F0}"/>
          </ac:spMkLst>
        </pc:spChg>
        <pc:spChg chg="add replST">
          <ac:chgData name="Bullinger, Marvin" userId="5b54ce5a-dc89-476f-af33-5abd75d5b1e8" providerId="ADAL" clId="{43B71669-8A80-4333-9349-B258A9296B49}" dt="2024-02-27T16:53:49.050" v="3382"/>
          <ac:spMkLst>
            <pc:docMk/>
            <pc:sldMk cId="1945724814" sldId="582"/>
            <ac:spMk id="369" creationId="{3AEC25C2-80E6-DB0B-157B-5D13A5E1C447}"/>
          </ac:spMkLst>
        </pc:spChg>
        <pc:spChg chg="add replST">
          <ac:chgData name="Bullinger, Marvin" userId="5b54ce5a-dc89-476f-af33-5abd75d5b1e8" providerId="ADAL" clId="{43B71669-8A80-4333-9349-B258A9296B49}" dt="2024-02-27T16:53:49.050" v="3382"/>
          <ac:spMkLst>
            <pc:docMk/>
            <pc:sldMk cId="1945724814" sldId="582"/>
            <ac:spMk id="370" creationId="{42B3FDCC-9038-1BD9-5FD8-B82DDC1F553B}"/>
          </ac:spMkLst>
        </pc:spChg>
        <pc:spChg chg="add del ord replST">
          <ac:chgData name="Bullinger, Marvin" userId="5b54ce5a-dc89-476f-af33-5abd75d5b1e8" providerId="ADAL" clId="{43B71669-8A80-4333-9349-B258A9296B49}" dt="2024-02-27T17:21:07.457" v="3678" actId="478"/>
          <ac:spMkLst>
            <pc:docMk/>
            <pc:sldMk cId="1945724814" sldId="582"/>
            <ac:spMk id="371" creationId="{992F1524-8F02-ECC9-273D-16000BAC7302}"/>
          </ac:spMkLst>
        </pc:spChg>
        <pc:spChg chg="add replST">
          <ac:chgData name="Bullinger, Marvin" userId="5b54ce5a-dc89-476f-af33-5abd75d5b1e8" providerId="ADAL" clId="{43B71669-8A80-4333-9349-B258A9296B49}" dt="2024-02-27T16:53:49.050" v="3382"/>
          <ac:spMkLst>
            <pc:docMk/>
            <pc:sldMk cId="1945724814" sldId="582"/>
            <ac:spMk id="372" creationId="{8247957D-FCA6-C907-E0CD-B1C9E6151BA2}"/>
          </ac:spMkLst>
        </pc:spChg>
        <pc:spChg chg="add replST">
          <ac:chgData name="Bullinger, Marvin" userId="5b54ce5a-dc89-476f-af33-5abd75d5b1e8" providerId="ADAL" clId="{43B71669-8A80-4333-9349-B258A9296B49}" dt="2024-02-27T16:53:49.050" v="3382"/>
          <ac:spMkLst>
            <pc:docMk/>
            <pc:sldMk cId="1945724814" sldId="582"/>
            <ac:spMk id="373" creationId="{0F0F6736-CEAB-192B-1C9B-CF238EA5AB92}"/>
          </ac:spMkLst>
        </pc:spChg>
        <pc:spChg chg="add">
          <ac:chgData name="Bullinger, Marvin" userId="5b54ce5a-dc89-476f-af33-5abd75d5b1e8" providerId="ADAL" clId="{43B71669-8A80-4333-9349-B258A9296B49}" dt="2024-02-27T16:53:49.050" v="3382"/>
          <ac:spMkLst>
            <pc:docMk/>
            <pc:sldMk cId="1945724814" sldId="582"/>
            <ac:spMk id="376" creationId="{02AD4C3D-F690-E1CF-5DF4-8C9077E340B5}"/>
          </ac:spMkLst>
        </pc:spChg>
        <pc:spChg chg="del">
          <ac:chgData name="Bullinger, Marvin" userId="5b54ce5a-dc89-476f-af33-5abd75d5b1e8" providerId="ADAL" clId="{43B71669-8A80-4333-9349-B258A9296B49}" dt="2024-02-27T17:21:07.480" v="3693" actId="478"/>
          <ac:spMkLst>
            <pc:docMk/>
            <pc:sldMk cId="1945724814" sldId="582"/>
            <ac:spMk id="376" creationId="{5186FB08-EDB6-C054-1461-82D9F64BCBDA}"/>
          </ac:spMkLst>
        </pc:spChg>
        <pc:spChg chg="del">
          <ac:chgData name="Bullinger, Marvin" userId="5b54ce5a-dc89-476f-af33-5abd75d5b1e8" providerId="ADAL" clId="{43B71669-8A80-4333-9349-B258A9296B49}" dt="2024-02-27T17:21:07.480" v="3692" actId="478"/>
          <ac:spMkLst>
            <pc:docMk/>
            <pc:sldMk cId="1945724814" sldId="582"/>
            <ac:spMk id="377" creationId="{03F81968-70D5-3333-D00F-960BC406D106}"/>
          </ac:spMkLst>
        </pc:spChg>
        <pc:spChg chg="add">
          <ac:chgData name="Bullinger, Marvin" userId="5b54ce5a-dc89-476f-af33-5abd75d5b1e8" providerId="ADAL" clId="{43B71669-8A80-4333-9349-B258A9296B49}" dt="2024-02-27T16:53:49.050" v="3382"/>
          <ac:spMkLst>
            <pc:docMk/>
            <pc:sldMk cId="1945724814" sldId="582"/>
            <ac:spMk id="377" creationId="{E60BC5B3-B353-91B6-5BEE-C91FBF205306}"/>
          </ac:spMkLst>
        </pc:spChg>
        <pc:spChg chg="del">
          <ac:chgData name="Bullinger, Marvin" userId="5b54ce5a-dc89-476f-af33-5abd75d5b1e8" providerId="ADAL" clId="{43B71669-8A80-4333-9349-B258A9296B49}" dt="2024-02-27T17:21:07.480" v="3691" actId="478"/>
          <ac:spMkLst>
            <pc:docMk/>
            <pc:sldMk cId="1945724814" sldId="582"/>
            <ac:spMk id="378" creationId="{0D59081C-0CD4-90CD-1462-C71F7B00506C}"/>
          </ac:spMkLst>
        </pc:spChg>
        <pc:spChg chg="add">
          <ac:chgData name="Bullinger, Marvin" userId="5b54ce5a-dc89-476f-af33-5abd75d5b1e8" providerId="ADAL" clId="{43B71669-8A80-4333-9349-B258A9296B49}" dt="2024-02-27T16:53:49.050" v="3382"/>
          <ac:spMkLst>
            <pc:docMk/>
            <pc:sldMk cId="1945724814" sldId="582"/>
            <ac:spMk id="378" creationId="{D91E802A-8D1B-33B2-7555-49A27178857F}"/>
          </ac:spMkLst>
        </pc:spChg>
        <pc:spChg chg="del">
          <ac:chgData name="Bullinger, Marvin" userId="5b54ce5a-dc89-476f-af33-5abd75d5b1e8" providerId="ADAL" clId="{43B71669-8A80-4333-9349-B258A9296B49}" dt="2024-02-27T17:21:07.480" v="3690" actId="478"/>
          <ac:spMkLst>
            <pc:docMk/>
            <pc:sldMk cId="1945724814" sldId="582"/>
            <ac:spMk id="379" creationId="{970B9997-1CF7-4785-52A8-EE2DF17EDFAD}"/>
          </ac:spMkLst>
        </pc:spChg>
        <pc:spChg chg="add">
          <ac:chgData name="Bullinger, Marvin" userId="5b54ce5a-dc89-476f-af33-5abd75d5b1e8" providerId="ADAL" clId="{43B71669-8A80-4333-9349-B258A9296B49}" dt="2024-02-27T16:53:49.050" v="3382"/>
          <ac:spMkLst>
            <pc:docMk/>
            <pc:sldMk cId="1945724814" sldId="582"/>
            <ac:spMk id="379" creationId="{9C98089F-948F-867D-A36B-006AA644C36A}"/>
          </ac:spMkLst>
        </pc:spChg>
        <pc:spChg chg="add">
          <ac:chgData name="Bullinger, Marvin" userId="5b54ce5a-dc89-476f-af33-5abd75d5b1e8" providerId="ADAL" clId="{43B71669-8A80-4333-9349-B258A9296B49}" dt="2024-02-27T16:53:49.050" v="3382"/>
          <ac:spMkLst>
            <pc:docMk/>
            <pc:sldMk cId="1945724814" sldId="582"/>
            <ac:spMk id="380" creationId="{BAA04798-09F5-45F0-F503-E7BE91BBE799}"/>
          </ac:spMkLst>
        </pc:spChg>
        <pc:spChg chg="del">
          <ac:chgData name="Bullinger, Marvin" userId="5b54ce5a-dc89-476f-af33-5abd75d5b1e8" providerId="ADAL" clId="{43B71669-8A80-4333-9349-B258A9296B49}" dt="2024-02-27T17:21:07.480" v="3689" actId="478"/>
          <ac:spMkLst>
            <pc:docMk/>
            <pc:sldMk cId="1945724814" sldId="582"/>
            <ac:spMk id="380" creationId="{F41B8245-82C7-A8E3-7103-3300231AAB81}"/>
          </ac:spMkLst>
        </pc:spChg>
        <pc:spChg chg="del">
          <ac:chgData name="Bullinger, Marvin" userId="5b54ce5a-dc89-476f-af33-5abd75d5b1e8" providerId="ADAL" clId="{43B71669-8A80-4333-9349-B258A9296B49}" dt="2024-02-27T17:21:07.480" v="3688" actId="478"/>
          <ac:spMkLst>
            <pc:docMk/>
            <pc:sldMk cId="1945724814" sldId="582"/>
            <ac:spMk id="381" creationId="{2BB52734-8164-5827-0B37-841052D70648}"/>
          </ac:spMkLst>
        </pc:spChg>
        <pc:spChg chg="add">
          <ac:chgData name="Bullinger, Marvin" userId="5b54ce5a-dc89-476f-af33-5abd75d5b1e8" providerId="ADAL" clId="{43B71669-8A80-4333-9349-B258A9296B49}" dt="2024-02-27T16:53:49.050" v="3382"/>
          <ac:spMkLst>
            <pc:docMk/>
            <pc:sldMk cId="1945724814" sldId="582"/>
            <ac:spMk id="381" creationId="{4B7241E0-D06B-1F24-9DA5-3BAEE6DF5DDC}"/>
          </ac:spMkLst>
        </pc:spChg>
        <pc:spChg chg="del">
          <ac:chgData name="Bullinger, Marvin" userId="5b54ce5a-dc89-476f-af33-5abd75d5b1e8" providerId="ADAL" clId="{43B71669-8A80-4333-9349-B258A9296B49}" dt="2024-02-27T17:21:07.480" v="3687" actId="478"/>
          <ac:spMkLst>
            <pc:docMk/>
            <pc:sldMk cId="1945724814" sldId="582"/>
            <ac:spMk id="382" creationId="{8AB3F052-8A71-84AF-CEA3-509BC359CCF8}"/>
          </ac:spMkLst>
        </pc:spChg>
        <pc:spChg chg="add">
          <ac:chgData name="Bullinger, Marvin" userId="5b54ce5a-dc89-476f-af33-5abd75d5b1e8" providerId="ADAL" clId="{43B71669-8A80-4333-9349-B258A9296B49}" dt="2024-02-27T16:53:49.050" v="3382"/>
          <ac:spMkLst>
            <pc:docMk/>
            <pc:sldMk cId="1945724814" sldId="582"/>
            <ac:spMk id="382" creationId="{F882A87E-7851-A9CF-86D5-09B9E395CD1D}"/>
          </ac:spMkLst>
        </pc:spChg>
        <pc:spChg chg="add">
          <ac:chgData name="Bullinger, Marvin" userId="5b54ce5a-dc89-476f-af33-5abd75d5b1e8" providerId="ADAL" clId="{43B71669-8A80-4333-9349-B258A9296B49}" dt="2024-02-27T16:53:49.050" v="3382"/>
          <ac:spMkLst>
            <pc:docMk/>
            <pc:sldMk cId="1945724814" sldId="582"/>
            <ac:spMk id="383" creationId="{1B840A4A-3CFD-E432-CFEC-65858AB03FE1}"/>
          </ac:spMkLst>
        </pc:spChg>
        <pc:spChg chg="del">
          <ac:chgData name="Bullinger, Marvin" userId="5b54ce5a-dc89-476f-af33-5abd75d5b1e8" providerId="ADAL" clId="{43B71669-8A80-4333-9349-B258A9296B49}" dt="2024-02-27T17:21:07.478" v="3686" actId="478"/>
          <ac:spMkLst>
            <pc:docMk/>
            <pc:sldMk cId="1945724814" sldId="582"/>
            <ac:spMk id="383" creationId="{5DBE74C8-4730-1B56-F819-462CB4442B8D}"/>
          </ac:spMkLst>
        </pc:spChg>
        <pc:spChg chg="add">
          <ac:chgData name="Bullinger, Marvin" userId="5b54ce5a-dc89-476f-af33-5abd75d5b1e8" providerId="ADAL" clId="{43B71669-8A80-4333-9349-B258A9296B49}" dt="2024-02-27T16:53:49.050" v="3382"/>
          <ac:spMkLst>
            <pc:docMk/>
            <pc:sldMk cId="1945724814" sldId="582"/>
            <ac:spMk id="384" creationId="{AE7C012B-34A4-4284-122D-DBFDEC4BB5C4}"/>
          </ac:spMkLst>
        </pc:spChg>
        <pc:spChg chg="del">
          <ac:chgData name="Bullinger, Marvin" userId="5b54ce5a-dc89-476f-af33-5abd75d5b1e8" providerId="ADAL" clId="{43B71669-8A80-4333-9349-B258A9296B49}" dt="2024-02-27T17:21:07.478" v="3685" actId="478"/>
          <ac:spMkLst>
            <pc:docMk/>
            <pc:sldMk cId="1945724814" sldId="582"/>
            <ac:spMk id="384" creationId="{CBFF0A69-6A42-9F49-5C2A-282D882B8528}"/>
          </ac:spMkLst>
        </pc:spChg>
        <pc:spChg chg="del">
          <ac:chgData name="Bullinger, Marvin" userId="5b54ce5a-dc89-476f-af33-5abd75d5b1e8" providerId="ADAL" clId="{43B71669-8A80-4333-9349-B258A9296B49}" dt="2024-02-27T17:21:07.478" v="3684" actId="478"/>
          <ac:spMkLst>
            <pc:docMk/>
            <pc:sldMk cId="1945724814" sldId="582"/>
            <ac:spMk id="385" creationId="{91C576DB-E1A3-61D0-CDCC-BB9D362884D0}"/>
          </ac:spMkLst>
        </pc:spChg>
        <pc:spChg chg="add">
          <ac:chgData name="Bullinger, Marvin" userId="5b54ce5a-dc89-476f-af33-5abd75d5b1e8" providerId="ADAL" clId="{43B71669-8A80-4333-9349-B258A9296B49}" dt="2024-02-27T16:53:49.050" v="3382"/>
          <ac:spMkLst>
            <pc:docMk/>
            <pc:sldMk cId="1945724814" sldId="582"/>
            <ac:spMk id="385" creationId="{EE92ECC2-3C60-7FF2-59FA-CFEBE9309EEB}"/>
          </ac:spMkLst>
        </pc:spChg>
        <pc:spChg chg="add">
          <ac:chgData name="Bullinger, Marvin" userId="5b54ce5a-dc89-476f-af33-5abd75d5b1e8" providerId="ADAL" clId="{43B71669-8A80-4333-9349-B258A9296B49}" dt="2024-02-27T16:53:49.050" v="3382"/>
          <ac:spMkLst>
            <pc:docMk/>
            <pc:sldMk cId="1945724814" sldId="582"/>
            <ac:spMk id="386" creationId="{878FD7E6-2276-88EC-7424-CF38AB1F2C86}"/>
          </ac:spMkLst>
        </pc:spChg>
        <pc:spChg chg="del">
          <ac:chgData name="Bullinger, Marvin" userId="5b54ce5a-dc89-476f-af33-5abd75d5b1e8" providerId="ADAL" clId="{43B71669-8A80-4333-9349-B258A9296B49}" dt="2024-02-27T17:21:07.465" v="3683" actId="478"/>
          <ac:spMkLst>
            <pc:docMk/>
            <pc:sldMk cId="1945724814" sldId="582"/>
            <ac:spMk id="386" creationId="{AC54F6AF-2676-CF3A-87C3-95619F4984B5}"/>
          </ac:spMkLst>
        </pc:spChg>
        <pc:spChg chg="add">
          <ac:chgData name="Bullinger, Marvin" userId="5b54ce5a-dc89-476f-af33-5abd75d5b1e8" providerId="ADAL" clId="{43B71669-8A80-4333-9349-B258A9296B49}" dt="2024-02-27T16:53:49.050" v="3382"/>
          <ac:spMkLst>
            <pc:docMk/>
            <pc:sldMk cId="1945724814" sldId="582"/>
            <ac:spMk id="387" creationId="{C44B8BAC-67D5-BC16-64DD-6EAF333CC785}"/>
          </ac:spMkLst>
        </pc:spChg>
        <pc:spChg chg="del">
          <ac:chgData name="Bullinger, Marvin" userId="5b54ce5a-dc89-476f-af33-5abd75d5b1e8" providerId="ADAL" clId="{43B71669-8A80-4333-9349-B258A9296B49}" dt="2024-02-27T17:21:07.465" v="3682" actId="478"/>
          <ac:spMkLst>
            <pc:docMk/>
            <pc:sldMk cId="1945724814" sldId="582"/>
            <ac:spMk id="387" creationId="{D80AAC37-8A0C-1F9D-8919-26E26542B558}"/>
          </ac:spMkLst>
        </pc:spChg>
        <pc:spChg chg="add">
          <ac:chgData name="Bullinger, Marvin" userId="5b54ce5a-dc89-476f-af33-5abd75d5b1e8" providerId="ADAL" clId="{43B71669-8A80-4333-9349-B258A9296B49}" dt="2024-02-27T16:53:49.050" v="3382"/>
          <ac:spMkLst>
            <pc:docMk/>
            <pc:sldMk cId="1945724814" sldId="582"/>
            <ac:spMk id="388" creationId="{61C26B0E-DBBA-21CD-3602-AAEFED4C28C0}"/>
          </ac:spMkLst>
        </pc:spChg>
        <pc:spChg chg="del">
          <ac:chgData name="Bullinger, Marvin" userId="5b54ce5a-dc89-476f-af33-5abd75d5b1e8" providerId="ADAL" clId="{43B71669-8A80-4333-9349-B258A9296B49}" dt="2024-02-27T17:21:07.465" v="3681" actId="478"/>
          <ac:spMkLst>
            <pc:docMk/>
            <pc:sldMk cId="1945724814" sldId="582"/>
            <ac:spMk id="388" creationId="{C75C285F-21AF-F698-1DBD-8A3A9C000944}"/>
          </ac:spMkLst>
        </pc:spChg>
        <pc:spChg chg="add">
          <ac:chgData name="Bullinger, Marvin" userId="5b54ce5a-dc89-476f-af33-5abd75d5b1e8" providerId="ADAL" clId="{43B71669-8A80-4333-9349-B258A9296B49}" dt="2024-02-27T16:53:49.050" v="3382"/>
          <ac:spMkLst>
            <pc:docMk/>
            <pc:sldMk cId="1945724814" sldId="582"/>
            <ac:spMk id="389" creationId="{15959FEC-8C70-5BB8-5F5D-A1C0AF560509}"/>
          </ac:spMkLst>
        </pc:spChg>
        <pc:spChg chg="replST">
          <ac:chgData name="Bullinger, Marvin" userId="5b54ce5a-dc89-476f-af33-5abd75d5b1e8" providerId="ADAL" clId="{43B71669-8A80-4333-9349-B258A9296B49}" dt="2024-02-27T17:21:08.375" v="4109"/>
          <ac:spMkLst>
            <pc:docMk/>
            <pc:sldMk cId="1945724814" sldId="582"/>
            <ac:spMk id="389" creationId="{6A139EBC-41D8-5249-8BFD-E42B0BD94E1E}"/>
          </ac:spMkLst>
        </pc:spChg>
        <pc:spChg chg="add">
          <ac:chgData name="Bullinger, Marvin" userId="5b54ce5a-dc89-476f-af33-5abd75d5b1e8" providerId="ADAL" clId="{43B71669-8A80-4333-9349-B258A9296B49}" dt="2024-02-27T16:53:49.050" v="3382"/>
          <ac:spMkLst>
            <pc:docMk/>
            <pc:sldMk cId="1945724814" sldId="582"/>
            <ac:spMk id="390" creationId="{6F241833-88A3-BF52-41E5-4EBFF4880937}"/>
          </ac:spMkLst>
        </pc:spChg>
        <pc:spChg chg="replST">
          <ac:chgData name="Bullinger, Marvin" userId="5b54ce5a-dc89-476f-af33-5abd75d5b1e8" providerId="ADAL" clId="{43B71669-8A80-4333-9349-B258A9296B49}" dt="2024-02-27T17:21:08.384" v="4112"/>
          <ac:spMkLst>
            <pc:docMk/>
            <pc:sldMk cId="1945724814" sldId="582"/>
            <ac:spMk id="390" creationId="{CFA042CF-A5DA-DD3C-A57F-2AA56A6D9749}"/>
          </ac:spMkLst>
        </pc:spChg>
        <pc:spChg chg="add">
          <ac:chgData name="Bullinger, Marvin" userId="5b54ce5a-dc89-476f-af33-5abd75d5b1e8" providerId="ADAL" clId="{43B71669-8A80-4333-9349-B258A9296B49}" dt="2024-02-27T16:53:49.050" v="3382"/>
          <ac:spMkLst>
            <pc:docMk/>
            <pc:sldMk cId="1945724814" sldId="582"/>
            <ac:spMk id="391" creationId="{A43E7CB7-8879-1421-E424-D9897127DC23}"/>
          </ac:spMkLst>
        </pc:spChg>
        <pc:spChg chg="replST">
          <ac:chgData name="Bullinger, Marvin" userId="5b54ce5a-dc89-476f-af33-5abd75d5b1e8" providerId="ADAL" clId="{43B71669-8A80-4333-9349-B258A9296B49}" dt="2024-02-27T17:21:08.393" v="4116"/>
          <ac:spMkLst>
            <pc:docMk/>
            <pc:sldMk cId="1945724814" sldId="582"/>
            <ac:spMk id="392" creationId="{41A1C970-C4D2-A429-A733-2855FEE662FE}"/>
          </ac:spMkLst>
        </pc:spChg>
        <pc:spChg chg="add">
          <ac:chgData name="Bullinger, Marvin" userId="5b54ce5a-dc89-476f-af33-5abd75d5b1e8" providerId="ADAL" clId="{43B71669-8A80-4333-9349-B258A9296B49}" dt="2024-02-27T16:53:49.050" v="3382"/>
          <ac:spMkLst>
            <pc:docMk/>
            <pc:sldMk cId="1945724814" sldId="582"/>
            <ac:spMk id="392" creationId="{F0A9B562-11F1-58A4-31F1-CCCC19E2C7A7}"/>
          </ac:spMkLst>
        </pc:spChg>
        <pc:spChg chg="add">
          <ac:chgData name="Bullinger, Marvin" userId="5b54ce5a-dc89-476f-af33-5abd75d5b1e8" providerId="ADAL" clId="{43B71669-8A80-4333-9349-B258A9296B49}" dt="2024-02-27T16:53:49.050" v="3382"/>
          <ac:spMkLst>
            <pc:docMk/>
            <pc:sldMk cId="1945724814" sldId="582"/>
            <ac:spMk id="393" creationId="{0C14EF19-B166-6017-033A-11E32649394B}"/>
          </ac:spMkLst>
        </pc:spChg>
        <pc:spChg chg="replST">
          <ac:chgData name="Bullinger, Marvin" userId="5b54ce5a-dc89-476f-af33-5abd75d5b1e8" providerId="ADAL" clId="{43B71669-8A80-4333-9349-B258A9296B49}" dt="2024-02-27T17:21:08.393" v="4119"/>
          <ac:spMkLst>
            <pc:docMk/>
            <pc:sldMk cId="1945724814" sldId="582"/>
            <ac:spMk id="393" creationId="{A6B188C4-8704-976D-8203-AB012B7B5C25}"/>
          </ac:spMkLst>
        </pc:spChg>
        <pc:spChg chg="add">
          <ac:chgData name="Bullinger, Marvin" userId="5b54ce5a-dc89-476f-af33-5abd75d5b1e8" providerId="ADAL" clId="{43B71669-8A80-4333-9349-B258A9296B49}" dt="2024-02-27T16:53:49.050" v="3382"/>
          <ac:spMkLst>
            <pc:docMk/>
            <pc:sldMk cId="1945724814" sldId="582"/>
            <ac:spMk id="394" creationId="{128D53F0-B0A9-C179-1F96-FB01F0BAA549}"/>
          </ac:spMkLst>
        </pc:spChg>
        <pc:spChg chg="replST">
          <ac:chgData name="Bullinger, Marvin" userId="5b54ce5a-dc89-476f-af33-5abd75d5b1e8" providerId="ADAL" clId="{43B71669-8A80-4333-9349-B258A9296B49}" dt="2024-02-27T17:21:08.426" v="4123"/>
          <ac:spMkLst>
            <pc:docMk/>
            <pc:sldMk cId="1945724814" sldId="582"/>
            <ac:spMk id="395" creationId="{00C5E0AB-F8D5-5781-9F3D-D3AE16D92164}"/>
          </ac:spMkLst>
        </pc:spChg>
        <pc:spChg chg="add">
          <ac:chgData name="Bullinger, Marvin" userId="5b54ce5a-dc89-476f-af33-5abd75d5b1e8" providerId="ADAL" clId="{43B71669-8A80-4333-9349-B258A9296B49}" dt="2024-02-27T16:53:49.050" v="3382"/>
          <ac:spMkLst>
            <pc:docMk/>
            <pc:sldMk cId="1945724814" sldId="582"/>
            <ac:spMk id="395" creationId="{269C1818-D855-E609-3726-B03E06E134F2}"/>
          </ac:spMkLst>
        </pc:spChg>
        <pc:spChg chg="add">
          <ac:chgData name="Bullinger, Marvin" userId="5b54ce5a-dc89-476f-af33-5abd75d5b1e8" providerId="ADAL" clId="{43B71669-8A80-4333-9349-B258A9296B49}" dt="2024-02-27T16:53:49.050" v="3382"/>
          <ac:spMkLst>
            <pc:docMk/>
            <pc:sldMk cId="1945724814" sldId="582"/>
            <ac:spMk id="396" creationId="{D6419FA1-FEB7-C3D9-42D1-AC1720042272}"/>
          </ac:spMkLst>
        </pc:spChg>
        <pc:spChg chg="replST">
          <ac:chgData name="Bullinger, Marvin" userId="5b54ce5a-dc89-476f-af33-5abd75d5b1e8" providerId="ADAL" clId="{43B71669-8A80-4333-9349-B258A9296B49}" dt="2024-02-27T17:21:08.442" v="4126"/>
          <ac:spMkLst>
            <pc:docMk/>
            <pc:sldMk cId="1945724814" sldId="582"/>
            <ac:spMk id="396" creationId="{D90EC1B7-DA9C-39CB-BE3D-C77CA6C94A4E}"/>
          </ac:spMkLst>
        </pc:spChg>
        <pc:spChg chg="add">
          <ac:chgData name="Bullinger, Marvin" userId="5b54ce5a-dc89-476f-af33-5abd75d5b1e8" providerId="ADAL" clId="{43B71669-8A80-4333-9349-B258A9296B49}" dt="2024-02-27T16:53:49.050" v="3382"/>
          <ac:spMkLst>
            <pc:docMk/>
            <pc:sldMk cId="1945724814" sldId="582"/>
            <ac:spMk id="397" creationId="{BF7B61D0-7BE5-8A0A-8FD4-9DF244AC75A5}"/>
          </ac:spMkLst>
        </pc:spChg>
        <pc:spChg chg="add">
          <ac:chgData name="Bullinger, Marvin" userId="5b54ce5a-dc89-476f-af33-5abd75d5b1e8" providerId="ADAL" clId="{43B71669-8A80-4333-9349-B258A9296B49}" dt="2024-02-27T16:53:49.050" v="3382"/>
          <ac:spMkLst>
            <pc:docMk/>
            <pc:sldMk cId="1945724814" sldId="582"/>
            <ac:spMk id="398" creationId="{35B364D7-1C9F-FB4F-7749-504ED7823D40}"/>
          </ac:spMkLst>
        </pc:spChg>
        <pc:spChg chg="replST">
          <ac:chgData name="Bullinger, Marvin" userId="5b54ce5a-dc89-476f-af33-5abd75d5b1e8" providerId="ADAL" clId="{43B71669-8A80-4333-9349-B258A9296B49}" dt="2024-02-27T17:21:08.458" v="4130"/>
          <ac:spMkLst>
            <pc:docMk/>
            <pc:sldMk cId="1945724814" sldId="582"/>
            <ac:spMk id="398" creationId="{BE376A97-BAA1-326A-0D02-F67877CB5E68}"/>
          </ac:spMkLst>
        </pc:spChg>
        <pc:spChg chg="add">
          <ac:chgData name="Bullinger, Marvin" userId="5b54ce5a-dc89-476f-af33-5abd75d5b1e8" providerId="ADAL" clId="{43B71669-8A80-4333-9349-B258A9296B49}" dt="2024-02-27T16:53:49.050" v="3382"/>
          <ac:spMkLst>
            <pc:docMk/>
            <pc:sldMk cId="1945724814" sldId="582"/>
            <ac:spMk id="399" creationId="{751DA48E-8B9D-5DC3-F6C7-B16D3A1C25B8}"/>
          </ac:spMkLst>
        </pc:spChg>
        <pc:spChg chg="replST">
          <ac:chgData name="Bullinger, Marvin" userId="5b54ce5a-dc89-476f-af33-5abd75d5b1e8" providerId="ADAL" clId="{43B71669-8A80-4333-9349-B258A9296B49}" dt="2024-02-27T17:21:08.458" v="4133"/>
          <ac:spMkLst>
            <pc:docMk/>
            <pc:sldMk cId="1945724814" sldId="582"/>
            <ac:spMk id="399" creationId="{98E12BB4-2748-4CAE-D0C3-7650CBA6E0EF}"/>
          </ac:spMkLst>
        </pc:spChg>
        <pc:spChg chg="add">
          <ac:chgData name="Bullinger, Marvin" userId="5b54ce5a-dc89-476f-af33-5abd75d5b1e8" providerId="ADAL" clId="{43B71669-8A80-4333-9349-B258A9296B49}" dt="2024-02-27T16:53:49.050" v="3382"/>
          <ac:spMkLst>
            <pc:docMk/>
            <pc:sldMk cId="1945724814" sldId="582"/>
            <ac:spMk id="400" creationId="{22B5950D-33E5-055F-815C-D33D679DCFFE}"/>
          </ac:spMkLst>
        </pc:spChg>
        <pc:spChg chg="add">
          <ac:chgData name="Bullinger, Marvin" userId="5b54ce5a-dc89-476f-af33-5abd75d5b1e8" providerId="ADAL" clId="{43B71669-8A80-4333-9349-B258A9296B49}" dt="2024-02-27T16:53:49.050" v="3382"/>
          <ac:spMkLst>
            <pc:docMk/>
            <pc:sldMk cId="1945724814" sldId="582"/>
            <ac:spMk id="401" creationId="{54FEC6B6-07AD-C773-8ED0-37AC0484DA26}"/>
          </ac:spMkLst>
        </pc:spChg>
        <pc:spChg chg="replST">
          <ac:chgData name="Bullinger, Marvin" userId="5b54ce5a-dc89-476f-af33-5abd75d5b1e8" providerId="ADAL" clId="{43B71669-8A80-4333-9349-B258A9296B49}" dt="2024-02-27T17:21:08.474" v="4137"/>
          <ac:spMkLst>
            <pc:docMk/>
            <pc:sldMk cId="1945724814" sldId="582"/>
            <ac:spMk id="401" creationId="{AFB344C1-6D47-71C9-237D-C23BD7E32482}"/>
          </ac:spMkLst>
        </pc:spChg>
        <pc:spChg chg="add">
          <ac:chgData name="Bullinger, Marvin" userId="5b54ce5a-dc89-476f-af33-5abd75d5b1e8" providerId="ADAL" clId="{43B71669-8A80-4333-9349-B258A9296B49}" dt="2024-02-27T16:53:49.050" v="3382"/>
          <ac:spMkLst>
            <pc:docMk/>
            <pc:sldMk cId="1945724814" sldId="582"/>
            <ac:spMk id="402" creationId="{5ED08CC9-98EC-BDC5-9949-E709706615F0}"/>
          </ac:spMkLst>
        </pc:spChg>
        <pc:spChg chg="replST">
          <ac:chgData name="Bullinger, Marvin" userId="5b54ce5a-dc89-476f-af33-5abd75d5b1e8" providerId="ADAL" clId="{43B71669-8A80-4333-9349-B258A9296B49}" dt="2024-02-27T17:21:08.474" v="4140"/>
          <ac:spMkLst>
            <pc:docMk/>
            <pc:sldMk cId="1945724814" sldId="582"/>
            <ac:spMk id="402" creationId="{FF6A7CD3-46EF-CB5A-BB3E-E5BA41614281}"/>
          </ac:spMkLst>
        </pc:spChg>
        <pc:spChg chg="del ord replST">
          <ac:chgData name="Bullinger, Marvin" userId="5b54ce5a-dc89-476f-af33-5abd75d5b1e8" providerId="ADAL" clId="{43B71669-8A80-4333-9349-B258A9296B49}" dt="2024-02-27T17:26:23.378" v="4717" actId="478"/>
          <ac:spMkLst>
            <pc:docMk/>
            <pc:sldMk cId="1945724814" sldId="582"/>
            <ac:spMk id="403" creationId="{0DEA7027-CCBA-151F-2355-42235240404A}"/>
          </ac:spMkLst>
        </pc:spChg>
        <pc:spChg chg="add">
          <ac:chgData name="Bullinger, Marvin" userId="5b54ce5a-dc89-476f-af33-5abd75d5b1e8" providerId="ADAL" clId="{43B71669-8A80-4333-9349-B258A9296B49}" dt="2024-02-27T16:53:49.050" v="3382"/>
          <ac:spMkLst>
            <pc:docMk/>
            <pc:sldMk cId="1945724814" sldId="582"/>
            <ac:spMk id="403" creationId="{C6879396-DAFF-153A-4350-301C2DD7215B}"/>
          </ac:spMkLst>
        </pc:spChg>
        <pc:spChg chg="add">
          <ac:chgData name="Bullinger, Marvin" userId="5b54ce5a-dc89-476f-af33-5abd75d5b1e8" providerId="ADAL" clId="{43B71669-8A80-4333-9349-B258A9296B49}" dt="2024-02-27T16:53:49.050" v="3382"/>
          <ac:spMkLst>
            <pc:docMk/>
            <pc:sldMk cId="1945724814" sldId="582"/>
            <ac:spMk id="404" creationId="{05731625-E269-B798-8994-D2E492C3439F}"/>
          </ac:spMkLst>
        </pc:spChg>
        <pc:spChg chg="replST">
          <ac:chgData name="Bullinger, Marvin" userId="5b54ce5a-dc89-476f-af33-5abd75d5b1e8" providerId="ADAL" clId="{43B71669-8A80-4333-9349-B258A9296B49}" dt="2024-02-27T17:21:08.489" v="4144"/>
          <ac:spMkLst>
            <pc:docMk/>
            <pc:sldMk cId="1945724814" sldId="582"/>
            <ac:spMk id="404" creationId="{52459195-828B-1D03-820C-CE88658C1089}"/>
          </ac:spMkLst>
        </pc:spChg>
        <pc:spChg chg="replST">
          <ac:chgData name="Bullinger, Marvin" userId="5b54ce5a-dc89-476f-af33-5abd75d5b1e8" providerId="ADAL" clId="{43B71669-8A80-4333-9349-B258A9296B49}" dt="2024-02-27T17:21:08.493" v="4147"/>
          <ac:spMkLst>
            <pc:docMk/>
            <pc:sldMk cId="1945724814" sldId="582"/>
            <ac:spMk id="405" creationId="{873EDB82-74ED-3302-2031-6FA0B391DB0A}"/>
          </ac:spMkLst>
        </pc:spChg>
        <pc:spChg chg="add">
          <ac:chgData name="Bullinger, Marvin" userId="5b54ce5a-dc89-476f-af33-5abd75d5b1e8" providerId="ADAL" clId="{43B71669-8A80-4333-9349-B258A9296B49}" dt="2024-02-27T16:53:49.050" v="3382"/>
          <ac:spMkLst>
            <pc:docMk/>
            <pc:sldMk cId="1945724814" sldId="582"/>
            <ac:spMk id="405" creationId="{87C1C35A-D483-E1BC-E6A2-72A40264E2C9}"/>
          </ac:spMkLst>
        </pc:spChg>
        <pc:spChg chg="add">
          <ac:chgData name="Bullinger, Marvin" userId="5b54ce5a-dc89-476f-af33-5abd75d5b1e8" providerId="ADAL" clId="{43B71669-8A80-4333-9349-B258A9296B49}" dt="2024-02-27T16:53:49.050" v="3382"/>
          <ac:spMkLst>
            <pc:docMk/>
            <pc:sldMk cId="1945724814" sldId="582"/>
            <ac:spMk id="406" creationId="{DA7EC3D2-8BED-A5E2-D878-8B66D39ED16C}"/>
          </ac:spMkLst>
        </pc:spChg>
        <pc:spChg chg="add">
          <ac:chgData name="Bullinger, Marvin" userId="5b54ce5a-dc89-476f-af33-5abd75d5b1e8" providerId="ADAL" clId="{43B71669-8A80-4333-9349-B258A9296B49}" dt="2024-02-27T16:53:49.050" v="3382"/>
          <ac:spMkLst>
            <pc:docMk/>
            <pc:sldMk cId="1945724814" sldId="582"/>
            <ac:spMk id="407" creationId="{31997A69-8E3C-8129-1462-17F6BE113A52}"/>
          </ac:spMkLst>
        </pc:spChg>
        <pc:spChg chg="replST">
          <ac:chgData name="Bullinger, Marvin" userId="5b54ce5a-dc89-476f-af33-5abd75d5b1e8" providerId="ADAL" clId="{43B71669-8A80-4333-9349-B258A9296B49}" dt="2024-02-27T17:21:08.493" v="4151"/>
          <ac:spMkLst>
            <pc:docMk/>
            <pc:sldMk cId="1945724814" sldId="582"/>
            <ac:spMk id="407" creationId="{616E8106-6384-5E00-5892-41652D5AACCD}"/>
          </ac:spMkLst>
        </pc:spChg>
        <pc:spChg chg="replST">
          <ac:chgData name="Bullinger, Marvin" userId="5b54ce5a-dc89-476f-af33-5abd75d5b1e8" providerId="ADAL" clId="{43B71669-8A80-4333-9349-B258A9296B49}" dt="2024-02-27T17:21:08.509" v="4154"/>
          <ac:spMkLst>
            <pc:docMk/>
            <pc:sldMk cId="1945724814" sldId="582"/>
            <ac:spMk id="408" creationId="{2E1FAD99-54A9-2F4D-2D36-02F7F022BE37}"/>
          </ac:spMkLst>
        </pc:spChg>
        <pc:spChg chg="add">
          <ac:chgData name="Bullinger, Marvin" userId="5b54ce5a-dc89-476f-af33-5abd75d5b1e8" providerId="ADAL" clId="{43B71669-8A80-4333-9349-B258A9296B49}" dt="2024-02-27T16:53:49.050" v="3382"/>
          <ac:spMkLst>
            <pc:docMk/>
            <pc:sldMk cId="1945724814" sldId="582"/>
            <ac:spMk id="408" creationId="{57B39A9C-FCD3-DCA3-0C44-63978949564C}"/>
          </ac:spMkLst>
        </pc:spChg>
        <pc:spChg chg="add">
          <ac:chgData name="Bullinger, Marvin" userId="5b54ce5a-dc89-476f-af33-5abd75d5b1e8" providerId="ADAL" clId="{43B71669-8A80-4333-9349-B258A9296B49}" dt="2024-02-27T16:53:49.050" v="3382"/>
          <ac:spMkLst>
            <pc:docMk/>
            <pc:sldMk cId="1945724814" sldId="582"/>
            <ac:spMk id="409" creationId="{555B5E48-2531-F025-8E99-1F084AD471FF}"/>
          </ac:spMkLst>
        </pc:spChg>
        <pc:spChg chg="add">
          <ac:chgData name="Bullinger, Marvin" userId="5b54ce5a-dc89-476f-af33-5abd75d5b1e8" providerId="ADAL" clId="{43B71669-8A80-4333-9349-B258A9296B49}" dt="2024-02-27T16:53:49.050" v="3382"/>
          <ac:spMkLst>
            <pc:docMk/>
            <pc:sldMk cId="1945724814" sldId="582"/>
            <ac:spMk id="410" creationId="{218A68CE-5131-59CD-27AC-1BF5A6206FCB}"/>
          </ac:spMkLst>
        </pc:spChg>
        <pc:spChg chg="add">
          <ac:chgData name="Bullinger, Marvin" userId="5b54ce5a-dc89-476f-af33-5abd75d5b1e8" providerId="ADAL" clId="{43B71669-8A80-4333-9349-B258A9296B49}" dt="2024-02-27T16:53:49.050" v="3382"/>
          <ac:spMkLst>
            <pc:docMk/>
            <pc:sldMk cId="1945724814" sldId="582"/>
            <ac:spMk id="411" creationId="{2F08ED41-5622-8EC4-3CD5-465C61A32CE5}"/>
          </ac:spMkLst>
        </pc:spChg>
        <pc:spChg chg="add">
          <ac:chgData name="Bullinger, Marvin" userId="5b54ce5a-dc89-476f-af33-5abd75d5b1e8" providerId="ADAL" clId="{43B71669-8A80-4333-9349-B258A9296B49}" dt="2024-02-27T16:53:49.050" v="3382"/>
          <ac:spMkLst>
            <pc:docMk/>
            <pc:sldMk cId="1945724814" sldId="582"/>
            <ac:spMk id="412" creationId="{AA032953-F95D-48BB-21AD-3C6C4E9C3ECC}"/>
          </ac:spMkLst>
        </pc:spChg>
        <pc:spChg chg="add del mod">
          <ac:chgData name="Bullinger, Marvin" userId="5b54ce5a-dc89-476f-af33-5abd75d5b1e8" providerId="ADAL" clId="{43B71669-8A80-4333-9349-B258A9296B49}" dt="2024-02-27T16:53:49.050" v="3382"/>
          <ac:spMkLst>
            <pc:docMk/>
            <pc:sldMk cId="1945724814" sldId="582"/>
            <ac:spMk id="414" creationId="{2CB24643-A8CB-752C-744A-B6766F358E85}"/>
          </ac:spMkLst>
        </pc:spChg>
        <pc:spChg chg="mod ord replST delST">
          <ac:chgData name="Bullinger, Marvin" userId="5b54ce5a-dc89-476f-af33-5abd75d5b1e8" providerId="ADAL" clId="{43B71669-8A80-4333-9349-B258A9296B49}" dt="2024-02-27T16:53:49.050" v="3382"/>
          <ac:spMkLst>
            <pc:docMk/>
            <pc:sldMk cId="1945724814" sldId="582"/>
            <ac:spMk id="415" creationId="{02A7FED0-1317-660F-10D3-E84D55BB04DD}"/>
          </ac:spMkLst>
        </pc:spChg>
        <pc:spChg chg="add del">
          <ac:chgData name="Bullinger, Marvin" userId="5b54ce5a-dc89-476f-af33-5abd75d5b1e8" providerId="ADAL" clId="{43B71669-8A80-4333-9349-B258A9296B49}" dt="2024-02-27T16:53:49.050" v="3382"/>
          <ac:spMkLst>
            <pc:docMk/>
            <pc:sldMk cId="1945724814" sldId="582"/>
            <ac:spMk id="416" creationId="{14FDA0C1-7FD7-8508-CBE6-DBF788179171}"/>
          </ac:spMkLst>
        </pc:spChg>
        <pc:spChg chg="add del">
          <ac:chgData name="Bullinger, Marvin" userId="5b54ce5a-dc89-476f-af33-5abd75d5b1e8" providerId="ADAL" clId="{43B71669-8A80-4333-9349-B258A9296B49}" dt="2024-02-27T16:53:49.050" v="3382"/>
          <ac:spMkLst>
            <pc:docMk/>
            <pc:sldMk cId="1945724814" sldId="582"/>
            <ac:spMk id="417" creationId="{A961751F-C405-EA88-63EC-6E55DE08C871}"/>
          </ac:spMkLst>
        </pc:spChg>
        <pc:spChg chg="add del">
          <ac:chgData name="Bullinger, Marvin" userId="5b54ce5a-dc89-476f-af33-5abd75d5b1e8" providerId="ADAL" clId="{43B71669-8A80-4333-9349-B258A9296B49}" dt="2024-02-27T16:53:49.050" v="3382"/>
          <ac:spMkLst>
            <pc:docMk/>
            <pc:sldMk cId="1945724814" sldId="582"/>
            <ac:spMk id="418" creationId="{91F8787A-F959-B703-CE4D-25FBF6E317D3}"/>
          </ac:spMkLst>
        </pc:spChg>
        <pc:spChg chg="add del">
          <ac:chgData name="Bullinger, Marvin" userId="5b54ce5a-dc89-476f-af33-5abd75d5b1e8" providerId="ADAL" clId="{43B71669-8A80-4333-9349-B258A9296B49}" dt="2024-02-27T16:53:49.050" v="3382"/>
          <ac:spMkLst>
            <pc:docMk/>
            <pc:sldMk cId="1945724814" sldId="582"/>
            <ac:spMk id="419" creationId="{E2ED8E88-6893-64F7-E207-A51C869ED58F}"/>
          </ac:spMkLst>
        </pc:spChg>
        <pc:spChg chg="add del">
          <ac:chgData name="Bullinger, Marvin" userId="5b54ce5a-dc89-476f-af33-5abd75d5b1e8" providerId="ADAL" clId="{43B71669-8A80-4333-9349-B258A9296B49}" dt="2024-02-27T16:53:49.050" v="3382"/>
          <ac:spMkLst>
            <pc:docMk/>
            <pc:sldMk cId="1945724814" sldId="582"/>
            <ac:spMk id="420" creationId="{041EF439-7958-B750-62F6-C14612854E97}"/>
          </ac:spMkLst>
        </pc:spChg>
        <pc:spChg chg="add del">
          <ac:chgData name="Bullinger, Marvin" userId="5b54ce5a-dc89-476f-af33-5abd75d5b1e8" providerId="ADAL" clId="{43B71669-8A80-4333-9349-B258A9296B49}" dt="2024-02-27T16:53:49.050" v="3382"/>
          <ac:spMkLst>
            <pc:docMk/>
            <pc:sldMk cId="1945724814" sldId="582"/>
            <ac:spMk id="421" creationId="{4ECE3B83-57D5-6D59-4DB4-A89F11CE7D0D}"/>
          </ac:spMkLst>
        </pc:spChg>
        <pc:spChg chg="add del">
          <ac:chgData name="Bullinger, Marvin" userId="5b54ce5a-dc89-476f-af33-5abd75d5b1e8" providerId="ADAL" clId="{43B71669-8A80-4333-9349-B258A9296B49}" dt="2024-02-27T16:53:49.050" v="3382"/>
          <ac:spMkLst>
            <pc:docMk/>
            <pc:sldMk cId="1945724814" sldId="582"/>
            <ac:spMk id="422" creationId="{55057832-FDEE-8F14-63E6-4E9C2DDEFAD8}"/>
          </ac:spMkLst>
        </pc:spChg>
        <pc:spChg chg="add del">
          <ac:chgData name="Bullinger, Marvin" userId="5b54ce5a-dc89-476f-af33-5abd75d5b1e8" providerId="ADAL" clId="{43B71669-8A80-4333-9349-B258A9296B49}" dt="2024-02-27T16:53:49.050" v="3382"/>
          <ac:spMkLst>
            <pc:docMk/>
            <pc:sldMk cId="1945724814" sldId="582"/>
            <ac:spMk id="423" creationId="{05848740-1735-C095-4BB9-087B20D4D498}"/>
          </ac:spMkLst>
        </pc:spChg>
        <pc:spChg chg="add del">
          <ac:chgData name="Bullinger, Marvin" userId="5b54ce5a-dc89-476f-af33-5abd75d5b1e8" providerId="ADAL" clId="{43B71669-8A80-4333-9349-B258A9296B49}" dt="2024-02-27T16:53:49.050" v="3382"/>
          <ac:spMkLst>
            <pc:docMk/>
            <pc:sldMk cId="1945724814" sldId="582"/>
            <ac:spMk id="424" creationId="{754297DF-8CCB-41BA-7AB0-DB331D1282FA}"/>
          </ac:spMkLst>
        </pc:spChg>
        <pc:spChg chg="add del">
          <ac:chgData name="Bullinger, Marvin" userId="5b54ce5a-dc89-476f-af33-5abd75d5b1e8" providerId="ADAL" clId="{43B71669-8A80-4333-9349-B258A9296B49}" dt="2024-02-27T16:53:49.050" v="3382"/>
          <ac:spMkLst>
            <pc:docMk/>
            <pc:sldMk cId="1945724814" sldId="582"/>
            <ac:spMk id="425" creationId="{860A4571-EE46-215D-AE48-439B3605697F}"/>
          </ac:spMkLst>
        </pc:spChg>
        <pc:spChg chg="add del">
          <ac:chgData name="Bullinger, Marvin" userId="5b54ce5a-dc89-476f-af33-5abd75d5b1e8" providerId="ADAL" clId="{43B71669-8A80-4333-9349-B258A9296B49}" dt="2024-02-27T16:53:49.050" v="3382"/>
          <ac:spMkLst>
            <pc:docMk/>
            <pc:sldMk cId="1945724814" sldId="582"/>
            <ac:spMk id="426" creationId="{2F3F5AC2-83FB-58E4-7D3C-D289C7507940}"/>
          </ac:spMkLst>
        </pc:spChg>
        <pc:spChg chg="add del">
          <ac:chgData name="Bullinger, Marvin" userId="5b54ce5a-dc89-476f-af33-5abd75d5b1e8" providerId="ADAL" clId="{43B71669-8A80-4333-9349-B258A9296B49}" dt="2024-02-27T16:53:49.050" v="3382"/>
          <ac:spMkLst>
            <pc:docMk/>
            <pc:sldMk cId="1945724814" sldId="582"/>
            <ac:spMk id="427" creationId="{B14B646F-DD38-29AB-30AB-A4CFA4D21F42}"/>
          </ac:spMkLst>
        </pc:spChg>
        <pc:spChg chg="add del">
          <ac:chgData name="Bullinger, Marvin" userId="5b54ce5a-dc89-476f-af33-5abd75d5b1e8" providerId="ADAL" clId="{43B71669-8A80-4333-9349-B258A9296B49}" dt="2024-02-27T16:53:49.050" v="3382"/>
          <ac:spMkLst>
            <pc:docMk/>
            <pc:sldMk cId="1945724814" sldId="582"/>
            <ac:spMk id="428" creationId="{F485E334-3697-1EB3-A228-D861172760FD}"/>
          </ac:spMkLst>
        </pc:spChg>
        <pc:spChg chg="add del">
          <ac:chgData name="Bullinger, Marvin" userId="5b54ce5a-dc89-476f-af33-5abd75d5b1e8" providerId="ADAL" clId="{43B71669-8A80-4333-9349-B258A9296B49}" dt="2024-02-27T16:53:49.050" v="3382"/>
          <ac:spMkLst>
            <pc:docMk/>
            <pc:sldMk cId="1945724814" sldId="582"/>
            <ac:spMk id="429" creationId="{6FDA8C9A-9552-0A26-ED96-FF3747F32CD2}"/>
          </ac:spMkLst>
        </pc:spChg>
        <pc:spChg chg="add del">
          <ac:chgData name="Bullinger, Marvin" userId="5b54ce5a-dc89-476f-af33-5abd75d5b1e8" providerId="ADAL" clId="{43B71669-8A80-4333-9349-B258A9296B49}" dt="2024-02-27T16:53:49.050" v="3382"/>
          <ac:spMkLst>
            <pc:docMk/>
            <pc:sldMk cId="1945724814" sldId="582"/>
            <ac:spMk id="430" creationId="{618DC3DB-D8E9-3D7F-EC7A-C607357CCCC5}"/>
          </ac:spMkLst>
        </pc:spChg>
        <pc:spChg chg="add del">
          <ac:chgData name="Bullinger, Marvin" userId="5b54ce5a-dc89-476f-af33-5abd75d5b1e8" providerId="ADAL" clId="{43B71669-8A80-4333-9349-B258A9296B49}" dt="2024-02-27T16:53:49.050" v="3382"/>
          <ac:spMkLst>
            <pc:docMk/>
            <pc:sldMk cId="1945724814" sldId="582"/>
            <ac:spMk id="431" creationId="{221D7256-1885-493D-9C79-CBFE26E6D5F8}"/>
          </ac:spMkLst>
        </pc:spChg>
        <pc:spChg chg="add del">
          <ac:chgData name="Bullinger, Marvin" userId="5b54ce5a-dc89-476f-af33-5abd75d5b1e8" providerId="ADAL" clId="{43B71669-8A80-4333-9349-B258A9296B49}" dt="2024-02-27T16:53:49.050" v="3382"/>
          <ac:spMkLst>
            <pc:docMk/>
            <pc:sldMk cId="1945724814" sldId="582"/>
            <ac:spMk id="432" creationId="{D12B2B95-D130-8886-9AAB-676FD526CC58}"/>
          </ac:spMkLst>
        </pc:spChg>
        <pc:spChg chg="add del">
          <ac:chgData name="Bullinger, Marvin" userId="5b54ce5a-dc89-476f-af33-5abd75d5b1e8" providerId="ADAL" clId="{43B71669-8A80-4333-9349-B258A9296B49}" dt="2024-02-27T16:53:49.050" v="3382"/>
          <ac:spMkLst>
            <pc:docMk/>
            <pc:sldMk cId="1945724814" sldId="582"/>
            <ac:spMk id="433" creationId="{24136693-DE10-568E-B5C7-2B5979874DE1}"/>
          </ac:spMkLst>
        </pc:spChg>
        <pc:spChg chg="add del">
          <ac:chgData name="Bullinger, Marvin" userId="5b54ce5a-dc89-476f-af33-5abd75d5b1e8" providerId="ADAL" clId="{43B71669-8A80-4333-9349-B258A9296B49}" dt="2024-02-27T16:53:49.050" v="3382"/>
          <ac:spMkLst>
            <pc:docMk/>
            <pc:sldMk cId="1945724814" sldId="582"/>
            <ac:spMk id="434" creationId="{2FB3306B-428F-92D9-5D14-B97871B5AEE1}"/>
          </ac:spMkLst>
        </pc:spChg>
        <pc:spChg chg="add del">
          <ac:chgData name="Bullinger, Marvin" userId="5b54ce5a-dc89-476f-af33-5abd75d5b1e8" providerId="ADAL" clId="{43B71669-8A80-4333-9349-B258A9296B49}" dt="2024-02-27T16:53:49.050" v="3382"/>
          <ac:spMkLst>
            <pc:docMk/>
            <pc:sldMk cId="1945724814" sldId="582"/>
            <ac:spMk id="435" creationId="{ACC03D9F-8620-C833-A557-8DAD51647326}"/>
          </ac:spMkLst>
        </pc:spChg>
        <pc:spChg chg="add del">
          <ac:chgData name="Bullinger, Marvin" userId="5b54ce5a-dc89-476f-af33-5abd75d5b1e8" providerId="ADAL" clId="{43B71669-8A80-4333-9349-B258A9296B49}" dt="2024-02-27T16:53:49.050" v="3382"/>
          <ac:spMkLst>
            <pc:docMk/>
            <pc:sldMk cId="1945724814" sldId="582"/>
            <ac:spMk id="436" creationId="{8926F142-6BCD-FB40-9BD1-343596AFFAB7}"/>
          </ac:spMkLst>
        </pc:spChg>
        <pc:spChg chg="add del">
          <ac:chgData name="Bullinger, Marvin" userId="5b54ce5a-dc89-476f-af33-5abd75d5b1e8" providerId="ADAL" clId="{43B71669-8A80-4333-9349-B258A9296B49}" dt="2024-02-27T16:53:49.050" v="3382"/>
          <ac:spMkLst>
            <pc:docMk/>
            <pc:sldMk cId="1945724814" sldId="582"/>
            <ac:spMk id="437" creationId="{8A5543DE-437E-404F-E1DA-4FD72D886065}"/>
          </ac:spMkLst>
        </pc:spChg>
        <pc:spChg chg="add del">
          <ac:chgData name="Bullinger, Marvin" userId="5b54ce5a-dc89-476f-af33-5abd75d5b1e8" providerId="ADAL" clId="{43B71669-8A80-4333-9349-B258A9296B49}" dt="2024-02-27T16:53:49.050" v="3382"/>
          <ac:spMkLst>
            <pc:docMk/>
            <pc:sldMk cId="1945724814" sldId="582"/>
            <ac:spMk id="438" creationId="{6633E326-3698-0298-18E6-184C3E505966}"/>
          </ac:spMkLst>
        </pc:spChg>
        <pc:spChg chg="add del">
          <ac:chgData name="Bullinger, Marvin" userId="5b54ce5a-dc89-476f-af33-5abd75d5b1e8" providerId="ADAL" clId="{43B71669-8A80-4333-9349-B258A9296B49}" dt="2024-02-27T16:53:49.050" v="3382"/>
          <ac:spMkLst>
            <pc:docMk/>
            <pc:sldMk cId="1945724814" sldId="582"/>
            <ac:spMk id="439" creationId="{49938418-C1E3-B5E8-164B-610A0632497E}"/>
          </ac:spMkLst>
        </pc:spChg>
        <pc:spChg chg="add del">
          <ac:chgData name="Bullinger, Marvin" userId="5b54ce5a-dc89-476f-af33-5abd75d5b1e8" providerId="ADAL" clId="{43B71669-8A80-4333-9349-B258A9296B49}" dt="2024-02-27T16:53:49.050" v="3382"/>
          <ac:spMkLst>
            <pc:docMk/>
            <pc:sldMk cId="1945724814" sldId="582"/>
            <ac:spMk id="440" creationId="{988C0FBF-3E1D-E929-8398-8C2B2DADB96A}"/>
          </ac:spMkLst>
        </pc:spChg>
        <pc:spChg chg="add del">
          <ac:chgData name="Bullinger, Marvin" userId="5b54ce5a-dc89-476f-af33-5abd75d5b1e8" providerId="ADAL" clId="{43B71669-8A80-4333-9349-B258A9296B49}" dt="2024-02-27T16:53:49.050" v="3382"/>
          <ac:spMkLst>
            <pc:docMk/>
            <pc:sldMk cId="1945724814" sldId="582"/>
            <ac:spMk id="441" creationId="{7B4BF749-01D1-E75B-C8EB-1CF6E41B8ABE}"/>
          </ac:spMkLst>
        </pc:spChg>
        <pc:spChg chg="add del">
          <ac:chgData name="Bullinger, Marvin" userId="5b54ce5a-dc89-476f-af33-5abd75d5b1e8" providerId="ADAL" clId="{43B71669-8A80-4333-9349-B258A9296B49}" dt="2024-02-27T16:53:49.050" v="3382"/>
          <ac:spMkLst>
            <pc:docMk/>
            <pc:sldMk cId="1945724814" sldId="582"/>
            <ac:spMk id="442" creationId="{A5B1E0E4-97A1-8FD9-B859-9B00E6F742AF}"/>
          </ac:spMkLst>
        </pc:spChg>
        <pc:spChg chg="add del">
          <ac:chgData name="Bullinger, Marvin" userId="5b54ce5a-dc89-476f-af33-5abd75d5b1e8" providerId="ADAL" clId="{43B71669-8A80-4333-9349-B258A9296B49}" dt="2024-02-27T16:53:49.050" v="3382"/>
          <ac:spMkLst>
            <pc:docMk/>
            <pc:sldMk cId="1945724814" sldId="582"/>
            <ac:spMk id="443" creationId="{74A22E28-1751-8423-887F-4FBB2084505E}"/>
          </ac:spMkLst>
        </pc:spChg>
        <pc:spChg chg="add del">
          <ac:chgData name="Bullinger, Marvin" userId="5b54ce5a-dc89-476f-af33-5abd75d5b1e8" providerId="ADAL" clId="{43B71669-8A80-4333-9349-B258A9296B49}" dt="2024-02-27T16:53:49.050" v="3382"/>
          <ac:spMkLst>
            <pc:docMk/>
            <pc:sldMk cId="1945724814" sldId="582"/>
            <ac:spMk id="444" creationId="{6BD97DA5-B68E-374D-091F-C4E250456931}"/>
          </ac:spMkLst>
        </pc:spChg>
        <pc:spChg chg="add del">
          <ac:chgData name="Bullinger, Marvin" userId="5b54ce5a-dc89-476f-af33-5abd75d5b1e8" providerId="ADAL" clId="{43B71669-8A80-4333-9349-B258A9296B49}" dt="2024-02-27T16:53:49.050" v="3382"/>
          <ac:spMkLst>
            <pc:docMk/>
            <pc:sldMk cId="1945724814" sldId="582"/>
            <ac:spMk id="445" creationId="{388A7474-D762-157D-D12A-04AE935E7B2E}"/>
          </ac:spMkLst>
        </pc:spChg>
        <pc:spChg chg="add del">
          <ac:chgData name="Bullinger, Marvin" userId="5b54ce5a-dc89-476f-af33-5abd75d5b1e8" providerId="ADAL" clId="{43B71669-8A80-4333-9349-B258A9296B49}" dt="2024-02-27T16:53:49.050" v="3382"/>
          <ac:spMkLst>
            <pc:docMk/>
            <pc:sldMk cId="1945724814" sldId="582"/>
            <ac:spMk id="446" creationId="{F0A1C86C-EE83-4F10-CFE4-D862342D42D7}"/>
          </ac:spMkLst>
        </pc:spChg>
        <pc:spChg chg="add del">
          <ac:chgData name="Bullinger, Marvin" userId="5b54ce5a-dc89-476f-af33-5abd75d5b1e8" providerId="ADAL" clId="{43B71669-8A80-4333-9349-B258A9296B49}" dt="2024-02-27T16:53:49.050" v="3382"/>
          <ac:spMkLst>
            <pc:docMk/>
            <pc:sldMk cId="1945724814" sldId="582"/>
            <ac:spMk id="447" creationId="{D4DEA5C4-FFC0-1E9E-84D4-1D4DD60F7B15}"/>
          </ac:spMkLst>
        </pc:spChg>
        <pc:spChg chg="add del">
          <ac:chgData name="Bullinger, Marvin" userId="5b54ce5a-dc89-476f-af33-5abd75d5b1e8" providerId="ADAL" clId="{43B71669-8A80-4333-9349-B258A9296B49}" dt="2024-02-27T16:53:49.050" v="3382"/>
          <ac:spMkLst>
            <pc:docMk/>
            <pc:sldMk cId="1945724814" sldId="582"/>
            <ac:spMk id="448" creationId="{1927C312-9F60-709F-7DE5-E7C0DAC5C436}"/>
          </ac:spMkLst>
        </pc:spChg>
        <pc:spChg chg="add del">
          <ac:chgData name="Bullinger, Marvin" userId="5b54ce5a-dc89-476f-af33-5abd75d5b1e8" providerId="ADAL" clId="{43B71669-8A80-4333-9349-B258A9296B49}" dt="2024-02-27T16:53:49.050" v="3382"/>
          <ac:spMkLst>
            <pc:docMk/>
            <pc:sldMk cId="1945724814" sldId="582"/>
            <ac:spMk id="449" creationId="{AAA9BDAA-D626-8625-FE0A-DE7D8E72CAD6}"/>
          </ac:spMkLst>
        </pc:spChg>
        <pc:spChg chg="add mod">
          <ac:chgData name="Bullinger, Marvin" userId="5b54ce5a-dc89-476f-af33-5abd75d5b1e8" providerId="ADAL" clId="{43B71669-8A80-4333-9349-B258A9296B49}" dt="2024-02-27T17:26:23.368" v="4712" actId="478"/>
          <ac:spMkLst>
            <pc:docMk/>
            <pc:sldMk cId="1945724814" sldId="582"/>
            <ac:spMk id="449" creationId="{DEC89044-35C1-F9AA-81B6-DFDB21DF0FB9}"/>
          </ac:spMkLst>
        </pc:spChg>
        <pc:spChg chg="del mod ord replST">
          <ac:chgData name="Bullinger, Marvin" userId="5b54ce5a-dc89-476f-af33-5abd75d5b1e8" providerId="ADAL" clId="{43B71669-8A80-4333-9349-B258A9296B49}" dt="2024-02-27T17:26:59.353" v="6018" actId="478"/>
          <ac:spMkLst>
            <pc:docMk/>
            <pc:sldMk cId="1945724814" sldId="582"/>
            <ac:spMk id="450" creationId="{57A76D7E-8ECA-06B3-3B10-F5B448A183CF}"/>
          </ac:spMkLst>
        </pc:spChg>
        <pc:spChg chg="add del">
          <ac:chgData name="Bullinger, Marvin" userId="5b54ce5a-dc89-476f-af33-5abd75d5b1e8" providerId="ADAL" clId="{43B71669-8A80-4333-9349-B258A9296B49}" dt="2024-02-27T16:53:49.050" v="3382"/>
          <ac:spMkLst>
            <pc:docMk/>
            <pc:sldMk cId="1945724814" sldId="582"/>
            <ac:spMk id="450" creationId="{8F7BD685-F6AB-02B5-326B-B74E0548CA81}"/>
          </ac:spMkLst>
        </pc:spChg>
        <pc:spChg chg="add del">
          <ac:chgData name="Bullinger, Marvin" userId="5b54ce5a-dc89-476f-af33-5abd75d5b1e8" providerId="ADAL" clId="{43B71669-8A80-4333-9349-B258A9296B49}" dt="2024-02-27T16:53:49.050" v="3382"/>
          <ac:spMkLst>
            <pc:docMk/>
            <pc:sldMk cId="1945724814" sldId="582"/>
            <ac:spMk id="451" creationId="{135FE38B-0680-B12B-E8AF-D1AA47AED4B4}"/>
          </ac:spMkLst>
        </pc:spChg>
        <pc:spChg chg="del">
          <ac:chgData name="Bullinger, Marvin" userId="5b54ce5a-dc89-476f-af33-5abd75d5b1e8" providerId="ADAL" clId="{43B71669-8A80-4333-9349-B258A9296B49}" dt="2024-02-27T17:26:23.408" v="4749" actId="478"/>
          <ac:spMkLst>
            <pc:docMk/>
            <pc:sldMk cId="1945724814" sldId="582"/>
            <ac:spMk id="451" creationId="{FC940DBC-2193-B551-905E-8CA04AFCB411}"/>
          </ac:spMkLst>
        </pc:spChg>
        <pc:spChg chg="del">
          <ac:chgData name="Bullinger, Marvin" userId="5b54ce5a-dc89-476f-af33-5abd75d5b1e8" providerId="ADAL" clId="{43B71669-8A80-4333-9349-B258A9296B49}" dt="2024-02-27T17:26:23.408" v="4748" actId="478"/>
          <ac:spMkLst>
            <pc:docMk/>
            <pc:sldMk cId="1945724814" sldId="582"/>
            <ac:spMk id="452" creationId="{7E06AEEF-26F1-856E-87B2-BAB5C42F7549}"/>
          </ac:spMkLst>
        </pc:spChg>
        <pc:spChg chg="add del">
          <ac:chgData name="Bullinger, Marvin" userId="5b54ce5a-dc89-476f-af33-5abd75d5b1e8" providerId="ADAL" clId="{43B71669-8A80-4333-9349-B258A9296B49}" dt="2024-02-27T16:53:49.050" v="3382"/>
          <ac:spMkLst>
            <pc:docMk/>
            <pc:sldMk cId="1945724814" sldId="582"/>
            <ac:spMk id="452" creationId="{B51CC39A-F402-77F5-28A6-D49A29903004}"/>
          </ac:spMkLst>
        </pc:spChg>
        <pc:spChg chg="replST delST">
          <ac:chgData name="Bullinger, Marvin" userId="5b54ce5a-dc89-476f-af33-5abd75d5b1e8" providerId="ADAL" clId="{43B71669-8A80-4333-9349-B258A9296B49}" dt="2024-02-27T16:53:48.832" v="2750"/>
          <ac:spMkLst>
            <pc:docMk/>
            <pc:sldMk cId="1945724814" sldId="582"/>
            <ac:spMk id="453" creationId="{C1A0756C-A441-9BED-C9C7-C82FFCB80957}"/>
          </ac:spMkLst>
        </pc:spChg>
        <pc:spChg chg="del">
          <ac:chgData name="Bullinger, Marvin" userId="5b54ce5a-dc89-476f-af33-5abd75d5b1e8" providerId="ADAL" clId="{43B71669-8A80-4333-9349-B258A9296B49}" dt="2024-02-27T17:26:23.408" v="4747" actId="478"/>
          <ac:spMkLst>
            <pc:docMk/>
            <pc:sldMk cId="1945724814" sldId="582"/>
            <ac:spMk id="453" creationId="{D2125945-F10D-531E-4159-E4DCADC1C693}"/>
          </ac:spMkLst>
        </pc:spChg>
        <pc:spChg chg="replST delST">
          <ac:chgData name="Bullinger, Marvin" userId="5b54ce5a-dc89-476f-af33-5abd75d5b1e8" providerId="ADAL" clId="{43B71669-8A80-4333-9349-B258A9296B49}" dt="2024-02-27T16:53:48.832" v="2747"/>
          <ac:spMkLst>
            <pc:docMk/>
            <pc:sldMk cId="1945724814" sldId="582"/>
            <ac:spMk id="454" creationId="{01779D75-5A10-BD55-1A18-0E5F106887F3}"/>
          </ac:spMkLst>
        </pc:spChg>
        <pc:spChg chg="del">
          <ac:chgData name="Bullinger, Marvin" userId="5b54ce5a-dc89-476f-af33-5abd75d5b1e8" providerId="ADAL" clId="{43B71669-8A80-4333-9349-B258A9296B49}" dt="2024-02-27T17:26:23.408" v="4746" actId="478"/>
          <ac:spMkLst>
            <pc:docMk/>
            <pc:sldMk cId="1945724814" sldId="582"/>
            <ac:spMk id="454" creationId="{E0A2918E-731B-FA25-2FF9-12AC87A70BE7}"/>
          </ac:spMkLst>
        </pc:spChg>
        <pc:spChg chg="del">
          <ac:chgData name="Bullinger, Marvin" userId="5b54ce5a-dc89-476f-af33-5abd75d5b1e8" providerId="ADAL" clId="{43B71669-8A80-4333-9349-B258A9296B49}" dt="2024-02-27T17:26:23.408" v="4745" actId="478"/>
          <ac:spMkLst>
            <pc:docMk/>
            <pc:sldMk cId="1945724814" sldId="582"/>
            <ac:spMk id="455" creationId="{7775AD93-B2F7-5CD5-C23F-CE9D11C8CDE9}"/>
          </ac:spMkLst>
        </pc:spChg>
        <pc:spChg chg="replST delST">
          <ac:chgData name="Bullinger, Marvin" userId="5b54ce5a-dc89-476f-af33-5abd75d5b1e8" providerId="ADAL" clId="{43B71669-8A80-4333-9349-B258A9296B49}" dt="2024-02-27T16:53:48.832" v="2743"/>
          <ac:spMkLst>
            <pc:docMk/>
            <pc:sldMk cId="1945724814" sldId="582"/>
            <ac:spMk id="456" creationId="{1D801F4F-A15A-4EFD-B766-D3B5B53D9503}"/>
          </ac:spMkLst>
        </pc:spChg>
        <pc:spChg chg="del">
          <ac:chgData name="Bullinger, Marvin" userId="5b54ce5a-dc89-476f-af33-5abd75d5b1e8" providerId="ADAL" clId="{43B71669-8A80-4333-9349-B258A9296B49}" dt="2024-02-27T17:26:23.408" v="4744" actId="478"/>
          <ac:spMkLst>
            <pc:docMk/>
            <pc:sldMk cId="1945724814" sldId="582"/>
            <ac:spMk id="456" creationId="{53B22AC2-80BE-4EE8-EEC9-60E5433B0164}"/>
          </ac:spMkLst>
        </pc:spChg>
        <pc:spChg chg="replST delST">
          <ac:chgData name="Bullinger, Marvin" userId="5b54ce5a-dc89-476f-af33-5abd75d5b1e8" providerId="ADAL" clId="{43B71669-8A80-4333-9349-B258A9296B49}" dt="2024-02-27T16:53:48.832" v="2740"/>
          <ac:spMkLst>
            <pc:docMk/>
            <pc:sldMk cId="1945724814" sldId="582"/>
            <ac:spMk id="457" creationId="{F3957629-BD10-2728-AAC7-531FF4AF3221}"/>
          </ac:spMkLst>
        </pc:spChg>
        <pc:spChg chg="del">
          <ac:chgData name="Bullinger, Marvin" userId="5b54ce5a-dc89-476f-af33-5abd75d5b1e8" providerId="ADAL" clId="{43B71669-8A80-4333-9349-B258A9296B49}" dt="2024-02-27T17:26:23.406" v="4741" actId="478"/>
          <ac:spMkLst>
            <pc:docMk/>
            <pc:sldMk cId="1945724814" sldId="582"/>
            <ac:spMk id="457" creationId="{FD569ED8-C741-411D-77E8-50F95A074E47}"/>
          </ac:spMkLst>
        </pc:spChg>
        <pc:spChg chg="del">
          <ac:chgData name="Bullinger, Marvin" userId="5b54ce5a-dc89-476f-af33-5abd75d5b1e8" providerId="ADAL" clId="{43B71669-8A80-4333-9349-B258A9296B49}" dt="2024-02-27T17:26:23.406" v="4740" actId="478"/>
          <ac:spMkLst>
            <pc:docMk/>
            <pc:sldMk cId="1945724814" sldId="582"/>
            <ac:spMk id="458" creationId="{4BB9F223-0082-3048-5B76-E4270F8A7CF5}"/>
          </ac:spMkLst>
        </pc:spChg>
        <pc:spChg chg="del">
          <ac:chgData name="Bullinger, Marvin" userId="5b54ce5a-dc89-476f-af33-5abd75d5b1e8" providerId="ADAL" clId="{43B71669-8A80-4333-9349-B258A9296B49}" dt="2024-02-27T17:26:23.406" v="4739" actId="478"/>
          <ac:spMkLst>
            <pc:docMk/>
            <pc:sldMk cId="1945724814" sldId="582"/>
            <ac:spMk id="459" creationId="{2298EE19-D09F-84A7-2BEE-49EE5750BAD2}"/>
          </ac:spMkLst>
        </pc:spChg>
        <pc:spChg chg="replST delST">
          <ac:chgData name="Bullinger, Marvin" userId="5b54ce5a-dc89-476f-af33-5abd75d5b1e8" providerId="ADAL" clId="{43B71669-8A80-4333-9349-B258A9296B49}" dt="2024-02-27T16:53:48.832" v="2736"/>
          <ac:spMkLst>
            <pc:docMk/>
            <pc:sldMk cId="1945724814" sldId="582"/>
            <ac:spMk id="459" creationId="{B6B9B8C1-342A-A74B-16CE-137CE7F51E08}"/>
          </ac:spMkLst>
        </pc:spChg>
        <pc:spChg chg="del">
          <ac:chgData name="Bullinger, Marvin" userId="5b54ce5a-dc89-476f-af33-5abd75d5b1e8" providerId="ADAL" clId="{43B71669-8A80-4333-9349-B258A9296B49}" dt="2024-02-27T17:26:23.398" v="4738" actId="478"/>
          <ac:spMkLst>
            <pc:docMk/>
            <pc:sldMk cId="1945724814" sldId="582"/>
            <ac:spMk id="460" creationId="{24C17C75-7BB5-1727-41B0-FDD2BF43573A}"/>
          </ac:spMkLst>
        </pc:spChg>
        <pc:spChg chg="replST delST">
          <ac:chgData name="Bullinger, Marvin" userId="5b54ce5a-dc89-476f-af33-5abd75d5b1e8" providerId="ADAL" clId="{43B71669-8A80-4333-9349-B258A9296B49}" dt="2024-02-27T16:53:48.832" v="2733"/>
          <ac:spMkLst>
            <pc:docMk/>
            <pc:sldMk cId="1945724814" sldId="582"/>
            <ac:spMk id="460" creationId="{99C665F2-6BB9-09C8-5B71-FA69F981C99D}"/>
          </ac:spMkLst>
        </pc:spChg>
        <pc:spChg chg="del">
          <ac:chgData name="Bullinger, Marvin" userId="5b54ce5a-dc89-476f-af33-5abd75d5b1e8" providerId="ADAL" clId="{43B71669-8A80-4333-9349-B258A9296B49}" dt="2024-02-27T17:26:23.398" v="4737" actId="478"/>
          <ac:spMkLst>
            <pc:docMk/>
            <pc:sldMk cId="1945724814" sldId="582"/>
            <ac:spMk id="461" creationId="{C34D79EF-F852-7897-6FEB-34B1356F7698}"/>
          </ac:spMkLst>
        </pc:spChg>
        <pc:spChg chg="replST delST">
          <ac:chgData name="Bullinger, Marvin" userId="5b54ce5a-dc89-476f-af33-5abd75d5b1e8" providerId="ADAL" clId="{43B71669-8A80-4333-9349-B258A9296B49}" dt="2024-02-27T16:53:48.832" v="2729"/>
          <ac:spMkLst>
            <pc:docMk/>
            <pc:sldMk cId="1945724814" sldId="582"/>
            <ac:spMk id="462" creationId="{62772B60-C7A3-DB5D-BBE5-6930F520028D}"/>
          </ac:spMkLst>
        </pc:spChg>
        <pc:spChg chg="del">
          <ac:chgData name="Bullinger, Marvin" userId="5b54ce5a-dc89-476f-af33-5abd75d5b1e8" providerId="ADAL" clId="{43B71669-8A80-4333-9349-B258A9296B49}" dt="2024-02-27T17:26:23.398" v="4736" actId="478"/>
          <ac:spMkLst>
            <pc:docMk/>
            <pc:sldMk cId="1945724814" sldId="582"/>
            <ac:spMk id="462" creationId="{F1991B1B-C210-595F-3FDF-80E9CC375B00}"/>
          </ac:spMkLst>
        </pc:spChg>
        <pc:spChg chg="replST delST">
          <ac:chgData name="Bullinger, Marvin" userId="5b54ce5a-dc89-476f-af33-5abd75d5b1e8" providerId="ADAL" clId="{43B71669-8A80-4333-9349-B258A9296B49}" dt="2024-02-27T16:53:48.832" v="2726"/>
          <ac:spMkLst>
            <pc:docMk/>
            <pc:sldMk cId="1945724814" sldId="582"/>
            <ac:spMk id="463" creationId="{2FD2844F-5214-2759-109B-1822BA0F1C07}"/>
          </ac:spMkLst>
        </pc:spChg>
        <pc:spChg chg="del">
          <ac:chgData name="Bullinger, Marvin" userId="5b54ce5a-dc89-476f-af33-5abd75d5b1e8" providerId="ADAL" clId="{43B71669-8A80-4333-9349-B258A9296B49}" dt="2024-02-27T17:26:23.416" v="4757" actId="478"/>
          <ac:spMkLst>
            <pc:docMk/>
            <pc:sldMk cId="1945724814" sldId="582"/>
            <ac:spMk id="463" creationId="{856AABA7-B33D-5E99-7196-8D8647DBCB64}"/>
          </ac:spMkLst>
        </pc:spChg>
        <pc:spChg chg="del">
          <ac:chgData name="Bullinger, Marvin" userId="5b54ce5a-dc89-476f-af33-5abd75d5b1e8" providerId="ADAL" clId="{43B71669-8A80-4333-9349-B258A9296B49}" dt="2024-02-27T17:26:23.408" v="4756" actId="478"/>
          <ac:spMkLst>
            <pc:docMk/>
            <pc:sldMk cId="1945724814" sldId="582"/>
            <ac:spMk id="464" creationId="{D7101E24-8E2A-CB3A-54F2-BB140B2B0880}"/>
          </ac:spMkLst>
        </pc:spChg>
        <pc:spChg chg="replST delST">
          <ac:chgData name="Bullinger, Marvin" userId="5b54ce5a-dc89-476f-af33-5abd75d5b1e8" providerId="ADAL" clId="{43B71669-8A80-4333-9349-B258A9296B49}" dt="2024-02-27T16:53:48.817" v="2722"/>
          <ac:spMkLst>
            <pc:docMk/>
            <pc:sldMk cId="1945724814" sldId="582"/>
            <ac:spMk id="465" creationId="{96CF4C7E-23C4-B05C-D13F-FB3891D37880}"/>
          </ac:spMkLst>
        </pc:spChg>
        <pc:spChg chg="del">
          <ac:chgData name="Bullinger, Marvin" userId="5b54ce5a-dc89-476f-af33-5abd75d5b1e8" providerId="ADAL" clId="{43B71669-8A80-4333-9349-B258A9296B49}" dt="2024-02-27T17:26:23.408" v="4755" actId="478"/>
          <ac:spMkLst>
            <pc:docMk/>
            <pc:sldMk cId="1945724814" sldId="582"/>
            <ac:spMk id="465" creationId="{BB5CB215-DBC1-8828-E877-6AA1535B1BAB}"/>
          </ac:spMkLst>
        </pc:spChg>
        <pc:spChg chg="replST delST">
          <ac:chgData name="Bullinger, Marvin" userId="5b54ce5a-dc89-476f-af33-5abd75d5b1e8" providerId="ADAL" clId="{43B71669-8A80-4333-9349-B258A9296B49}" dt="2024-02-27T16:53:48.817" v="2719"/>
          <ac:spMkLst>
            <pc:docMk/>
            <pc:sldMk cId="1945724814" sldId="582"/>
            <ac:spMk id="466" creationId="{64D26EAD-EEFC-AAB3-92A8-771E60102C69}"/>
          </ac:spMkLst>
        </pc:spChg>
        <pc:spChg chg="del">
          <ac:chgData name="Bullinger, Marvin" userId="5b54ce5a-dc89-476f-af33-5abd75d5b1e8" providerId="ADAL" clId="{43B71669-8A80-4333-9349-B258A9296B49}" dt="2024-02-27T17:26:23.408" v="4754" actId="478"/>
          <ac:spMkLst>
            <pc:docMk/>
            <pc:sldMk cId="1945724814" sldId="582"/>
            <ac:spMk id="466" creationId="{E62EDEC1-B471-2942-BBCF-9A9DB1E0B3AE}"/>
          </ac:spMkLst>
        </pc:spChg>
        <pc:spChg chg="del">
          <ac:chgData name="Bullinger, Marvin" userId="5b54ce5a-dc89-476f-af33-5abd75d5b1e8" providerId="ADAL" clId="{43B71669-8A80-4333-9349-B258A9296B49}" dt="2024-02-27T17:26:23.408" v="4753" actId="478"/>
          <ac:spMkLst>
            <pc:docMk/>
            <pc:sldMk cId="1945724814" sldId="582"/>
            <ac:spMk id="467" creationId="{0486FF1D-1F91-2EB9-4BC2-A934BA118C87}"/>
          </ac:spMkLst>
        </pc:spChg>
        <pc:spChg chg="mod ord replST delST">
          <ac:chgData name="Bullinger, Marvin" userId="5b54ce5a-dc89-476f-af33-5abd75d5b1e8" providerId="ADAL" clId="{43B71669-8A80-4333-9349-B258A9296B49}" dt="2024-02-27T16:53:49.050" v="3382"/>
          <ac:spMkLst>
            <pc:docMk/>
            <pc:sldMk cId="1945724814" sldId="582"/>
            <ac:spMk id="467" creationId="{66588C51-3448-E401-6045-2C59FDB4DB60}"/>
          </ac:spMkLst>
        </pc:spChg>
        <pc:spChg chg="replST delST">
          <ac:chgData name="Bullinger, Marvin" userId="5b54ce5a-dc89-476f-af33-5abd75d5b1e8" providerId="ADAL" clId="{43B71669-8A80-4333-9349-B258A9296B49}" dt="2024-02-27T16:53:48.817" v="2715"/>
          <ac:spMkLst>
            <pc:docMk/>
            <pc:sldMk cId="1945724814" sldId="582"/>
            <ac:spMk id="468" creationId="{20935828-375F-EAB7-B897-CEAF25755EA8}"/>
          </ac:spMkLst>
        </pc:spChg>
        <pc:spChg chg="del">
          <ac:chgData name="Bullinger, Marvin" userId="5b54ce5a-dc89-476f-af33-5abd75d5b1e8" providerId="ADAL" clId="{43B71669-8A80-4333-9349-B258A9296B49}" dt="2024-02-27T17:26:23.408" v="4752" actId="478"/>
          <ac:spMkLst>
            <pc:docMk/>
            <pc:sldMk cId="1945724814" sldId="582"/>
            <ac:spMk id="468" creationId="{22BA4494-0B28-7AFD-B68B-367EF70C27C6}"/>
          </ac:spMkLst>
        </pc:spChg>
        <pc:spChg chg="replST delST">
          <ac:chgData name="Bullinger, Marvin" userId="5b54ce5a-dc89-476f-af33-5abd75d5b1e8" providerId="ADAL" clId="{43B71669-8A80-4333-9349-B258A9296B49}" dt="2024-02-27T16:53:48.817" v="2712"/>
          <ac:spMkLst>
            <pc:docMk/>
            <pc:sldMk cId="1945724814" sldId="582"/>
            <ac:spMk id="469" creationId="{BD0704A3-13D9-D7DF-729A-41E62A7310AB}"/>
          </ac:spMkLst>
        </pc:spChg>
        <pc:spChg chg="del">
          <ac:chgData name="Bullinger, Marvin" userId="5b54ce5a-dc89-476f-af33-5abd75d5b1e8" providerId="ADAL" clId="{43B71669-8A80-4333-9349-B258A9296B49}" dt="2024-02-27T17:26:23.408" v="4751" actId="478"/>
          <ac:spMkLst>
            <pc:docMk/>
            <pc:sldMk cId="1945724814" sldId="582"/>
            <ac:spMk id="469" creationId="{C04A9824-22E9-96A6-67EC-CB0828EE4438}"/>
          </ac:spMkLst>
        </pc:spChg>
        <pc:spChg chg="del">
          <ac:chgData name="Bullinger, Marvin" userId="5b54ce5a-dc89-476f-af33-5abd75d5b1e8" providerId="ADAL" clId="{43B71669-8A80-4333-9349-B258A9296B49}" dt="2024-02-27T17:26:23.408" v="4750" actId="478"/>
          <ac:spMkLst>
            <pc:docMk/>
            <pc:sldMk cId="1945724814" sldId="582"/>
            <ac:spMk id="470" creationId="{59C07CF2-0533-8C03-67E6-E39CFEF80A65}"/>
          </ac:spMkLst>
        </pc:spChg>
        <pc:spChg chg="del">
          <ac:chgData name="Bullinger, Marvin" userId="5b54ce5a-dc89-476f-af33-5abd75d5b1e8" providerId="ADAL" clId="{43B71669-8A80-4333-9349-B258A9296B49}" dt="2024-02-27T17:26:23.406" v="4742" actId="478"/>
          <ac:spMkLst>
            <pc:docMk/>
            <pc:sldMk cId="1945724814" sldId="582"/>
            <ac:spMk id="471" creationId="{38509329-8344-DF19-0FDC-E0AD0FABFBFE}"/>
          </ac:spMkLst>
        </pc:spChg>
        <pc:spChg chg="del">
          <ac:chgData name="Bullinger, Marvin" userId="5b54ce5a-dc89-476f-af33-5abd75d5b1e8" providerId="ADAL" clId="{43B71669-8A80-4333-9349-B258A9296B49}" dt="2024-02-27T17:26:23.398" v="4735" actId="478"/>
          <ac:spMkLst>
            <pc:docMk/>
            <pc:sldMk cId="1945724814" sldId="582"/>
            <ac:spMk id="472" creationId="{2674CDAA-9B5B-ABCA-46C8-477A64992E93}"/>
          </ac:spMkLst>
        </pc:spChg>
        <pc:spChg chg="del">
          <ac:chgData name="Bullinger, Marvin" userId="5b54ce5a-dc89-476f-af33-5abd75d5b1e8" providerId="ADAL" clId="{43B71669-8A80-4333-9349-B258A9296B49}" dt="2024-02-27T17:26:23.408" v="4743" actId="478"/>
          <ac:spMkLst>
            <pc:docMk/>
            <pc:sldMk cId="1945724814" sldId="582"/>
            <ac:spMk id="473" creationId="{E4BE8304-1F8C-1E0C-0347-516A268D6C9A}"/>
          </ac:spMkLst>
        </pc:spChg>
        <pc:spChg chg="del">
          <ac:chgData name="Bullinger, Marvin" userId="5b54ce5a-dc89-476f-af33-5abd75d5b1e8" providerId="ADAL" clId="{43B71669-8A80-4333-9349-B258A9296B49}" dt="2024-02-27T17:26:23.398" v="4734" actId="478"/>
          <ac:spMkLst>
            <pc:docMk/>
            <pc:sldMk cId="1945724814" sldId="582"/>
            <ac:spMk id="474" creationId="{D59056F7-8B28-3BC2-3B39-09FD78E8856C}"/>
          </ac:spMkLst>
        </pc:spChg>
        <pc:spChg chg="del">
          <ac:chgData name="Bullinger, Marvin" userId="5b54ce5a-dc89-476f-af33-5abd75d5b1e8" providerId="ADAL" clId="{43B71669-8A80-4333-9349-B258A9296B49}" dt="2024-02-27T17:26:23.398" v="4733" actId="478"/>
          <ac:spMkLst>
            <pc:docMk/>
            <pc:sldMk cId="1945724814" sldId="582"/>
            <ac:spMk id="475" creationId="{B5A88D00-2BF3-C535-D6C2-BD2B32CEF25B}"/>
          </ac:spMkLst>
        </pc:spChg>
        <pc:spChg chg="del">
          <ac:chgData name="Bullinger, Marvin" userId="5b54ce5a-dc89-476f-af33-5abd75d5b1e8" providerId="ADAL" clId="{43B71669-8A80-4333-9349-B258A9296B49}" dt="2024-02-27T17:26:23.398" v="4732" actId="478"/>
          <ac:spMkLst>
            <pc:docMk/>
            <pc:sldMk cId="1945724814" sldId="582"/>
            <ac:spMk id="476" creationId="{1214C1E1-6D3A-27B1-FA59-3CB007864543}"/>
          </ac:spMkLst>
        </pc:spChg>
        <pc:spChg chg="del">
          <ac:chgData name="Bullinger, Marvin" userId="5b54ce5a-dc89-476f-af33-5abd75d5b1e8" providerId="ADAL" clId="{43B71669-8A80-4333-9349-B258A9296B49}" dt="2024-02-27T17:26:23.398" v="4731" actId="478"/>
          <ac:spMkLst>
            <pc:docMk/>
            <pc:sldMk cId="1945724814" sldId="582"/>
            <ac:spMk id="477" creationId="{BDA24E3E-CD6B-07B9-3F19-C72C1B5EC0D9}"/>
          </ac:spMkLst>
        </pc:spChg>
        <pc:spChg chg="del">
          <ac:chgData name="Bullinger, Marvin" userId="5b54ce5a-dc89-476f-af33-5abd75d5b1e8" providerId="ADAL" clId="{43B71669-8A80-4333-9349-B258A9296B49}" dt="2024-02-27T17:26:23.398" v="4730" actId="478"/>
          <ac:spMkLst>
            <pc:docMk/>
            <pc:sldMk cId="1945724814" sldId="582"/>
            <ac:spMk id="478" creationId="{3C961FBF-19AF-6C71-6438-74AA7DC48AEB}"/>
          </ac:spMkLst>
        </pc:spChg>
        <pc:spChg chg="del">
          <ac:chgData name="Bullinger, Marvin" userId="5b54ce5a-dc89-476f-af33-5abd75d5b1e8" providerId="ADAL" clId="{43B71669-8A80-4333-9349-B258A9296B49}" dt="2024-02-27T17:26:23.398" v="4729" actId="478"/>
          <ac:spMkLst>
            <pc:docMk/>
            <pc:sldMk cId="1945724814" sldId="582"/>
            <ac:spMk id="479" creationId="{59871EB5-80EC-249C-E3C4-8FF6A5D9E833}"/>
          </ac:spMkLst>
        </pc:spChg>
        <pc:spChg chg="del">
          <ac:chgData name="Bullinger, Marvin" userId="5b54ce5a-dc89-476f-af33-5abd75d5b1e8" providerId="ADAL" clId="{43B71669-8A80-4333-9349-B258A9296B49}" dt="2024-02-27T17:26:23.398" v="4728" actId="478"/>
          <ac:spMkLst>
            <pc:docMk/>
            <pc:sldMk cId="1945724814" sldId="582"/>
            <ac:spMk id="480" creationId="{63B25A81-E557-6EDE-8556-33CD7910ACC8}"/>
          </ac:spMkLst>
        </pc:spChg>
        <pc:spChg chg="del">
          <ac:chgData name="Bullinger, Marvin" userId="5b54ce5a-dc89-476f-af33-5abd75d5b1e8" providerId="ADAL" clId="{43B71669-8A80-4333-9349-B258A9296B49}" dt="2024-02-27T17:26:23.398" v="4727" actId="478"/>
          <ac:spMkLst>
            <pc:docMk/>
            <pc:sldMk cId="1945724814" sldId="582"/>
            <ac:spMk id="481" creationId="{A0B58F33-5F83-67C6-08CD-0C0AF7B7A48D}"/>
          </ac:spMkLst>
        </pc:spChg>
        <pc:spChg chg="del">
          <ac:chgData name="Bullinger, Marvin" userId="5b54ce5a-dc89-476f-af33-5abd75d5b1e8" providerId="ADAL" clId="{43B71669-8A80-4333-9349-B258A9296B49}" dt="2024-02-27T17:26:23.398" v="4726" actId="478"/>
          <ac:spMkLst>
            <pc:docMk/>
            <pc:sldMk cId="1945724814" sldId="582"/>
            <ac:spMk id="482" creationId="{1CA34FC8-88DF-9B8A-8240-6EDBC948751E}"/>
          </ac:spMkLst>
        </pc:spChg>
        <pc:spChg chg="del">
          <ac:chgData name="Bullinger, Marvin" userId="5b54ce5a-dc89-476f-af33-5abd75d5b1e8" providerId="ADAL" clId="{43B71669-8A80-4333-9349-B258A9296B49}" dt="2024-02-27T17:26:23.396" v="4725" actId="478"/>
          <ac:spMkLst>
            <pc:docMk/>
            <pc:sldMk cId="1945724814" sldId="582"/>
            <ac:spMk id="483" creationId="{28333C1D-A3BF-CAEE-31A6-09C11AA2DF16}"/>
          </ac:spMkLst>
        </pc:spChg>
        <pc:spChg chg="del">
          <ac:chgData name="Bullinger, Marvin" userId="5b54ce5a-dc89-476f-af33-5abd75d5b1e8" providerId="ADAL" clId="{43B71669-8A80-4333-9349-B258A9296B49}" dt="2024-02-27T17:26:23.396" v="4724" actId="478"/>
          <ac:spMkLst>
            <pc:docMk/>
            <pc:sldMk cId="1945724814" sldId="582"/>
            <ac:spMk id="484" creationId="{AB8112A5-2B01-2498-E946-A53DD46E4A9F}"/>
          </ac:spMkLst>
        </pc:spChg>
        <pc:spChg chg="del">
          <ac:chgData name="Bullinger, Marvin" userId="5b54ce5a-dc89-476f-af33-5abd75d5b1e8" providerId="ADAL" clId="{43B71669-8A80-4333-9349-B258A9296B49}" dt="2024-02-27T17:26:23.396" v="4723" actId="478"/>
          <ac:spMkLst>
            <pc:docMk/>
            <pc:sldMk cId="1945724814" sldId="582"/>
            <ac:spMk id="485" creationId="{0308E9BF-39A9-B8F5-8F33-128EDFBE9BC0}"/>
          </ac:spMkLst>
        </pc:spChg>
        <pc:spChg chg="del">
          <ac:chgData name="Bullinger, Marvin" userId="5b54ce5a-dc89-476f-af33-5abd75d5b1e8" providerId="ADAL" clId="{43B71669-8A80-4333-9349-B258A9296B49}" dt="2024-02-27T17:26:23.388" v="4722" actId="478"/>
          <ac:spMkLst>
            <pc:docMk/>
            <pc:sldMk cId="1945724814" sldId="582"/>
            <ac:spMk id="486" creationId="{0AA832B2-D241-2CBB-F061-C9298C6351CF}"/>
          </ac:spMkLst>
        </pc:spChg>
        <pc:spChg chg="del">
          <ac:chgData name="Bullinger, Marvin" userId="5b54ce5a-dc89-476f-af33-5abd75d5b1e8" providerId="ADAL" clId="{43B71669-8A80-4333-9349-B258A9296B49}" dt="2024-02-27T17:26:23.388" v="4721" actId="478"/>
          <ac:spMkLst>
            <pc:docMk/>
            <pc:sldMk cId="1945724814" sldId="582"/>
            <ac:spMk id="487" creationId="{5EE8A510-80D9-0B1B-BD7E-766BFDC21E2F}"/>
          </ac:spMkLst>
        </pc:spChg>
        <pc:spChg chg="replST">
          <ac:chgData name="Bullinger, Marvin" userId="5b54ce5a-dc89-476f-af33-5abd75d5b1e8" providerId="ADAL" clId="{43B71669-8A80-4333-9349-B258A9296B49}" dt="2024-02-27T17:26:24.798" v="5392"/>
          <ac:spMkLst>
            <pc:docMk/>
            <pc:sldMk cId="1945724814" sldId="582"/>
            <ac:spMk id="488" creationId="{1DA12E17-AF95-5768-46DA-AEA313C4DFA8}"/>
          </ac:spMkLst>
        </pc:spChg>
        <pc:spChg chg="replST">
          <ac:chgData name="Bullinger, Marvin" userId="5b54ce5a-dc89-476f-af33-5abd75d5b1e8" providerId="ADAL" clId="{43B71669-8A80-4333-9349-B258A9296B49}" dt="2024-02-27T17:26:24.798" v="5395"/>
          <ac:spMkLst>
            <pc:docMk/>
            <pc:sldMk cId="1945724814" sldId="582"/>
            <ac:spMk id="489" creationId="{7202CC81-63E0-B4A0-B798-CDD30E400CA2}"/>
          </ac:spMkLst>
        </pc:spChg>
        <pc:spChg chg="replST">
          <ac:chgData name="Bullinger, Marvin" userId="5b54ce5a-dc89-476f-af33-5abd75d5b1e8" providerId="ADAL" clId="{43B71669-8A80-4333-9349-B258A9296B49}" dt="2024-02-27T17:26:24.798" v="5399"/>
          <ac:spMkLst>
            <pc:docMk/>
            <pc:sldMk cId="1945724814" sldId="582"/>
            <ac:spMk id="491" creationId="{19CA59EE-7CAB-AA3E-387F-E9CA348836E7}"/>
          </ac:spMkLst>
        </pc:spChg>
        <pc:spChg chg="replST">
          <ac:chgData name="Bullinger, Marvin" userId="5b54ce5a-dc89-476f-af33-5abd75d5b1e8" providerId="ADAL" clId="{43B71669-8A80-4333-9349-B258A9296B49}" dt="2024-02-27T17:26:24.814" v="5402"/>
          <ac:spMkLst>
            <pc:docMk/>
            <pc:sldMk cId="1945724814" sldId="582"/>
            <ac:spMk id="492" creationId="{498BC229-44D9-9ABC-A21D-25CEEE35649C}"/>
          </ac:spMkLst>
        </pc:spChg>
        <pc:spChg chg="replST">
          <ac:chgData name="Bullinger, Marvin" userId="5b54ce5a-dc89-476f-af33-5abd75d5b1e8" providerId="ADAL" clId="{43B71669-8A80-4333-9349-B258A9296B49}" dt="2024-02-27T17:26:24.814" v="5406"/>
          <ac:spMkLst>
            <pc:docMk/>
            <pc:sldMk cId="1945724814" sldId="582"/>
            <ac:spMk id="494" creationId="{691DBB46-B387-C9C9-E5C8-99AB5B594735}"/>
          </ac:spMkLst>
        </pc:spChg>
        <pc:spChg chg="replST">
          <ac:chgData name="Bullinger, Marvin" userId="5b54ce5a-dc89-476f-af33-5abd75d5b1e8" providerId="ADAL" clId="{43B71669-8A80-4333-9349-B258A9296B49}" dt="2024-02-27T17:26:24.830" v="5409"/>
          <ac:spMkLst>
            <pc:docMk/>
            <pc:sldMk cId="1945724814" sldId="582"/>
            <ac:spMk id="495" creationId="{D6AEEC18-F973-B9DE-4E27-519A4EE80413}"/>
          </ac:spMkLst>
        </pc:spChg>
        <pc:spChg chg="replST">
          <ac:chgData name="Bullinger, Marvin" userId="5b54ce5a-dc89-476f-af33-5abd75d5b1e8" providerId="ADAL" clId="{43B71669-8A80-4333-9349-B258A9296B49}" dt="2024-02-27T17:26:24.830" v="5413"/>
          <ac:spMkLst>
            <pc:docMk/>
            <pc:sldMk cId="1945724814" sldId="582"/>
            <ac:spMk id="497" creationId="{D0F8E4D0-3D8C-1CEE-C609-877A8DCA18A4}"/>
          </ac:spMkLst>
        </pc:spChg>
        <pc:spChg chg="replST">
          <ac:chgData name="Bullinger, Marvin" userId="5b54ce5a-dc89-476f-af33-5abd75d5b1e8" providerId="ADAL" clId="{43B71669-8A80-4333-9349-B258A9296B49}" dt="2024-02-27T17:26:24.850" v="5416"/>
          <ac:spMkLst>
            <pc:docMk/>
            <pc:sldMk cId="1945724814" sldId="582"/>
            <ac:spMk id="498" creationId="{E404C809-8E47-B0E1-6BD9-9EEB1CBF2FD7}"/>
          </ac:spMkLst>
        </pc:spChg>
        <pc:spChg chg="replST">
          <ac:chgData name="Bullinger, Marvin" userId="5b54ce5a-dc89-476f-af33-5abd75d5b1e8" providerId="ADAL" clId="{43B71669-8A80-4333-9349-B258A9296B49}" dt="2024-02-27T17:26:24.858" v="5420"/>
          <ac:spMkLst>
            <pc:docMk/>
            <pc:sldMk cId="1945724814" sldId="582"/>
            <ac:spMk id="500" creationId="{182E6348-73F2-31B3-0062-14CEC4D5BF64}"/>
          </ac:spMkLst>
        </pc:spChg>
        <pc:spChg chg="replST">
          <ac:chgData name="Bullinger, Marvin" userId="5b54ce5a-dc89-476f-af33-5abd75d5b1e8" providerId="ADAL" clId="{43B71669-8A80-4333-9349-B258A9296B49}" dt="2024-02-27T17:26:24.858" v="5423"/>
          <ac:spMkLst>
            <pc:docMk/>
            <pc:sldMk cId="1945724814" sldId="582"/>
            <ac:spMk id="501" creationId="{6A899E16-B2B1-F6AE-2F40-591281925C3E}"/>
          </ac:spMkLst>
        </pc:spChg>
        <pc:spChg chg="replST">
          <ac:chgData name="Bullinger, Marvin" userId="5b54ce5a-dc89-476f-af33-5abd75d5b1e8" providerId="ADAL" clId="{43B71669-8A80-4333-9349-B258A9296B49}" dt="2024-02-27T17:26:24.875" v="5427"/>
          <ac:spMkLst>
            <pc:docMk/>
            <pc:sldMk cId="1945724814" sldId="582"/>
            <ac:spMk id="503" creationId="{B377FE3E-53B3-7925-0251-F75A517EBD6D}"/>
          </ac:spMkLst>
        </pc:spChg>
        <pc:spChg chg="replST">
          <ac:chgData name="Bullinger, Marvin" userId="5b54ce5a-dc89-476f-af33-5abd75d5b1e8" providerId="ADAL" clId="{43B71669-8A80-4333-9349-B258A9296B49}" dt="2024-02-27T17:26:24.876" v="5430"/>
          <ac:spMkLst>
            <pc:docMk/>
            <pc:sldMk cId="1945724814" sldId="582"/>
            <ac:spMk id="504" creationId="{9F4DD024-95F9-5D84-8AF0-388E90D0EBB3}"/>
          </ac:spMkLst>
        </pc:spChg>
        <pc:spChg chg="replST">
          <ac:chgData name="Bullinger, Marvin" userId="5b54ce5a-dc89-476f-af33-5abd75d5b1e8" providerId="ADAL" clId="{43B71669-8A80-4333-9349-B258A9296B49}" dt="2024-02-27T17:26:24.876" v="5434"/>
          <ac:spMkLst>
            <pc:docMk/>
            <pc:sldMk cId="1945724814" sldId="582"/>
            <ac:spMk id="506" creationId="{C7FD8C25-25BD-9356-74F3-1363B44DE66B}"/>
          </ac:spMkLst>
        </pc:spChg>
        <pc:spChg chg="replST">
          <ac:chgData name="Bullinger, Marvin" userId="5b54ce5a-dc89-476f-af33-5abd75d5b1e8" providerId="ADAL" clId="{43B71669-8A80-4333-9349-B258A9296B49}" dt="2024-02-27T17:26:24.895" v="5437"/>
          <ac:spMkLst>
            <pc:docMk/>
            <pc:sldMk cId="1945724814" sldId="582"/>
            <ac:spMk id="507" creationId="{BE108DFF-2916-8C7D-D179-A19C7E1F36C4}"/>
          </ac:spMkLst>
        </pc:spChg>
        <pc:spChg chg="del ord replST">
          <ac:chgData name="Bullinger, Marvin" userId="5b54ce5a-dc89-476f-af33-5abd75d5b1e8" providerId="ADAL" clId="{43B71669-8A80-4333-9349-B258A9296B49}" dt="2024-02-27T17:26:59.363" v="6025" actId="478"/>
          <ac:spMkLst>
            <pc:docMk/>
            <pc:sldMk cId="1945724814" sldId="582"/>
            <ac:spMk id="508" creationId="{BDA5318F-7485-E3B9-F196-38D831E81F44}"/>
          </ac:spMkLst>
        </pc:spChg>
        <pc:spChg chg="replST">
          <ac:chgData name="Bullinger, Marvin" userId="5b54ce5a-dc89-476f-af33-5abd75d5b1e8" providerId="ADAL" clId="{43B71669-8A80-4333-9349-B258A9296B49}" dt="2024-02-27T17:26:24.895" v="5441"/>
          <ac:spMkLst>
            <pc:docMk/>
            <pc:sldMk cId="1945724814" sldId="582"/>
            <ac:spMk id="509" creationId="{19A324D1-90F1-8077-666F-D02FE4CE857E}"/>
          </ac:spMkLst>
        </pc:spChg>
        <pc:spChg chg="replST">
          <ac:chgData name="Bullinger, Marvin" userId="5b54ce5a-dc89-476f-af33-5abd75d5b1e8" providerId="ADAL" clId="{43B71669-8A80-4333-9349-B258A9296B49}" dt="2024-02-27T17:26:24.895" v="5444"/>
          <ac:spMkLst>
            <pc:docMk/>
            <pc:sldMk cId="1945724814" sldId="582"/>
            <ac:spMk id="510" creationId="{67879B9F-F6E7-67A1-2EA8-ADD5866FABF2}"/>
          </ac:spMkLst>
        </pc:spChg>
        <pc:spChg chg="replST">
          <ac:chgData name="Bullinger, Marvin" userId="5b54ce5a-dc89-476f-af33-5abd75d5b1e8" providerId="ADAL" clId="{43B71669-8A80-4333-9349-B258A9296B49}" dt="2024-02-27T17:26:24.911" v="5448"/>
          <ac:spMkLst>
            <pc:docMk/>
            <pc:sldMk cId="1945724814" sldId="582"/>
            <ac:spMk id="512" creationId="{9F30EEBE-0C1E-2A9D-6DBB-BA47E28341AF}"/>
          </ac:spMkLst>
        </pc:spChg>
        <pc:spChg chg="replST">
          <ac:chgData name="Bullinger, Marvin" userId="5b54ce5a-dc89-476f-af33-5abd75d5b1e8" providerId="ADAL" clId="{43B71669-8A80-4333-9349-B258A9296B49}" dt="2024-02-27T17:26:24.911" v="5451"/>
          <ac:spMkLst>
            <pc:docMk/>
            <pc:sldMk cId="1945724814" sldId="582"/>
            <ac:spMk id="513" creationId="{85A86610-553C-110F-7254-E676E5A5684A}"/>
          </ac:spMkLst>
        </pc:spChg>
        <pc:spChg chg="add mod">
          <ac:chgData name="Bullinger, Marvin" userId="5b54ce5a-dc89-476f-af33-5abd75d5b1e8" providerId="ADAL" clId="{43B71669-8A80-4333-9349-B258A9296B49}" dt="2024-02-27T17:26:59.353" v="6018" actId="478"/>
          <ac:spMkLst>
            <pc:docMk/>
            <pc:sldMk cId="1945724814" sldId="582"/>
            <ac:spMk id="554" creationId="{F4F621CC-5B53-2487-5751-7C0D142C4A7E}"/>
          </ac:spMkLst>
        </pc:spChg>
        <pc:spChg chg="del mod ord replST">
          <ac:chgData name="Bullinger, Marvin" userId="5b54ce5a-dc89-476f-af33-5abd75d5b1e8" providerId="ADAL" clId="{43B71669-8A80-4333-9349-B258A9296B49}" dt="2024-02-27T17:27:37.045" v="7120" actId="478"/>
          <ac:spMkLst>
            <pc:docMk/>
            <pc:sldMk cId="1945724814" sldId="582"/>
            <ac:spMk id="555" creationId="{CC002D48-C97A-7B32-B772-1C1065378F17}"/>
          </ac:spMkLst>
        </pc:spChg>
        <pc:spChg chg="del">
          <ac:chgData name="Bullinger, Marvin" userId="5b54ce5a-dc89-476f-af33-5abd75d5b1e8" providerId="ADAL" clId="{43B71669-8A80-4333-9349-B258A9296B49}" dt="2024-02-27T17:26:59.393" v="6057" actId="478"/>
          <ac:spMkLst>
            <pc:docMk/>
            <pc:sldMk cId="1945724814" sldId="582"/>
            <ac:spMk id="556" creationId="{DF152BA0-D391-559B-72CD-FF35E29B107A}"/>
          </ac:spMkLst>
        </pc:spChg>
        <pc:spChg chg="del">
          <ac:chgData name="Bullinger, Marvin" userId="5b54ce5a-dc89-476f-af33-5abd75d5b1e8" providerId="ADAL" clId="{43B71669-8A80-4333-9349-B258A9296B49}" dt="2024-02-27T17:26:59.393" v="6056" actId="478"/>
          <ac:spMkLst>
            <pc:docMk/>
            <pc:sldMk cId="1945724814" sldId="582"/>
            <ac:spMk id="557" creationId="{8ECDEB2C-632C-9482-B996-233EEDD895E6}"/>
          </ac:spMkLst>
        </pc:spChg>
        <pc:spChg chg="del">
          <ac:chgData name="Bullinger, Marvin" userId="5b54ce5a-dc89-476f-af33-5abd75d5b1e8" providerId="ADAL" clId="{43B71669-8A80-4333-9349-B258A9296B49}" dt="2024-02-27T17:26:59.393" v="6055" actId="478"/>
          <ac:spMkLst>
            <pc:docMk/>
            <pc:sldMk cId="1945724814" sldId="582"/>
            <ac:spMk id="558" creationId="{CFECA29C-376B-85CE-5404-E1CD2CF8F23C}"/>
          </ac:spMkLst>
        </pc:spChg>
        <pc:spChg chg="del">
          <ac:chgData name="Bullinger, Marvin" userId="5b54ce5a-dc89-476f-af33-5abd75d5b1e8" providerId="ADAL" clId="{43B71669-8A80-4333-9349-B258A9296B49}" dt="2024-02-27T17:26:59.393" v="6054" actId="478"/>
          <ac:spMkLst>
            <pc:docMk/>
            <pc:sldMk cId="1945724814" sldId="582"/>
            <ac:spMk id="559" creationId="{A6F8D978-3975-281A-7796-E32781EC5AC3}"/>
          </ac:spMkLst>
        </pc:spChg>
        <pc:spChg chg="del">
          <ac:chgData name="Bullinger, Marvin" userId="5b54ce5a-dc89-476f-af33-5abd75d5b1e8" providerId="ADAL" clId="{43B71669-8A80-4333-9349-B258A9296B49}" dt="2024-02-27T17:26:59.393" v="6053" actId="478"/>
          <ac:spMkLst>
            <pc:docMk/>
            <pc:sldMk cId="1945724814" sldId="582"/>
            <ac:spMk id="560" creationId="{286167FF-FAEF-6C7E-D4EA-58B25ECEE600}"/>
          </ac:spMkLst>
        </pc:spChg>
        <pc:spChg chg="del">
          <ac:chgData name="Bullinger, Marvin" userId="5b54ce5a-dc89-476f-af33-5abd75d5b1e8" providerId="ADAL" clId="{43B71669-8A80-4333-9349-B258A9296B49}" dt="2024-02-27T17:26:59.393" v="6052" actId="478"/>
          <ac:spMkLst>
            <pc:docMk/>
            <pc:sldMk cId="1945724814" sldId="582"/>
            <ac:spMk id="561" creationId="{4AE0172F-D805-E2D7-179B-4E5558099C44}"/>
          </ac:spMkLst>
        </pc:spChg>
        <pc:spChg chg="del">
          <ac:chgData name="Bullinger, Marvin" userId="5b54ce5a-dc89-476f-af33-5abd75d5b1e8" providerId="ADAL" clId="{43B71669-8A80-4333-9349-B258A9296B49}" dt="2024-02-27T17:26:59.393" v="6049" actId="478"/>
          <ac:spMkLst>
            <pc:docMk/>
            <pc:sldMk cId="1945724814" sldId="582"/>
            <ac:spMk id="562" creationId="{F21A6FF0-53F7-42CD-E4F4-BD6B9E201152}"/>
          </ac:spMkLst>
        </pc:spChg>
        <pc:spChg chg="del">
          <ac:chgData name="Bullinger, Marvin" userId="5b54ce5a-dc89-476f-af33-5abd75d5b1e8" providerId="ADAL" clId="{43B71669-8A80-4333-9349-B258A9296B49}" dt="2024-02-27T17:26:59.393" v="6048" actId="478"/>
          <ac:spMkLst>
            <pc:docMk/>
            <pc:sldMk cId="1945724814" sldId="582"/>
            <ac:spMk id="563" creationId="{B7FE6180-C894-889E-71AC-EA9EAC6536E1}"/>
          </ac:spMkLst>
        </pc:spChg>
        <pc:spChg chg="del">
          <ac:chgData name="Bullinger, Marvin" userId="5b54ce5a-dc89-476f-af33-5abd75d5b1e8" providerId="ADAL" clId="{43B71669-8A80-4333-9349-B258A9296B49}" dt="2024-02-27T17:26:59.393" v="6047" actId="478"/>
          <ac:spMkLst>
            <pc:docMk/>
            <pc:sldMk cId="1945724814" sldId="582"/>
            <ac:spMk id="564" creationId="{2F476297-5299-9AD3-4E59-FF0D138EDFF7}"/>
          </ac:spMkLst>
        </pc:spChg>
        <pc:spChg chg="del">
          <ac:chgData name="Bullinger, Marvin" userId="5b54ce5a-dc89-476f-af33-5abd75d5b1e8" providerId="ADAL" clId="{43B71669-8A80-4333-9349-B258A9296B49}" dt="2024-02-27T17:26:59.393" v="6046" actId="478"/>
          <ac:spMkLst>
            <pc:docMk/>
            <pc:sldMk cId="1945724814" sldId="582"/>
            <ac:spMk id="565" creationId="{280F3A2B-7EB3-99AF-30A8-AC5406DA64DC}"/>
          </ac:spMkLst>
        </pc:spChg>
        <pc:spChg chg="del">
          <ac:chgData name="Bullinger, Marvin" userId="5b54ce5a-dc89-476f-af33-5abd75d5b1e8" providerId="ADAL" clId="{43B71669-8A80-4333-9349-B258A9296B49}" dt="2024-02-27T17:26:59.393" v="6045" actId="478"/>
          <ac:spMkLst>
            <pc:docMk/>
            <pc:sldMk cId="1945724814" sldId="582"/>
            <ac:spMk id="566" creationId="{0F32749D-EE35-6C9E-E2C3-64BF79698041}"/>
          </ac:spMkLst>
        </pc:spChg>
        <pc:spChg chg="del">
          <ac:chgData name="Bullinger, Marvin" userId="5b54ce5a-dc89-476f-af33-5abd75d5b1e8" providerId="ADAL" clId="{43B71669-8A80-4333-9349-B258A9296B49}" dt="2024-02-27T17:26:59.393" v="6044" actId="478"/>
          <ac:spMkLst>
            <pc:docMk/>
            <pc:sldMk cId="1945724814" sldId="582"/>
            <ac:spMk id="567" creationId="{3A5EDAA8-7ABD-98EC-4EA8-D5E40E407D35}"/>
          </ac:spMkLst>
        </pc:spChg>
        <pc:spChg chg="del">
          <ac:chgData name="Bullinger, Marvin" userId="5b54ce5a-dc89-476f-af33-5abd75d5b1e8" providerId="ADAL" clId="{43B71669-8A80-4333-9349-B258A9296B49}" dt="2024-02-27T17:26:59.403" v="6065" actId="478"/>
          <ac:spMkLst>
            <pc:docMk/>
            <pc:sldMk cId="1945724814" sldId="582"/>
            <ac:spMk id="568" creationId="{6B27E558-4A9D-6864-9371-73523B250C7C}"/>
          </ac:spMkLst>
        </pc:spChg>
        <pc:spChg chg="del">
          <ac:chgData name="Bullinger, Marvin" userId="5b54ce5a-dc89-476f-af33-5abd75d5b1e8" providerId="ADAL" clId="{43B71669-8A80-4333-9349-B258A9296B49}" dt="2024-02-27T17:26:59.403" v="6064" actId="478"/>
          <ac:spMkLst>
            <pc:docMk/>
            <pc:sldMk cId="1945724814" sldId="582"/>
            <ac:spMk id="569" creationId="{32EBE18A-E0FE-CFFB-962A-8F4BF95D9297}"/>
          </ac:spMkLst>
        </pc:spChg>
        <pc:spChg chg="del">
          <ac:chgData name="Bullinger, Marvin" userId="5b54ce5a-dc89-476f-af33-5abd75d5b1e8" providerId="ADAL" clId="{43B71669-8A80-4333-9349-B258A9296B49}" dt="2024-02-27T17:26:59.403" v="6063" actId="478"/>
          <ac:spMkLst>
            <pc:docMk/>
            <pc:sldMk cId="1945724814" sldId="582"/>
            <ac:spMk id="570" creationId="{95344DCC-1E1E-9CE4-27F3-A22B91EE4EAD}"/>
          </ac:spMkLst>
        </pc:spChg>
        <pc:spChg chg="del">
          <ac:chgData name="Bullinger, Marvin" userId="5b54ce5a-dc89-476f-af33-5abd75d5b1e8" providerId="ADAL" clId="{43B71669-8A80-4333-9349-B258A9296B49}" dt="2024-02-27T17:26:59.403" v="6062" actId="478"/>
          <ac:spMkLst>
            <pc:docMk/>
            <pc:sldMk cId="1945724814" sldId="582"/>
            <ac:spMk id="571" creationId="{721ED4AE-9D08-27CC-60A0-92E329E82954}"/>
          </ac:spMkLst>
        </pc:spChg>
        <pc:spChg chg="del">
          <ac:chgData name="Bullinger, Marvin" userId="5b54ce5a-dc89-476f-af33-5abd75d5b1e8" providerId="ADAL" clId="{43B71669-8A80-4333-9349-B258A9296B49}" dt="2024-02-27T17:26:59.403" v="6061" actId="478"/>
          <ac:spMkLst>
            <pc:docMk/>
            <pc:sldMk cId="1945724814" sldId="582"/>
            <ac:spMk id="572" creationId="{458D5C29-778C-1505-5D2A-51EC9C6B6C92}"/>
          </ac:spMkLst>
        </pc:spChg>
        <pc:spChg chg="del">
          <ac:chgData name="Bullinger, Marvin" userId="5b54ce5a-dc89-476f-af33-5abd75d5b1e8" providerId="ADAL" clId="{43B71669-8A80-4333-9349-B258A9296B49}" dt="2024-02-27T17:26:59.401" v="6060" actId="478"/>
          <ac:spMkLst>
            <pc:docMk/>
            <pc:sldMk cId="1945724814" sldId="582"/>
            <ac:spMk id="573" creationId="{7D853FBF-EBF3-FB65-C5B0-7DBA7929464F}"/>
          </ac:spMkLst>
        </pc:spChg>
        <pc:spChg chg="del">
          <ac:chgData name="Bullinger, Marvin" userId="5b54ce5a-dc89-476f-af33-5abd75d5b1e8" providerId="ADAL" clId="{43B71669-8A80-4333-9349-B258A9296B49}" dt="2024-02-27T17:26:59.401" v="6059" actId="478"/>
          <ac:spMkLst>
            <pc:docMk/>
            <pc:sldMk cId="1945724814" sldId="582"/>
            <ac:spMk id="574" creationId="{17761DEF-2D4C-57DB-B667-6F320AAA1095}"/>
          </ac:spMkLst>
        </pc:spChg>
        <pc:spChg chg="del">
          <ac:chgData name="Bullinger, Marvin" userId="5b54ce5a-dc89-476f-af33-5abd75d5b1e8" providerId="ADAL" clId="{43B71669-8A80-4333-9349-B258A9296B49}" dt="2024-02-27T17:26:59.401" v="6058" actId="478"/>
          <ac:spMkLst>
            <pc:docMk/>
            <pc:sldMk cId="1945724814" sldId="582"/>
            <ac:spMk id="575" creationId="{3E33B9EA-B359-8557-A65B-1429EF512A8E}"/>
          </ac:spMkLst>
        </pc:spChg>
        <pc:spChg chg="del">
          <ac:chgData name="Bullinger, Marvin" userId="5b54ce5a-dc89-476f-af33-5abd75d5b1e8" providerId="ADAL" clId="{43B71669-8A80-4333-9349-B258A9296B49}" dt="2024-02-27T17:26:59.393" v="6050" actId="478"/>
          <ac:spMkLst>
            <pc:docMk/>
            <pc:sldMk cId="1945724814" sldId="582"/>
            <ac:spMk id="576" creationId="{23FE8712-972F-83A8-E093-5B23CD84269D}"/>
          </ac:spMkLst>
        </pc:spChg>
        <pc:spChg chg="del">
          <ac:chgData name="Bullinger, Marvin" userId="5b54ce5a-dc89-476f-af33-5abd75d5b1e8" providerId="ADAL" clId="{43B71669-8A80-4333-9349-B258A9296B49}" dt="2024-02-27T17:26:59.393" v="6043" actId="478"/>
          <ac:spMkLst>
            <pc:docMk/>
            <pc:sldMk cId="1945724814" sldId="582"/>
            <ac:spMk id="577" creationId="{80E555FD-F65C-E702-4A68-E2E8D1EC4194}"/>
          </ac:spMkLst>
        </pc:spChg>
        <pc:spChg chg="del">
          <ac:chgData name="Bullinger, Marvin" userId="5b54ce5a-dc89-476f-af33-5abd75d5b1e8" providerId="ADAL" clId="{43B71669-8A80-4333-9349-B258A9296B49}" dt="2024-02-27T17:26:59.393" v="6051" actId="478"/>
          <ac:spMkLst>
            <pc:docMk/>
            <pc:sldMk cId="1945724814" sldId="582"/>
            <ac:spMk id="578" creationId="{2D94607A-8DF1-AC4C-AF77-AF39A2F9FBF9}"/>
          </ac:spMkLst>
        </pc:spChg>
        <pc:spChg chg="del">
          <ac:chgData name="Bullinger, Marvin" userId="5b54ce5a-dc89-476f-af33-5abd75d5b1e8" providerId="ADAL" clId="{43B71669-8A80-4333-9349-B258A9296B49}" dt="2024-02-27T17:26:59.392" v="6042" actId="478"/>
          <ac:spMkLst>
            <pc:docMk/>
            <pc:sldMk cId="1945724814" sldId="582"/>
            <ac:spMk id="579" creationId="{7D5E82D7-9DDF-7C77-2E52-A8460DD0089C}"/>
          </ac:spMkLst>
        </pc:spChg>
        <pc:spChg chg="del">
          <ac:chgData name="Bullinger, Marvin" userId="5b54ce5a-dc89-476f-af33-5abd75d5b1e8" providerId="ADAL" clId="{43B71669-8A80-4333-9349-B258A9296B49}" dt="2024-02-27T17:26:59.392" v="6041" actId="478"/>
          <ac:spMkLst>
            <pc:docMk/>
            <pc:sldMk cId="1945724814" sldId="582"/>
            <ac:spMk id="580" creationId="{6F1DDEE7-9CB5-3D88-5AAA-8D20DA5A1A6E}"/>
          </ac:spMkLst>
        </pc:spChg>
        <pc:spChg chg="del">
          <ac:chgData name="Bullinger, Marvin" userId="5b54ce5a-dc89-476f-af33-5abd75d5b1e8" providerId="ADAL" clId="{43B71669-8A80-4333-9349-B258A9296B49}" dt="2024-02-27T17:26:59.391" v="6040" actId="478"/>
          <ac:spMkLst>
            <pc:docMk/>
            <pc:sldMk cId="1945724814" sldId="582"/>
            <ac:spMk id="581" creationId="{FA7492F8-1D1A-4A09-FC2A-A96247EF2E5E}"/>
          </ac:spMkLst>
        </pc:spChg>
        <pc:spChg chg="del">
          <ac:chgData name="Bullinger, Marvin" userId="5b54ce5a-dc89-476f-af33-5abd75d5b1e8" providerId="ADAL" clId="{43B71669-8A80-4333-9349-B258A9296B49}" dt="2024-02-27T17:26:59.383" v="6039" actId="478"/>
          <ac:spMkLst>
            <pc:docMk/>
            <pc:sldMk cId="1945724814" sldId="582"/>
            <ac:spMk id="582" creationId="{90DDE73E-599B-0D6C-A949-6D465F6CDD67}"/>
          </ac:spMkLst>
        </pc:spChg>
        <pc:spChg chg="del">
          <ac:chgData name="Bullinger, Marvin" userId="5b54ce5a-dc89-476f-af33-5abd75d5b1e8" providerId="ADAL" clId="{43B71669-8A80-4333-9349-B258A9296B49}" dt="2024-02-27T17:26:59.383" v="6038" actId="478"/>
          <ac:spMkLst>
            <pc:docMk/>
            <pc:sldMk cId="1945724814" sldId="582"/>
            <ac:spMk id="583" creationId="{63D931EE-19A6-186A-732A-FF9D5AC5FE5A}"/>
          </ac:spMkLst>
        </pc:spChg>
        <pc:spChg chg="del">
          <ac:chgData name="Bullinger, Marvin" userId="5b54ce5a-dc89-476f-af33-5abd75d5b1e8" providerId="ADAL" clId="{43B71669-8A80-4333-9349-B258A9296B49}" dt="2024-02-27T17:26:59.383" v="6037" actId="478"/>
          <ac:spMkLst>
            <pc:docMk/>
            <pc:sldMk cId="1945724814" sldId="582"/>
            <ac:spMk id="584" creationId="{02045E7E-3EB7-DB37-EF31-CB44BBC2031D}"/>
          </ac:spMkLst>
        </pc:spChg>
        <pc:spChg chg="del">
          <ac:chgData name="Bullinger, Marvin" userId="5b54ce5a-dc89-476f-af33-5abd75d5b1e8" providerId="ADAL" clId="{43B71669-8A80-4333-9349-B258A9296B49}" dt="2024-02-27T17:26:59.383" v="6036" actId="478"/>
          <ac:spMkLst>
            <pc:docMk/>
            <pc:sldMk cId="1945724814" sldId="582"/>
            <ac:spMk id="585" creationId="{FFFEB32F-06AD-96FD-BA93-E1424592362E}"/>
          </ac:spMkLst>
        </pc:spChg>
        <pc:spChg chg="del">
          <ac:chgData name="Bullinger, Marvin" userId="5b54ce5a-dc89-476f-af33-5abd75d5b1e8" providerId="ADAL" clId="{43B71669-8A80-4333-9349-B258A9296B49}" dt="2024-02-27T17:26:59.383" v="6035" actId="478"/>
          <ac:spMkLst>
            <pc:docMk/>
            <pc:sldMk cId="1945724814" sldId="582"/>
            <ac:spMk id="586" creationId="{7E31AB86-29C9-26A9-1B6F-C05D3B481EFD}"/>
          </ac:spMkLst>
        </pc:spChg>
        <pc:spChg chg="del">
          <ac:chgData name="Bullinger, Marvin" userId="5b54ce5a-dc89-476f-af33-5abd75d5b1e8" providerId="ADAL" clId="{43B71669-8A80-4333-9349-B258A9296B49}" dt="2024-02-27T17:26:59.383" v="6034" actId="478"/>
          <ac:spMkLst>
            <pc:docMk/>
            <pc:sldMk cId="1945724814" sldId="582"/>
            <ac:spMk id="587" creationId="{338834D7-580C-26AD-26D8-E7BC4AB6FEB3}"/>
          </ac:spMkLst>
        </pc:spChg>
        <pc:spChg chg="del">
          <ac:chgData name="Bullinger, Marvin" userId="5b54ce5a-dc89-476f-af33-5abd75d5b1e8" providerId="ADAL" clId="{43B71669-8A80-4333-9349-B258A9296B49}" dt="2024-02-27T17:26:59.383" v="6033" actId="478"/>
          <ac:spMkLst>
            <pc:docMk/>
            <pc:sldMk cId="1945724814" sldId="582"/>
            <ac:spMk id="588" creationId="{ACBCF5EF-6795-FB43-EF0E-E7E7F0678D2A}"/>
          </ac:spMkLst>
        </pc:spChg>
        <pc:spChg chg="del">
          <ac:chgData name="Bullinger, Marvin" userId="5b54ce5a-dc89-476f-af33-5abd75d5b1e8" providerId="ADAL" clId="{43B71669-8A80-4333-9349-B258A9296B49}" dt="2024-02-27T17:26:59.383" v="6032" actId="478"/>
          <ac:spMkLst>
            <pc:docMk/>
            <pc:sldMk cId="1945724814" sldId="582"/>
            <ac:spMk id="589" creationId="{B595A54D-C7E0-F7BA-0612-50BC2D6CF33A}"/>
          </ac:spMkLst>
        </pc:spChg>
        <pc:spChg chg="del">
          <ac:chgData name="Bullinger, Marvin" userId="5b54ce5a-dc89-476f-af33-5abd75d5b1e8" providerId="ADAL" clId="{43B71669-8A80-4333-9349-B258A9296B49}" dt="2024-02-27T17:26:59.383" v="6031" actId="478"/>
          <ac:spMkLst>
            <pc:docMk/>
            <pc:sldMk cId="1945724814" sldId="582"/>
            <ac:spMk id="590" creationId="{E02948C1-5203-DA8E-87D5-E9009115BD33}"/>
          </ac:spMkLst>
        </pc:spChg>
        <pc:spChg chg="del">
          <ac:chgData name="Bullinger, Marvin" userId="5b54ce5a-dc89-476f-af33-5abd75d5b1e8" providerId="ADAL" clId="{43B71669-8A80-4333-9349-B258A9296B49}" dt="2024-02-27T17:26:59.383" v="6030" actId="478"/>
          <ac:spMkLst>
            <pc:docMk/>
            <pc:sldMk cId="1945724814" sldId="582"/>
            <ac:spMk id="591" creationId="{AF05ABB2-1B4A-54AF-2048-ACF5A446603D}"/>
          </ac:spMkLst>
        </pc:spChg>
        <pc:spChg chg="del">
          <ac:chgData name="Bullinger, Marvin" userId="5b54ce5a-dc89-476f-af33-5abd75d5b1e8" providerId="ADAL" clId="{43B71669-8A80-4333-9349-B258A9296B49}" dt="2024-02-27T17:26:59.383" v="6029" actId="478"/>
          <ac:spMkLst>
            <pc:docMk/>
            <pc:sldMk cId="1945724814" sldId="582"/>
            <ac:spMk id="592" creationId="{7AB24544-2C7A-2994-14D6-85D88BED899C}"/>
          </ac:spMkLst>
        </pc:spChg>
        <pc:spChg chg="replST">
          <ac:chgData name="Bullinger, Marvin" userId="5b54ce5a-dc89-476f-af33-5abd75d5b1e8" providerId="ADAL" clId="{43B71669-8A80-4333-9349-B258A9296B49}" dt="2024-02-27T17:27:00.507" v="6579"/>
          <ac:spMkLst>
            <pc:docMk/>
            <pc:sldMk cId="1945724814" sldId="582"/>
            <ac:spMk id="593" creationId="{23F27448-BD18-1591-4CE2-13CCC6340E8A}"/>
          </ac:spMkLst>
        </pc:spChg>
        <pc:spChg chg="replST">
          <ac:chgData name="Bullinger, Marvin" userId="5b54ce5a-dc89-476f-af33-5abd75d5b1e8" providerId="ADAL" clId="{43B71669-8A80-4333-9349-B258A9296B49}" dt="2024-02-27T17:27:00.507" v="6582"/>
          <ac:spMkLst>
            <pc:docMk/>
            <pc:sldMk cId="1945724814" sldId="582"/>
            <ac:spMk id="594" creationId="{AD863036-23F1-6594-43DE-6730C7EDBDC6}"/>
          </ac:spMkLst>
        </pc:spChg>
        <pc:spChg chg="replST">
          <ac:chgData name="Bullinger, Marvin" userId="5b54ce5a-dc89-476f-af33-5abd75d5b1e8" providerId="ADAL" clId="{43B71669-8A80-4333-9349-B258A9296B49}" dt="2024-02-27T17:27:00.507" v="6586"/>
          <ac:spMkLst>
            <pc:docMk/>
            <pc:sldMk cId="1945724814" sldId="582"/>
            <ac:spMk id="596" creationId="{93A83B92-8748-402F-D340-5F1CBE3CF85E}"/>
          </ac:spMkLst>
        </pc:spChg>
        <pc:spChg chg="replST">
          <ac:chgData name="Bullinger, Marvin" userId="5b54ce5a-dc89-476f-af33-5abd75d5b1e8" providerId="ADAL" clId="{43B71669-8A80-4333-9349-B258A9296B49}" dt="2024-02-27T17:27:00.525" v="6589"/>
          <ac:spMkLst>
            <pc:docMk/>
            <pc:sldMk cId="1945724814" sldId="582"/>
            <ac:spMk id="597" creationId="{5F68A72E-F868-E51E-B53F-3E58DC12F866}"/>
          </ac:spMkLst>
        </pc:spChg>
        <pc:spChg chg="replST">
          <ac:chgData name="Bullinger, Marvin" userId="5b54ce5a-dc89-476f-af33-5abd75d5b1e8" providerId="ADAL" clId="{43B71669-8A80-4333-9349-B258A9296B49}" dt="2024-02-27T17:27:00.525" v="6593"/>
          <ac:spMkLst>
            <pc:docMk/>
            <pc:sldMk cId="1945724814" sldId="582"/>
            <ac:spMk id="599" creationId="{CCBED675-4A12-4897-859A-F4F52A4A84B9}"/>
          </ac:spMkLst>
        </pc:spChg>
        <pc:spChg chg="replST">
          <ac:chgData name="Bullinger, Marvin" userId="5b54ce5a-dc89-476f-af33-5abd75d5b1e8" providerId="ADAL" clId="{43B71669-8A80-4333-9349-B258A9296B49}" dt="2024-02-27T17:27:00.540" v="6596"/>
          <ac:spMkLst>
            <pc:docMk/>
            <pc:sldMk cId="1945724814" sldId="582"/>
            <ac:spMk id="600" creationId="{1F540D9C-FEF0-CC52-B2E6-1997181F7631}"/>
          </ac:spMkLst>
        </pc:spChg>
        <pc:spChg chg="replST">
          <ac:chgData name="Bullinger, Marvin" userId="5b54ce5a-dc89-476f-af33-5abd75d5b1e8" providerId="ADAL" clId="{43B71669-8A80-4333-9349-B258A9296B49}" dt="2024-02-27T17:27:00.540" v="6600"/>
          <ac:spMkLst>
            <pc:docMk/>
            <pc:sldMk cId="1945724814" sldId="582"/>
            <ac:spMk id="602" creationId="{908922EE-0F71-EE3B-5622-CAF788D14FA2}"/>
          </ac:spMkLst>
        </pc:spChg>
        <pc:spChg chg="replST">
          <ac:chgData name="Bullinger, Marvin" userId="5b54ce5a-dc89-476f-af33-5abd75d5b1e8" providerId="ADAL" clId="{43B71669-8A80-4333-9349-B258A9296B49}" dt="2024-02-27T17:27:00.540" v="6603"/>
          <ac:spMkLst>
            <pc:docMk/>
            <pc:sldMk cId="1945724814" sldId="582"/>
            <ac:spMk id="603" creationId="{47F8A135-80D1-DA91-B265-5A933B3A2C3F}"/>
          </ac:spMkLst>
        </pc:spChg>
        <pc:spChg chg="replST">
          <ac:chgData name="Bullinger, Marvin" userId="5b54ce5a-dc89-476f-af33-5abd75d5b1e8" providerId="ADAL" clId="{43B71669-8A80-4333-9349-B258A9296B49}" dt="2024-02-27T17:27:00.556" v="6607"/>
          <ac:spMkLst>
            <pc:docMk/>
            <pc:sldMk cId="1945724814" sldId="582"/>
            <ac:spMk id="605" creationId="{57D86D13-AFA6-52AC-6587-833A99FC221E}"/>
          </ac:spMkLst>
        </pc:spChg>
        <pc:spChg chg="replST">
          <ac:chgData name="Bullinger, Marvin" userId="5b54ce5a-dc89-476f-af33-5abd75d5b1e8" providerId="ADAL" clId="{43B71669-8A80-4333-9349-B258A9296B49}" dt="2024-02-27T17:27:00.564" v="6610"/>
          <ac:spMkLst>
            <pc:docMk/>
            <pc:sldMk cId="1945724814" sldId="582"/>
            <ac:spMk id="606" creationId="{801686EE-6087-9E01-62C6-3047CBD1244D}"/>
          </ac:spMkLst>
        </pc:spChg>
        <pc:spChg chg="replST">
          <ac:chgData name="Bullinger, Marvin" userId="5b54ce5a-dc89-476f-af33-5abd75d5b1e8" providerId="ADAL" clId="{43B71669-8A80-4333-9349-B258A9296B49}" dt="2024-02-27T17:27:00.572" v="6614"/>
          <ac:spMkLst>
            <pc:docMk/>
            <pc:sldMk cId="1945724814" sldId="582"/>
            <ac:spMk id="608" creationId="{99529268-2083-5902-6015-01EFA5E11306}"/>
          </ac:spMkLst>
        </pc:spChg>
        <pc:spChg chg="replST">
          <ac:chgData name="Bullinger, Marvin" userId="5b54ce5a-dc89-476f-af33-5abd75d5b1e8" providerId="ADAL" clId="{43B71669-8A80-4333-9349-B258A9296B49}" dt="2024-02-27T17:27:00.572" v="6617"/>
          <ac:spMkLst>
            <pc:docMk/>
            <pc:sldMk cId="1945724814" sldId="582"/>
            <ac:spMk id="609" creationId="{CEE1364C-183A-6544-EF49-D76E9F13B85E}"/>
          </ac:spMkLst>
        </pc:spChg>
        <pc:spChg chg="del ord replST">
          <ac:chgData name="Bullinger, Marvin" userId="5b54ce5a-dc89-476f-af33-5abd75d5b1e8" providerId="ADAL" clId="{43B71669-8A80-4333-9349-B258A9296B49}" dt="2024-02-27T17:27:37.045" v="7126" actId="478"/>
          <ac:spMkLst>
            <pc:docMk/>
            <pc:sldMk cId="1945724814" sldId="582"/>
            <ac:spMk id="610" creationId="{EBFCADE4-E674-C231-228E-4945DAF1400C}"/>
          </ac:spMkLst>
        </pc:spChg>
        <pc:spChg chg="replST">
          <ac:chgData name="Bullinger, Marvin" userId="5b54ce5a-dc89-476f-af33-5abd75d5b1e8" providerId="ADAL" clId="{43B71669-8A80-4333-9349-B258A9296B49}" dt="2024-02-27T17:27:00.580" v="6621"/>
          <ac:spMkLst>
            <pc:docMk/>
            <pc:sldMk cId="1945724814" sldId="582"/>
            <ac:spMk id="611" creationId="{0CF8AF17-C01C-0C34-BEE5-13644736CF92}"/>
          </ac:spMkLst>
        </pc:spChg>
        <pc:spChg chg="replST">
          <ac:chgData name="Bullinger, Marvin" userId="5b54ce5a-dc89-476f-af33-5abd75d5b1e8" providerId="ADAL" clId="{43B71669-8A80-4333-9349-B258A9296B49}" dt="2024-02-27T17:27:00.588" v="6624"/>
          <ac:spMkLst>
            <pc:docMk/>
            <pc:sldMk cId="1945724814" sldId="582"/>
            <ac:spMk id="612" creationId="{1EABFE9F-6940-3DE5-B1FE-0D32EDA3CF43}"/>
          </ac:spMkLst>
        </pc:spChg>
        <pc:spChg chg="replST">
          <ac:chgData name="Bullinger, Marvin" userId="5b54ce5a-dc89-476f-af33-5abd75d5b1e8" providerId="ADAL" clId="{43B71669-8A80-4333-9349-B258A9296B49}" dt="2024-02-27T17:27:00.588" v="6628"/>
          <ac:spMkLst>
            <pc:docMk/>
            <pc:sldMk cId="1945724814" sldId="582"/>
            <ac:spMk id="614" creationId="{64C44637-4B05-DE46-7445-E989A07888FB}"/>
          </ac:spMkLst>
        </pc:spChg>
        <pc:spChg chg="replST">
          <ac:chgData name="Bullinger, Marvin" userId="5b54ce5a-dc89-476f-af33-5abd75d5b1e8" providerId="ADAL" clId="{43B71669-8A80-4333-9349-B258A9296B49}" dt="2024-02-27T17:27:00.597" v="6631"/>
          <ac:spMkLst>
            <pc:docMk/>
            <pc:sldMk cId="1945724814" sldId="582"/>
            <ac:spMk id="615" creationId="{5EF9745D-B999-3E0C-AC2B-13CE1EEF7C21}"/>
          </ac:spMkLst>
        </pc:spChg>
        <pc:spChg chg="add mod">
          <ac:chgData name="Bullinger, Marvin" userId="5b54ce5a-dc89-476f-af33-5abd75d5b1e8" providerId="ADAL" clId="{43B71669-8A80-4333-9349-B258A9296B49}" dt="2024-02-27T17:27:37.045" v="7120" actId="478"/>
          <ac:spMkLst>
            <pc:docMk/>
            <pc:sldMk cId="1945724814" sldId="582"/>
            <ac:spMk id="656" creationId="{8C6D5789-398B-8BCE-1097-C062230C7765}"/>
          </ac:spMkLst>
        </pc:spChg>
        <pc:spChg chg="mod ord replST">
          <ac:chgData name="Bullinger, Marvin" userId="5b54ce5a-dc89-476f-af33-5abd75d5b1e8" providerId="ADAL" clId="{43B71669-8A80-4333-9349-B258A9296B49}" dt="2024-02-27T17:27:38.106" v="7617"/>
          <ac:spMkLst>
            <pc:docMk/>
            <pc:sldMk cId="1945724814" sldId="582"/>
            <ac:spMk id="657" creationId="{CCDA67B8-D9A1-4D33-F6ED-B6452DC86F82}"/>
          </ac:spMkLst>
        </pc:spChg>
        <pc:spChg chg="del">
          <ac:chgData name="Bullinger, Marvin" userId="5b54ce5a-dc89-476f-af33-5abd75d5b1e8" providerId="ADAL" clId="{43B71669-8A80-4333-9349-B258A9296B49}" dt="2024-02-27T17:27:37.076" v="7158" actId="478"/>
          <ac:spMkLst>
            <pc:docMk/>
            <pc:sldMk cId="1945724814" sldId="582"/>
            <ac:spMk id="658" creationId="{5B38270E-359A-8146-9BF2-73EF87E28937}"/>
          </ac:spMkLst>
        </pc:spChg>
        <pc:spChg chg="del">
          <ac:chgData name="Bullinger, Marvin" userId="5b54ce5a-dc89-476f-af33-5abd75d5b1e8" providerId="ADAL" clId="{43B71669-8A80-4333-9349-B258A9296B49}" dt="2024-02-27T17:27:37.076" v="7157" actId="478"/>
          <ac:spMkLst>
            <pc:docMk/>
            <pc:sldMk cId="1945724814" sldId="582"/>
            <ac:spMk id="659" creationId="{A317AC89-3756-2BC0-F8A4-F905DBA01A98}"/>
          </ac:spMkLst>
        </pc:spChg>
        <pc:spChg chg="del">
          <ac:chgData name="Bullinger, Marvin" userId="5b54ce5a-dc89-476f-af33-5abd75d5b1e8" providerId="ADAL" clId="{43B71669-8A80-4333-9349-B258A9296B49}" dt="2024-02-27T17:27:37.076" v="7156" actId="478"/>
          <ac:spMkLst>
            <pc:docMk/>
            <pc:sldMk cId="1945724814" sldId="582"/>
            <ac:spMk id="660" creationId="{6420EDD2-37F6-718D-F6CD-AEDAA93E260E}"/>
          </ac:spMkLst>
        </pc:spChg>
        <pc:spChg chg="del">
          <ac:chgData name="Bullinger, Marvin" userId="5b54ce5a-dc89-476f-af33-5abd75d5b1e8" providerId="ADAL" clId="{43B71669-8A80-4333-9349-B258A9296B49}" dt="2024-02-27T17:27:37.076" v="7155" actId="478"/>
          <ac:spMkLst>
            <pc:docMk/>
            <pc:sldMk cId="1945724814" sldId="582"/>
            <ac:spMk id="661" creationId="{C74E4676-3A16-B95A-C3F4-1DE441EFD20A}"/>
          </ac:spMkLst>
        </pc:spChg>
        <pc:spChg chg="del">
          <ac:chgData name="Bullinger, Marvin" userId="5b54ce5a-dc89-476f-af33-5abd75d5b1e8" providerId="ADAL" clId="{43B71669-8A80-4333-9349-B258A9296B49}" dt="2024-02-27T17:27:37.076" v="7154" actId="478"/>
          <ac:spMkLst>
            <pc:docMk/>
            <pc:sldMk cId="1945724814" sldId="582"/>
            <ac:spMk id="662" creationId="{EC30D732-64E5-5BE2-6007-41B95A711D4A}"/>
          </ac:spMkLst>
        </pc:spChg>
        <pc:spChg chg="del">
          <ac:chgData name="Bullinger, Marvin" userId="5b54ce5a-dc89-476f-af33-5abd75d5b1e8" providerId="ADAL" clId="{43B71669-8A80-4333-9349-B258A9296B49}" dt="2024-02-27T17:27:37.076" v="7153" actId="478"/>
          <ac:spMkLst>
            <pc:docMk/>
            <pc:sldMk cId="1945724814" sldId="582"/>
            <ac:spMk id="663" creationId="{1FD8253E-CCA3-D873-B0B7-1872E00A703F}"/>
          </ac:spMkLst>
        </pc:spChg>
        <pc:spChg chg="del">
          <ac:chgData name="Bullinger, Marvin" userId="5b54ce5a-dc89-476f-af33-5abd75d5b1e8" providerId="ADAL" clId="{43B71669-8A80-4333-9349-B258A9296B49}" dt="2024-02-27T17:27:37.076" v="7150" actId="478"/>
          <ac:spMkLst>
            <pc:docMk/>
            <pc:sldMk cId="1945724814" sldId="582"/>
            <ac:spMk id="664" creationId="{6654FB67-12E3-86F2-71EC-F541648C0AF7}"/>
          </ac:spMkLst>
        </pc:spChg>
        <pc:spChg chg="del">
          <ac:chgData name="Bullinger, Marvin" userId="5b54ce5a-dc89-476f-af33-5abd75d5b1e8" providerId="ADAL" clId="{43B71669-8A80-4333-9349-B258A9296B49}" dt="2024-02-27T17:27:37.076" v="7149" actId="478"/>
          <ac:spMkLst>
            <pc:docMk/>
            <pc:sldMk cId="1945724814" sldId="582"/>
            <ac:spMk id="665" creationId="{3B454EAA-6DF7-A027-C977-FBF89A667FA1}"/>
          </ac:spMkLst>
        </pc:spChg>
        <pc:spChg chg="del">
          <ac:chgData name="Bullinger, Marvin" userId="5b54ce5a-dc89-476f-af33-5abd75d5b1e8" providerId="ADAL" clId="{43B71669-8A80-4333-9349-B258A9296B49}" dt="2024-02-27T17:27:37.076" v="7148" actId="478"/>
          <ac:spMkLst>
            <pc:docMk/>
            <pc:sldMk cId="1945724814" sldId="582"/>
            <ac:spMk id="666" creationId="{A4116E69-5E4D-8AA8-9759-B7B3722C3737}"/>
          </ac:spMkLst>
        </pc:spChg>
        <pc:spChg chg="del">
          <ac:chgData name="Bullinger, Marvin" userId="5b54ce5a-dc89-476f-af33-5abd75d5b1e8" providerId="ADAL" clId="{43B71669-8A80-4333-9349-B258A9296B49}" dt="2024-02-27T17:27:37.074" v="7147" actId="478"/>
          <ac:spMkLst>
            <pc:docMk/>
            <pc:sldMk cId="1945724814" sldId="582"/>
            <ac:spMk id="667" creationId="{E7D9342D-425A-5A93-BD09-90CA000D87C8}"/>
          </ac:spMkLst>
        </pc:spChg>
        <pc:spChg chg="del">
          <ac:chgData name="Bullinger, Marvin" userId="5b54ce5a-dc89-476f-af33-5abd75d5b1e8" providerId="ADAL" clId="{43B71669-8A80-4333-9349-B258A9296B49}" dt="2024-02-27T17:27:37.074" v="7146" actId="478"/>
          <ac:spMkLst>
            <pc:docMk/>
            <pc:sldMk cId="1945724814" sldId="582"/>
            <ac:spMk id="668" creationId="{A741AC78-176D-3194-D24B-E42DA82D8887}"/>
          </ac:spMkLst>
        </pc:spChg>
        <pc:spChg chg="del">
          <ac:chgData name="Bullinger, Marvin" userId="5b54ce5a-dc89-476f-af33-5abd75d5b1e8" providerId="ADAL" clId="{43B71669-8A80-4333-9349-B258A9296B49}" dt="2024-02-27T17:27:37.074" v="7145" actId="478"/>
          <ac:spMkLst>
            <pc:docMk/>
            <pc:sldMk cId="1945724814" sldId="582"/>
            <ac:spMk id="669" creationId="{7C8BCA3F-8A64-048F-285E-3D5A91794092}"/>
          </ac:spMkLst>
        </pc:spChg>
        <pc:spChg chg="del">
          <ac:chgData name="Bullinger, Marvin" userId="5b54ce5a-dc89-476f-af33-5abd75d5b1e8" providerId="ADAL" clId="{43B71669-8A80-4333-9349-B258A9296B49}" dt="2024-02-27T17:27:37.085" v="7166" actId="478"/>
          <ac:spMkLst>
            <pc:docMk/>
            <pc:sldMk cId="1945724814" sldId="582"/>
            <ac:spMk id="670" creationId="{71BCB6E1-AAC7-BC38-62D9-CEFF3BBCD445}"/>
          </ac:spMkLst>
        </pc:spChg>
        <pc:spChg chg="del">
          <ac:chgData name="Bullinger, Marvin" userId="5b54ce5a-dc89-476f-af33-5abd75d5b1e8" providerId="ADAL" clId="{43B71669-8A80-4333-9349-B258A9296B49}" dt="2024-02-27T17:27:37.085" v="7165" actId="478"/>
          <ac:spMkLst>
            <pc:docMk/>
            <pc:sldMk cId="1945724814" sldId="582"/>
            <ac:spMk id="671" creationId="{65B53832-C060-21D1-89D4-5C1A18EA3A7B}"/>
          </ac:spMkLst>
        </pc:spChg>
        <pc:spChg chg="del">
          <ac:chgData name="Bullinger, Marvin" userId="5b54ce5a-dc89-476f-af33-5abd75d5b1e8" providerId="ADAL" clId="{43B71669-8A80-4333-9349-B258A9296B49}" dt="2024-02-27T17:27:37.084" v="7164" actId="478"/>
          <ac:spMkLst>
            <pc:docMk/>
            <pc:sldMk cId="1945724814" sldId="582"/>
            <ac:spMk id="672" creationId="{10061BEC-9475-192D-F793-95E665C631E9}"/>
          </ac:spMkLst>
        </pc:spChg>
        <pc:spChg chg="del">
          <ac:chgData name="Bullinger, Marvin" userId="5b54ce5a-dc89-476f-af33-5abd75d5b1e8" providerId="ADAL" clId="{43B71669-8A80-4333-9349-B258A9296B49}" dt="2024-02-27T17:27:37.076" v="7163" actId="478"/>
          <ac:spMkLst>
            <pc:docMk/>
            <pc:sldMk cId="1945724814" sldId="582"/>
            <ac:spMk id="673" creationId="{4D18E7F1-D08A-39C1-E9F7-D2243416F6F1}"/>
          </ac:spMkLst>
        </pc:spChg>
        <pc:spChg chg="del">
          <ac:chgData name="Bullinger, Marvin" userId="5b54ce5a-dc89-476f-af33-5abd75d5b1e8" providerId="ADAL" clId="{43B71669-8A80-4333-9349-B258A9296B49}" dt="2024-02-27T17:27:37.076" v="7162" actId="478"/>
          <ac:spMkLst>
            <pc:docMk/>
            <pc:sldMk cId="1945724814" sldId="582"/>
            <ac:spMk id="674" creationId="{F5A5C915-E525-44EF-39AD-DFE1BC6080E4}"/>
          </ac:spMkLst>
        </pc:spChg>
        <pc:spChg chg="del">
          <ac:chgData name="Bullinger, Marvin" userId="5b54ce5a-dc89-476f-af33-5abd75d5b1e8" providerId="ADAL" clId="{43B71669-8A80-4333-9349-B258A9296B49}" dt="2024-02-27T17:27:37.076" v="7161" actId="478"/>
          <ac:spMkLst>
            <pc:docMk/>
            <pc:sldMk cId="1945724814" sldId="582"/>
            <ac:spMk id="675" creationId="{4CD35469-1CB1-CA32-ADF4-26608BA1DF38}"/>
          </ac:spMkLst>
        </pc:spChg>
        <pc:spChg chg="del">
          <ac:chgData name="Bullinger, Marvin" userId="5b54ce5a-dc89-476f-af33-5abd75d5b1e8" providerId="ADAL" clId="{43B71669-8A80-4333-9349-B258A9296B49}" dt="2024-02-27T17:27:37.076" v="7160" actId="478"/>
          <ac:spMkLst>
            <pc:docMk/>
            <pc:sldMk cId="1945724814" sldId="582"/>
            <ac:spMk id="676" creationId="{C69778F1-C968-47AC-72C4-F902793A6B3E}"/>
          </ac:spMkLst>
        </pc:spChg>
        <pc:spChg chg="del">
          <ac:chgData name="Bullinger, Marvin" userId="5b54ce5a-dc89-476f-af33-5abd75d5b1e8" providerId="ADAL" clId="{43B71669-8A80-4333-9349-B258A9296B49}" dt="2024-02-27T17:27:37.076" v="7159" actId="478"/>
          <ac:spMkLst>
            <pc:docMk/>
            <pc:sldMk cId="1945724814" sldId="582"/>
            <ac:spMk id="677" creationId="{93AC3FF7-B92F-BFA9-96BE-9F8271BAA5E2}"/>
          </ac:spMkLst>
        </pc:spChg>
        <pc:spChg chg="del">
          <ac:chgData name="Bullinger, Marvin" userId="5b54ce5a-dc89-476f-af33-5abd75d5b1e8" providerId="ADAL" clId="{43B71669-8A80-4333-9349-B258A9296B49}" dt="2024-02-27T17:27:37.076" v="7151" actId="478"/>
          <ac:spMkLst>
            <pc:docMk/>
            <pc:sldMk cId="1945724814" sldId="582"/>
            <ac:spMk id="678" creationId="{A3B307AF-A63F-19C8-0FE1-C69079D5379D}"/>
          </ac:spMkLst>
        </pc:spChg>
        <pc:spChg chg="del">
          <ac:chgData name="Bullinger, Marvin" userId="5b54ce5a-dc89-476f-af33-5abd75d5b1e8" providerId="ADAL" clId="{43B71669-8A80-4333-9349-B258A9296B49}" dt="2024-02-27T17:27:37.074" v="7144" actId="478"/>
          <ac:spMkLst>
            <pc:docMk/>
            <pc:sldMk cId="1945724814" sldId="582"/>
            <ac:spMk id="679" creationId="{DA380D66-0EEC-9A34-0C87-3CD3BFAB7508}"/>
          </ac:spMkLst>
        </pc:spChg>
        <pc:spChg chg="del">
          <ac:chgData name="Bullinger, Marvin" userId="5b54ce5a-dc89-476f-af33-5abd75d5b1e8" providerId="ADAL" clId="{43B71669-8A80-4333-9349-B258A9296B49}" dt="2024-02-27T17:27:37.076" v="7152" actId="478"/>
          <ac:spMkLst>
            <pc:docMk/>
            <pc:sldMk cId="1945724814" sldId="582"/>
            <ac:spMk id="680" creationId="{76333B07-ED2C-4126-B22F-28983D263428}"/>
          </ac:spMkLst>
        </pc:spChg>
        <pc:spChg chg="del">
          <ac:chgData name="Bullinger, Marvin" userId="5b54ce5a-dc89-476f-af33-5abd75d5b1e8" providerId="ADAL" clId="{43B71669-8A80-4333-9349-B258A9296B49}" dt="2024-02-27T17:27:37.066" v="7143" actId="478"/>
          <ac:spMkLst>
            <pc:docMk/>
            <pc:sldMk cId="1945724814" sldId="582"/>
            <ac:spMk id="681" creationId="{E044DC65-5C3C-8B36-48FC-0027AED339A7}"/>
          </ac:spMkLst>
        </pc:spChg>
        <pc:spChg chg="del">
          <ac:chgData name="Bullinger, Marvin" userId="5b54ce5a-dc89-476f-af33-5abd75d5b1e8" providerId="ADAL" clId="{43B71669-8A80-4333-9349-B258A9296B49}" dt="2024-02-27T17:27:37.066" v="7142" actId="478"/>
          <ac:spMkLst>
            <pc:docMk/>
            <pc:sldMk cId="1945724814" sldId="582"/>
            <ac:spMk id="682" creationId="{C9F0E706-1C06-15A3-9469-D586D56A7E2A}"/>
          </ac:spMkLst>
        </pc:spChg>
        <pc:spChg chg="del">
          <ac:chgData name="Bullinger, Marvin" userId="5b54ce5a-dc89-476f-af33-5abd75d5b1e8" providerId="ADAL" clId="{43B71669-8A80-4333-9349-B258A9296B49}" dt="2024-02-27T17:27:37.066" v="7141" actId="478"/>
          <ac:spMkLst>
            <pc:docMk/>
            <pc:sldMk cId="1945724814" sldId="582"/>
            <ac:spMk id="683" creationId="{6D398724-2703-1AB1-FB41-1D5BA2325175}"/>
          </ac:spMkLst>
        </pc:spChg>
        <pc:spChg chg="del">
          <ac:chgData name="Bullinger, Marvin" userId="5b54ce5a-dc89-476f-af33-5abd75d5b1e8" providerId="ADAL" clId="{43B71669-8A80-4333-9349-B258A9296B49}" dt="2024-02-27T17:27:37.066" v="7140" actId="478"/>
          <ac:spMkLst>
            <pc:docMk/>
            <pc:sldMk cId="1945724814" sldId="582"/>
            <ac:spMk id="684" creationId="{48F90D19-E329-FA21-EA12-3F8BFD3FF2C2}"/>
          </ac:spMkLst>
        </pc:spChg>
        <pc:spChg chg="del">
          <ac:chgData name="Bullinger, Marvin" userId="5b54ce5a-dc89-476f-af33-5abd75d5b1e8" providerId="ADAL" clId="{43B71669-8A80-4333-9349-B258A9296B49}" dt="2024-02-27T17:27:37.066" v="7139" actId="478"/>
          <ac:spMkLst>
            <pc:docMk/>
            <pc:sldMk cId="1945724814" sldId="582"/>
            <ac:spMk id="685" creationId="{73CEE79B-FFB0-F79B-C896-E134D71BC34A}"/>
          </ac:spMkLst>
        </pc:spChg>
        <pc:spChg chg="del">
          <ac:chgData name="Bullinger, Marvin" userId="5b54ce5a-dc89-476f-af33-5abd75d5b1e8" providerId="ADAL" clId="{43B71669-8A80-4333-9349-B258A9296B49}" dt="2024-02-27T17:27:37.066" v="7138" actId="478"/>
          <ac:spMkLst>
            <pc:docMk/>
            <pc:sldMk cId="1945724814" sldId="582"/>
            <ac:spMk id="686" creationId="{03D67D21-09D4-234D-AD80-C4A06FA80251}"/>
          </ac:spMkLst>
        </pc:spChg>
        <pc:spChg chg="del">
          <ac:chgData name="Bullinger, Marvin" userId="5b54ce5a-dc89-476f-af33-5abd75d5b1e8" providerId="ADAL" clId="{43B71669-8A80-4333-9349-B258A9296B49}" dt="2024-02-27T17:27:37.066" v="7137" actId="478"/>
          <ac:spMkLst>
            <pc:docMk/>
            <pc:sldMk cId="1945724814" sldId="582"/>
            <ac:spMk id="687" creationId="{F1D00160-7F64-1A21-9489-3D7BE08A3BB7}"/>
          </ac:spMkLst>
        </pc:spChg>
        <pc:spChg chg="del">
          <ac:chgData name="Bullinger, Marvin" userId="5b54ce5a-dc89-476f-af33-5abd75d5b1e8" providerId="ADAL" clId="{43B71669-8A80-4333-9349-B258A9296B49}" dt="2024-02-27T17:27:37.066" v="7136" actId="478"/>
          <ac:spMkLst>
            <pc:docMk/>
            <pc:sldMk cId="1945724814" sldId="582"/>
            <ac:spMk id="688" creationId="{8A8A6D34-1D4E-27C3-3DD9-5BEDF0B658C9}"/>
          </ac:spMkLst>
        </pc:spChg>
        <pc:spChg chg="del">
          <ac:chgData name="Bullinger, Marvin" userId="5b54ce5a-dc89-476f-af33-5abd75d5b1e8" providerId="ADAL" clId="{43B71669-8A80-4333-9349-B258A9296B49}" dt="2024-02-27T17:27:37.066" v="7135" actId="478"/>
          <ac:spMkLst>
            <pc:docMk/>
            <pc:sldMk cId="1945724814" sldId="582"/>
            <ac:spMk id="689" creationId="{C0A5E08B-8258-C688-378D-E836EF9B1D2F}"/>
          </ac:spMkLst>
        </pc:spChg>
        <pc:spChg chg="del">
          <ac:chgData name="Bullinger, Marvin" userId="5b54ce5a-dc89-476f-af33-5abd75d5b1e8" providerId="ADAL" clId="{43B71669-8A80-4333-9349-B258A9296B49}" dt="2024-02-27T17:27:37.066" v="7134" actId="478"/>
          <ac:spMkLst>
            <pc:docMk/>
            <pc:sldMk cId="1945724814" sldId="582"/>
            <ac:spMk id="690" creationId="{40FA7CCB-AB36-323E-06FD-56AA7994F1D6}"/>
          </ac:spMkLst>
        </pc:spChg>
        <pc:spChg chg="del">
          <ac:chgData name="Bullinger, Marvin" userId="5b54ce5a-dc89-476f-af33-5abd75d5b1e8" providerId="ADAL" clId="{43B71669-8A80-4333-9349-B258A9296B49}" dt="2024-02-27T17:27:37.066" v="7133" actId="478"/>
          <ac:spMkLst>
            <pc:docMk/>
            <pc:sldMk cId="1945724814" sldId="582"/>
            <ac:spMk id="691" creationId="{46E3E8F6-FF61-24A3-A781-01875B2AD24B}"/>
          </ac:spMkLst>
        </pc:spChg>
        <pc:spChg chg="del">
          <ac:chgData name="Bullinger, Marvin" userId="5b54ce5a-dc89-476f-af33-5abd75d5b1e8" providerId="ADAL" clId="{43B71669-8A80-4333-9349-B258A9296B49}" dt="2024-02-27T17:27:37.066" v="7132" actId="478"/>
          <ac:spMkLst>
            <pc:docMk/>
            <pc:sldMk cId="1945724814" sldId="582"/>
            <ac:spMk id="692" creationId="{FCD86C12-EB22-6E1E-50F7-A27F60760C3A}"/>
          </ac:spMkLst>
        </pc:spChg>
        <pc:spChg chg="del">
          <ac:chgData name="Bullinger, Marvin" userId="5b54ce5a-dc89-476f-af33-5abd75d5b1e8" providerId="ADAL" clId="{43B71669-8A80-4333-9349-B258A9296B49}" dt="2024-02-27T17:27:37.066" v="7131" actId="478"/>
          <ac:spMkLst>
            <pc:docMk/>
            <pc:sldMk cId="1945724814" sldId="582"/>
            <ac:spMk id="693" creationId="{B3E27D5C-ED84-6247-C5FE-92C9B3A8CD07}"/>
          </ac:spMkLst>
        </pc:spChg>
        <pc:spChg chg="del">
          <ac:chgData name="Bullinger, Marvin" userId="5b54ce5a-dc89-476f-af33-5abd75d5b1e8" providerId="ADAL" clId="{43B71669-8A80-4333-9349-B258A9296B49}" dt="2024-02-27T17:27:37.066" v="7130" actId="478"/>
          <ac:spMkLst>
            <pc:docMk/>
            <pc:sldMk cId="1945724814" sldId="582"/>
            <ac:spMk id="694" creationId="{2D7B5F6B-A8FA-6CC8-14AF-822FB1E05A48}"/>
          </ac:spMkLst>
        </pc:spChg>
        <pc:spChg chg="replST">
          <ac:chgData name="Bullinger, Marvin" userId="5b54ce5a-dc89-476f-af33-5abd75d5b1e8" providerId="ADAL" clId="{43B71669-8A80-4333-9349-B258A9296B49}" dt="2024-02-27T17:27:37.974" v="7569"/>
          <ac:spMkLst>
            <pc:docMk/>
            <pc:sldMk cId="1945724814" sldId="582"/>
            <ac:spMk id="695" creationId="{BCEF9FC1-196B-5149-89AC-4AC1EBA344CC}"/>
          </ac:spMkLst>
        </pc:spChg>
        <pc:spChg chg="replST">
          <ac:chgData name="Bullinger, Marvin" userId="5b54ce5a-dc89-476f-af33-5abd75d5b1e8" providerId="ADAL" clId="{43B71669-8A80-4333-9349-B258A9296B49}" dt="2024-02-27T17:27:37.982" v="7572"/>
          <ac:spMkLst>
            <pc:docMk/>
            <pc:sldMk cId="1945724814" sldId="582"/>
            <ac:spMk id="696" creationId="{A53B9E0B-A582-BEB9-CF32-941DA553BFB7}"/>
          </ac:spMkLst>
        </pc:spChg>
        <pc:spChg chg="replST">
          <ac:chgData name="Bullinger, Marvin" userId="5b54ce5a-dc89-476f-af33-5abd75d5b1e8" providerId="ADAL" clId="{43B71669-8A80-4333-9349-B258A9296B49}" dt="2024-02-27T17:27:37.984" v="7576"/>
          <ac:spMkLst>
            <pc:docMk/>
            <pc:sldMk cId="1945724814" sldId="582"/>
            <ac:spMk id="698" creationId="{231B1C19-56B1-AF97-9210-8B51DF23E187}"/>
          </ac:spMkLst>
        </pc:spChg>
        <pc:spChg chg="replST">
          <ac:chgData name="Bullinger, Marvin" userId="5b54ce5a-dc89-476f-af33-5abd75d5b1e8" providerId="ADAL" clId="{43B71669-8A80-4333-9349-B258A9296B49}" dt="2024-02-27T17:27:37.994" v="7579"/>
          <ac:spMkLst>
            <pc:docMk/>
            <pc:sldMk cId="1945724814" sldId="582"/>
            <ac:spMk id="699" creationId="{63F4E473-F7BF-627A-83DD-45F50C61F260}"/>
          </ac:spMkLst>
        </pc:spChg>
        <pc:spChg chg="replST">
          <ac:chgData name="Bullinger, Marvin" userId="5b54ce5a-dc89-476f-af33-5abd75d5b1e8" providerId="ADAL" clId="{43B71669-8A80-4333-9349-B258A9296B49}" dt="2024-02-27T17:27:37.994" v="7583"/>
          <ac:spMkLst>
            <pc:docMk/>
            <pc:sldMk cId="1945724814" sldId="582"/>
            <ac:spMk id="701" creationId="{1F6CB3F8-1C4B-7A02-AAF3-9D02D498E58E}"/>
          </ac:spMkLst>
        </pc:spChg>
        <pc:spChg chg="replST">
          <ac:chgData name="Bullinger, Marvin" userId="5b54ce5a-dc89-476f-af33-5abd75d5b1e8" providerId="ADAL" clId="{43B71669-8A80-4333-9349-B258A9296B49}" dt="2024-02-27T17:27:38.004" v="7586"/>
          <ac:spMkLst>
            <pc:docMk/>
            <pc:sldMk cId="1945724814" sldId="582"/>
            <ac:spMk id="702" creationId="{FC789FB1-EDBB-03EA-11A2-6E21F686CF10}"/>
          </ac:spMkLst>
        </pc:spChg>
        <pc:spChg chg="replST">
          <ac:chgData name="Bullinger, Marvin" userId="5b54ce5a-dc89-476f-af33-5abd75d5b1e8" providerId="ADAL" clId="{43B71669-8A80-4333-9349-B258A9296B49}" dt="2024-02-27T17:27:38.012" v="7590"/>
          <ac:spMkLst>
            <pc:docMk/>
            <pc:sldMk cId="1945724814" sldId="582"/>
            <ac:spMk id="704" creationId="{4DA97B8E-593D-48BE-A192-6B0CE0E88F19}"/>
          </ac:spMkLst>
        </pc:spChg>
        <pc:spChg chg="replST">
          <ac:chgData name="Bullinger, Marvin" userId="5b54ce5a-dc89-476f-af33-5abd75d5b1e8" providerId="ADAL" clId="{43B71669-8A80-4333-9349-B258A9296B49}" dt="2024-02-27T17:27:38.015" v="7593"/>
          <ac:spMkLst>
            <pc:docMk/>
            <pc:sldMk cId="1945724814" sldId="582"/>
            <ac:spMk id="705" creationId="{74BE879E-AC14-631C-7987-168354F3F458}"/>
          </ac:spMkLst>
        </pc:spChg>
        <pc:spChg chg="replST">
          <ac:chgData name="Bullinger, Marvin" userId="5b54ce5a-dc89-476f-af33-5abd75d5b1e8" providerId="ADAL" clId="{43B71669-8A80-4333-9349-B258A9296B49}" dt="2024-02-27T17:27:38.025" v="7597"/>
          <ac:spMkLst>
            <pc:docMk/>
            <pc:sldMk cId="1945724814" sldId="582"/>
            <ac:spMk id="707" creationId="{2B76EBE3-2496-7EC1-BA6C-8850CE2A2FFD}"/>
          </ac:spMkLst>
        </pc:spChg>
        <pc:spChg chg="replST">
          <ac:chgData name="Bullinger, Marvin" userId="5b54ce5a-dc89-476f-af33-5abd75d5b1e8" providerId="ADAL" clId="{43B71669-8A80-4333-9349-B258A9296B49}" dt="2024-02-27T17:27:38.045" v="7600"/>
          <ac:spMkLst>
            <pc:docMk/>
            <pc:sldMk cId="1945724814" sldId="582"/>
            <ac:spMk id="708" creationId="{4995EC6F-8222-0414-7A50-6DFFE692FDCC}"/>
          </ac:spMkLst>
        </pc:spChg>
        <pc:spChg chg="ord replST">
          <ac:chgData name="Bullinger, Marvin" userId="5b54ce5a-dc89-476f-af33-5abd75d5b1e8" providerId="ADAL" clId="{43B71669-8A80-4333-9349-B258A9296B49}" dt="2024-02-27T17:27:38.108" v="7622"/>
          <ac:spMkLst>
            <pc:docMk/>
            <pc:sldMk cId="1945724814" sldId="582"/>
            <ac:spMk id="709" creationId="{4CF74EC9-94F9-4ED5-1228-34610D3D0CB4}"/>
          </ac:spMkLst>
        </pc:spChg>
        <pc:spChg chg="replST">
          <ac:chgData name="Bullinger, Marvin" userId="5b54ce5a-dc89-476f-af33-5abd75d5b1e8" providerId="ADAL" clId="{43B71669-8A80-4333-9349-B258A9296B49}" dt="2024-02-27T17:27:38.064" v="7604"/>
          <ac:spMkLst>
            <pc:docMk/>
            <pc:sldMk cId="1945724814" sldId="582"/>
            <ac:spMk id="710" creationId="{88E1B420-69D0-9E24-5663-BBA123FB96CE}"/>
          </ac:spMkLst>
        </pc:spChg>
        <pc:spChg chg="replST">
          <ac:chgData name="Bullinger, Marvin" userId="5b54ce5a-dc89-476f-af33-5abd75d5b1e8" providerId="ADAL" clId="{43B71669-8A80-4333-9349-B258A9296B49}" dt="2024-02-27T17:27:38.075" v="7607"/>
          <ac:spMkLst>
            <pc:docMk/>
            <pc:sldMk cId="1945724814" sldId="582"/>
            <ac:spMk id="711" creationId="{B73165FB-B388-2DE4-8FBB-A29726623723}"/>
          </ac:spMkLst>
        </pc:spChg>
        <pc:spChg chg="replST">
          <ac:chgData name="Bullinger, Marvin" userId="5b54ce5a-dc89-476f-af33-5abd75d5b1e8" providerId="ADAL" clId="{43B71669-8A80-4333-9349-B258A9296B49}" dt="2024-02-27T17:27:38.087" v="7611"/>
          <ac:spMkLst>
            <pc:docMk/>
            <pc:sldMk cId="1945724814" sldId="582"/>
            <ac:spMk id="713" creationId="{84892723-467B-DB6B-B2A3-74F01A507AD8}"/>
          </ac:spMkLst>
        </pc:spChg>
        <pc:spChg chg="replST">
          <ac:chgData name="Bullinger, Marvin" userId="5b54ce5a-dc89-476f-af33-5abd75d5b1e8" providerId="ADAL" clId="{43B71669-8A80-4333-9349-B258A9296B49}" dt="2024-02-27T17:27:38.087" v="7614"/>
          <ac:spMkLst>
            <pc:docMk/>
            <pc:sldMk cId="1945724814" sldId="582"/>
            <ac:spMk id="714" creationId="{E10D9648-58E5-1A29-A4EE-C5E006CE4984}"/>
          </ac:spMkLst>
        </pc:spChg>
        <pc:cxnChg chg="del">
          <ac:chgData name="Bullinger, Marvin" userId="5b54ce5a-dc89-476f-af33-5abd75d5b1e8" providerId="ADAL" clId="{43B71669-8A80-4333-9349-B258A9296B49}" dt="2024-02-27T16:45:50.090" v="519" actId="478"/>
          <ac:cxnSpMkLst>
            <pc:docMk/>
            <pc:sldMk cId="1945724814" sldId="582"/>
            <ac:cxnSpMk id="239" creationId="{05BD404B-358B-5665-C40F-59477B94DDD9}"/>
          </ac:cxnSpMkLst>
        </pc:cxnChg>
        <pc:cxnChg chg="del">
          <ac:chgData name="Bullinger, Marvin" userId="5b54ce5a-dc89-476f-af33-5abd75d5b1e8" providerId="ADAL" clId="{43B71669-8A80-4333-9349-B258A9296B49}" dt="2024-02-27T16:45:50.090" v="520" actId="478"/>
          <ac:cxnSpMkLst>
            <pc:docMk/>
            <pc:sldMk cId="1945724814" sldId="582"/>
            <ac:cxnSpMk id="242" creationId="{0651688A-32BF-5CA9-FC2C-16BCCC462BEC}"/>
          </ac:cxnSpMkLst>
        </pc:cxnChg>
        <pc:cxnChg chg="del">
          <ac:chgData name="Bullinger, Marvin" userId="5b54ce5a-dc89-476f-af33-5abd75d5b1e8" providerId="ADAL" clId="{43B71669-8A80-4333-9349-B258A9296B49}" dt="2024-02-27T16:45:50.090" v="521" actId="478"/>
          <ac:cxnSpMkLst>
            <pc:docMk/>
            <pc:sldMk cId="1945724814" sldId="582"/>
            <ac:cxnSpMk id="245" creationId="{45ED50C2-6388-B40B-6CB7-456C79914495}"/>
          </ac:cxnSpMkLst>
        </pc:cxnChg>
        <pc:cxnChg chg="del">
          <ac:chgData name="Bullinger, Marvin" userId="5b54ce5a-dc89-476f-af33-5abd75d5b1e8" providerId="ADAL" clId="{43B71669-8A80-4333-9349-B258A9296B49}" dt="2024-02-27T16:45:50.090" v="522" actId="478"/>
          <ac:cxnSpMkLst>
            <pc:docMk/>
            <pc:sldMk cId="1945724814" sldId="582"/>
            <ac:cxnSpMk id="248" creationId="{F07BACEC-9ABD-4B66-671F-A36F2479F52E}"/>
          </ac:cxnSpMkLst>
        </pc:cxnChg>
        <pc:cxnChg chg="del">
          <ac:chgData name="Bullinger, Marvin" userId="5b54ce5a-dc89-476f-af33-5abd75d5b1e8" providerId="ADAL" clId="{43B71669-8A80-4333-9349-B258A9296B49}" dt="2024-02-27T16:45:50.090" v="524" actId="478"/>
          <ac:cxnSpMkLst>
            <pc:docMk/>
            <pc:sldMk cId="1945724814" sldId="582"/>
            <ac:cxnSpMk id="254" creationId="{5CD23552-27FC-7F35-10B2-430282E40B53}"/>
          </ac:cxnSpMkLst>
        </pc:cxnChg>
        <pc:cxnChg chg="del">
          <ac:chgData name="Bullinger, Marvin" userId="5b54ce5a-dc89-476f-af33-5abd75d5b1e8" providerId="ADAL" clId="{43B71669-8A80-4333-9349-B258A9296B49}" dt="2024-02-27T16:45:50.090" v="525" actId="478"/>
          <ac:cxnSpMkLst>
            <pc:docMk/>
            <pc:sldMk cId="1945724814" sldId="582"/>
            <ac:cxnSpMk id="255" creationId="{8A9F07D1-CDFC-FC1C-10F0-378D37FF1290}"/>
          </ac:cxnSpMkLst>
        </pc:cxnChg>
        <pc:cxnChg chg="del ord replST">
          <ac:chgData name="Bullinger, Marvin" userId="5b54ce5a-dc89-476f-af33-5abd75d5b1e8" providerId="ADAL" clId="{43B71669-8A80-4333-9349-B258A9296B49}" dt="2024-02-27T16:46:20.348" v="1297" actId="478"/>
          <ac:cxnSpMkLst>
            <pc:docMk/>
            <pc:sldMk cId="1945724814" sldId="582"/>
            <ac:cxnSpMk id="263" creationId="{F0F87990-4B8B-7BD4-CB9A-A69F8F1AEE80}"/>
          </ac:cxnSpMkLst>
        </pc:cxnChg>
        <pc:cxnChg chg="del ord replST">
          <ac:chgData name="Bullinger, Marvin" userId="5b54ce5a-dc89-476f-af33-5abd75d5b1e8" providerId="ADAL" clId="{43B71669-8A80-4333-9349-B258A9296B49}" dt="2024-02-27T16:46:20.348" v="1298" actId="478"/>
          <ac:cxnSpMkLst>
            <pc:docMk/>
            <pc:sldMk cId="1945724814" sldId="582"/>
            <ac:cxnSpMk id="266" creationId="{C5A3EC97-FAE2-426D-9F86-1A7A309F5241}"/>
          </ac:cxnSpMkLst>
        </pc:cxnChg>
        <pc:cxnChg chg="del ord replST">
          <ac:chgData name="Bullinger, Marvin" userId="5b54ce5a-dc89-476f-af33-5abd75d5b1e8" providerId="ADAL" clId="{43B71669-8A80-4333-9349-B258A9296B49}" dt="2024-02-27T16:46:20.351" v="1299" actId="478"/>
          <ac:cxnSpMkLst>
            <pc:docMk/>
            <pc:sldMk cId="1945724814" sldId="582"/>
            <ac:cxnSpMk id="269" creationId="{1FF0E16F-9AF1-F33B-89F2-D650A2F87135}"/>
          </ac:cxnSpMkLst>
        </pc:cxnChg>
        <pc:cxnChg chg="del ord replST">
          <ac:chgData name="Bullinger, Marvin" userId="5b54ce5a-dc89-476f-af33-5abd75d5b1e8" providerId="ADAL" clId="{43B71669-8A80-4333-9349-B258A9296B49}" dt="2024-02-27T16:46:20.351" v="1300" actId="478"/>
          <ac:cxnSpMkLst>
            <pc:docMk/>
            <pc:sldMk cId="1945724814" sldId="582"/>
            <ac:cxnSpMk id="272" creationId="{232CB723-832E-4E29-DA87-68D780E41E45}"/>
          </ac:cxnSpMkLst>
        </pc:cxnChg>
        <pc:cxnChg chg="del ord replST">
          <ac:chgData name="Bullinger, Marvin" userId="5b54ce5a-dc89-476f-af33-5abd75d5b1e8" providerId="ADAL" clId="{43B71669-8A80-4333-9349-B258A9296B49}" dt="2024-02-27T16:46:20.351" v="1302" actId="478"/>
          <ac:cxnSpMkLst>
            <pc:docMk/>
            <pc:sldMk cId="1945724814" sldId="582"/>
            <ac:cxnSpMk id="278" creationId="{4B8125E5-2D59-9DA2-8561-C0002B11517F}"/>
          </ac:cxnSpMkLst>
        </pc:cxnChg>
        <pc:cxnChg chg="del ord replST">
          <ac:chgData name="Bullinger, Marvin" userId="5b54ce5a-dc89-476f-af33-5abd75d5b1e8" providerId="ADAL" clId="{43B71669-8A80-4333-9349-B258A9296B49}" dt="2024-02-27T16:46:20.351" v="1303" actId="478"/>
          <ac:cxnSpMkLst>
            <pc:docMk/>
            <pc:sldMk cId="1945724814" sldId="582"/>
            <ac:cxnSpMk id="279" creationId="{ECB28BBE-D222-3F69-47A7-B75D479D827D}"/>
          </ac:cxnSpMkLst>
        </pc:cxnChg>
        <pc:cxnChg chg="add del ord replST">
          <ac:chgData name="Bullinger, Marvin" userId="5b54ce5a-dc89-476f-af33-5abd75d5b1e8" providerId="ADAL" clId="{43B71669-8A80-4333-9349-B258A9296B49}" dt="2024-02-27T17:21:07.457" v="3674" actId="478"/>
          <ac:cxnSpMkLst>
            <pc:docMk/>
            <pc:sldMk cId="1945724814" sldId="582"/>
            <ac:cxnSpMk id="359" creationId="{61AA567C-2B9B-4938-B6CE-9C5DED1B20B3}"/>
          </ac:cxnSpMkLst>
        </pc:cxnChg>
        <pc:cxnChg chg="add del ord replST">
          <ac:chgData name="Bullinger, Marvin" userId="5b54ce5a-dc89-476f-af33-5abd75d5b1e8" providerId="ADAL" clId="{43B71669-8A80-4333-9349-B258A9296B49}" dt="2024-02-27T17:21:07.457" v="3675" actId="478"/>
          <ac:cxnSpMkLst>
            <pc:docMk/>
            <pc:sldMk cId="1945724814" sldId="582"/>
            <ac:cxnSpMk id="362" creationId="{D9647C53-5FCD-E731-335A-E7964A15FD4A}"/>
          </ac:cxnSpMkLst>
        </pc:cxnChg>
        <pc:cxnChg chg="add del ord replST">
          <ac:chgData name="Bullinger, Marvin" userId="5b54ce5a-dc89-476f-af33-5abd75d5b1e8" providerId="ADAL" clId="{43B71669-8A80-4333-9349-B258A9296B49}" dt="2024-02-27T17:21:07.457" v="3676" actId="478"/>
          <ac:cxnSpMkLst>
            <pc:docMk/>
            <pc:sldMk cId="1945724814" sldId="582"/>
            <ac:cxnSpMk id="365" creationId="{BC70241D-57DA-72AC-F0B8-A9828C033D33}"/>
          </ac:cxnSpMkLst>
        </pc:cxnChg>
        <pc:cxnChg chg="add del ord replST">
          <ac:chgData name="Bullinger, Marvin" userId="5b54ce5a-dc89-476f-af33-5abd75d5b1e8" providerId="ADAL" clId="{43B71669-8A80-4333-9349-B258A9296B49}" dt="2024-02-27T17:21:07.457" v="3677" actId="478"/>
          <ac:cxnSpMkLst>
            <pc:docMk/>
            <pc:sldMk cId="1945724814" sldId="582"/>
            <ac:cxnSpMk id="368" creationId="{694BC4D1-D110-AB1E-6CF7-5883734CE182}"/>
          </ac:cxnSpMkLst>
        </pc:cxnChg>
        <pc:cxnChg chg="add del ord replST">
          <ac:chgData name="Bullinger, Marvin" userId="5b54ce5a-dc89-476f-af33-5abd75d5b1e8" providerId="ADAL" clId="{43B71669-8A80-4333-9349-B258A9296B49}" dt="2024-02-27T17:21:07.457" v="3679" actId="478"/>
          <ac:cxnSpMkLst>
            <pc:docMk/>
            <pc:sldMk cId="1945724814" sldId="582"/>
            <ac:cxnSpMk id="374" creationId="{EFA6B103-EFEE-4113-3605-FB11DE078520}"/>
          </ac:cxnSpMkLst>
        </pc:cxnChg>
        <pc:cxnChg chg="add del ord replST">
          <ac:chgData name="Bullinger, Marvin" userId="5b54ce5a-dc89-476f-af33-5abd75d5b1e8" providerId="ADAL" clId="{43B71669-8A80-4333-9349-B258A9296B49}" dt="2024-02-27T17:21:07.457" v="3680" actId="478"/>
          <ac:cxnSpMkLst>
            <pc:docMk/>
            <pc:sldMk cId="1945724814" sldId="582"/>
            <ac:cxnSpMk id="375" creationId="{576B185A-55C4-9CEB-6F76-ABCB2E26CD72}"/>
          </ac:cxnSpMkLst>
        </pc:cxnChg>
        <pc:cxnChg chg="del ord replST">
          <ac:chgData name="Bullinger, Marvin" userId="5b54ce5a-dc89-476f-af33-5abd75d5b1e8" providerId="ADAL" clId="{43B71669-8A80-4333-9349-B258A9296B49}" dt="2024-02-27T17:26:23.368" v="4713" actId="478"/>
          <ac:cxnSpMkLst>
            <pc:docMk/>
            <pc:sldMk cId="1945724814" sldId="582"/>
            <ac:cxnSpMk id="391" creationId="{6ABCE107-06B0-E7A5-24EC-27CE5C0D2DDA}"/>
          </ac:cxnSpMkLst>
        </pc:cxnChg>
        <pc:cxnChg chg="del ord replST">
          <ac:chgData name="Bullinger, Marvin" userId="5b54ce5a-dc89-476f-af33-5abd75d5b1e8" providerId="ADAL" clId="{43B71669-8A80-4333-9349-B258A9296B49}" dt="2024-02-27T17:26:23.376" v="4714" actId="478"/>
          <ac:cxnSpMkLst>
            <pc:docMk/>
            <pc:sldMk cId="1945724814" sldId="582"/>
            <ac:cxnSpMk id="394" creationId="{82543175-033A-A9F5-E1B7-236BFF4AE28A}"/>
          </ac:cxnSpMkLst>
        </pc:cxnChg>
        <pc:cxnChg chg="del ord replST">
          <ac:chgData name="Bullinger, Marvin" userId="5b54ce5a-dc89-476f-af33-5abd75d5b1e8" providerId="ADAL" clId="{43B71669-8A80-4333-9349-B258A9296B49}" dt="2024-02-27T17:26:23.376" v="4715" actId="478"/>
          <ac:cxnSpMkLst>
            <pc:docMk/>
            <pc:sldMk cId="1945724814" sldId="582"/>
            <ac:cxnSpMk id="397" creationId="{256219E1-0126-343A-F57F-C0C7A620342D}"/>
          </ac:cxnSpMkLst>
        </pc:cxnChg>
        <pc:cxnChg chg="del ord replST">
          <ac:chgData name="Bullinger, Marvin" userId="5b54ce5a-dc89-476f-af33-5abd75d5b1e8" providerId="ADAL" clId="{43B71669-8A80-4333-9349-B258A9296B49}" dt="2024-02-27T17:26:23.378" v="4716" actId="478"/>
          <ac:cxnSpMkLst>
            <pc:docMk/>
            <pc:sldMk cId="1945724814" sldId="582"/>
            <ac:cxnSpMk id="400" creationId="{78984467-AD7B-390B-F012-F85F92144289}"/>
          </ac:cxnSpMkLst>
        </pc:cxnChg>
        <pc:cxnChg chg="del ord replST">
          <ac:chgData name="Bullinger, Marvin" userId="5b54ce5a-dc89-476f-af33-5abd75d5b1e8" providerId="ADAL" clId="{43B71669-8A80-4333-9349-B258A9296B49}" dt="2024-02-27T17:26:23.378" v="4718" actId="478"/>
          <ac:cxnSpMkLst>
            <pc:docMk/>
            <pc:sldMk cId="1945724814" sldId="582"/>
            <ac:cxnSpMk id="406" creationId="{642B8675-96D5-4EF6-3CE1-50FD612903CB}"/>
          </ac:cxnSpMkLst>
        </pc:cxnChg>
        <pc:cxnChg chg="del ord replST">
          <ac:chgData name="Bullinger, Marvin" userId="5b54ce5a-dc89-476f-af33-5abd75d5b1e8" providerId="ADAL" clId="{43B71669-8A80-4333-9349-B258A9296B49}" dt="2024-02-27T17:26:23.378" v="4719" actId="478"/>
          <ac:cxnSpMkLst>
            <pc:docMk/>
            <pc:sldMk cId="1945724814" sldId="582"/>
            <ac:cxnSpMk id="409" creationId="{D0DE77D3-9732-14EA-16AA-917C782C36EB}"/>
          </ac:cxnSpMkLst>
        </pc:cxnChg>
        <pc:cxnChg chg="del ord replST">
          <ac:chgData name="Bullinger, Marvin" userId="5b54ce5a-dc89-476f-af33-5abd75d5b1e8" providerId="ADAL" clId="{43B71669-8A80-4333-9349-B258A9296B49}" dt="2024-02-27T17:26:23.378" v="4720" actId="478"/>
          <ac:cxnSpMkLst>
            <pc:docMk/>
            <pc:sldMk cId="1945724814" sldId="582"/>
            <ac:cxnSpMk id="410" creationId="{309D3AAD-F60B-F449-F7F0-C0ED63CCF70A}"/>
          </ac:cxnSpMkLst>
        </pc:cxnChg>
        <pc:cxnChg chg="mod ord replST delST">
          <ac:chgData name="Bullinger, Marvin" userId="5b54ce5a-dc89-476f-af33-5abd75d5b1e8" providerId="ADAL" clId="{43B71669-8A80-4333-9349-B258A9296B49}" dt="2024-02-27T16:53:49.050" v="3382"/>
          <ac:cxnSpMkLst>
            <pc:docMk/>
            <pc:sldMk cId="1945724814" sldId="582"/>
            <ac:cxnSpMk id="455" creationId="{141F7022-309E-4833-DDE0-5B6AD1E7693A}"/>
          </ac:cxnSpMkLst>
        </pc:cxnChg>
        <pc:cxnChg chg="mod ord replST delST">
          <ac:chgData name="Bullinger, Marvin" userId="5b54ce5a-dc89-476f-af33-5abd75d5b1e8" providerId="ADAL" clId="{43B71669-8A80-4333-9349-B258A9296B49}" dt="2024-02-27T16:53:49.050" v="3382"/>
          <ac:cxnSpMkLst>
            <pc:docMk/>
            <pc:sldMk cId="1945724814" sldId="582"/>
            <ac:cxnSpMk id="458" creationId="{2DCF1155-FDF4-0FE4-1660-BE86B35C41C6}"/>
          </ac:cxnSpMkLst>
        </pc:cxnChg>
        <pc:cxnChg chg="mod ord replST delST">
          <ac:chgData name="Bullinger, Marvin" userId="5b54ce5a-dc89-476f-af33-5abd75d5b1e8" providerId="ADAL" clId="{43B71669-8A80-4333-9349-B258A9296B49}" dt="2024-02-27T16:53:49.050" v="3382"/>
          <ac:cxnSpMkLst>
            <pc:docMk/>
            <pc:sldMk cId="1945724814" sldId="582"/>
            <ac:cxnSpMk id="461" creationId="{04A5AB3B-CE7B-EB0A-E596-56D52EE692BA}"/>
          </ac:cxnSpMkLst>
        </pc:cxnChg>
        <pc:cxnChg chg="mod ord replST delST">
          <ac:chgData name="Bullinger, Marvin" userId="5b54ce5a-dc89-476f-af33-5abd75d5b1e8" providerId="ADAL" clId="{43B71669-8A80-4333-9349-B258A9296B49}" dt="2024-02-27T16:53:49.050" v="3382"/>
          <ac:cxnSpMkLst>
            <pc:docMk/>
            <pc:sldMk cId="1945724814" sldId="582"/>
            <ac:cxnSpMk id="464" creationId="{2B3A0390-AEB5-3362-B6B7-3EB11CEE1D9A}"/>
          </ac:cxnSpMkLst>
        </pc:cxnChg>
        <pc:cxnChg chg="mod ord replST delST">
          <ac:chgData name="Bullinger, Marvin" userId="5b54ce5a-dc89-476f-af33-5abd75d5b1e8" providerId="ADAL" clId="{43B71669-8A80-4333-9349-B258A9296B49}" dt="2024-02-27T16:53:49.050" v="3382"/>
          <ac:cxnSpMkLst>
            <pc:docMk/>
            <pc:sldMk cId="1945724814" sldId="582"/>
            <ac:cxnSpMk id="470" creationId="{EE50D6E5-7F64-67FC-1070-681149E9C71D}"/>
          </ac:cxnSpMkLst>
        </pc:cxnChg>
        <pc:cxnChg chg="mod ord replST delST">
          <ac:chgData name="Bullinger, Marvin" userId="5b54ce5a-dc89-476f-af33-5abd75d5b1e8" providerId="ADAL" clId="{43B71669-8A80-4333-9349-B258A9296B49}" dt="2024-02-27T16:53:49.050" v="3382"/>
          <ac:cxnSpMkLst>
            <pc:docMk/>
            <pc:sldMk cId="1945724814" sldId="582"/>
            <ac:cxnSpMk id="471" creationId="{3A71C4B2-FDD4-216D-4052-E638BBE3F913}"/>
          </ac:cxnSpMkLst>
        </pc:cxnChg>
        <pc:cxnChg chg="del ord replST">
          <ac:chgData name="Bullinger, Marvin" userId="5b54ce5a-dc89-476f-af33-5abd75d5b1e8" providerId="ADAL" clId="{43B71669-8A80-4333-9349-B258A9296B49}" dt="2024-02-27T17:26:59.361" v="6019" actId="478"/>
          <ac:cxnSpMkLst>
            <pc:docMk/>
            <pc:sldMk cId="1945724814" sldId="582"/>
            <ac:cxnSpMk id="490" creationId="{A64A4BB6-FC39-16A0-E394-1ECE40C1FDF8}"/>
          </ac:cxnSpMkLst>
        </pc:cxnChg>
        <pc:cxnChg chg="del ord replST">
          <ac:chgData name="Bullinger, Marvin" userId="5b54ce5a-dc89-476f-af33-5abd75d5b1e8" providerId="ADAL" clId="{43B71669-8A80-4333-9349-B258A9296B49}" dt="2024-02-27T17:26:59.363" v="6020" actId="478"/>
          <ac:cxnSpMkLst>
            <pc:docMk/>
            <pc:sldMk cId="1945724814" sldId="582"/>
            <ac:cxnSpMk id="493" creationId="{2CFBF4AB-D497-E62E-F2A5-AFC43A2149F7}"/>
          </ac:cxnSpMkLst>
        </pc:cxnChg>
        <pc:cxnChg chg="del ord replST">
          <ac:chgData name="Bullinger, Marvin" userId="5b54ce5a-dc89-476f-af33-5abd75d5b1e8" providerId="ADAL" clId="{43B71669-8A80-4333-9349-B258A9296B49}" dt="2024-02-27T17:26:59.363" v="6021" actId="478"/>
          <ac:cxnSpMkLst>
            <pc:docMk/>
            <pc:sldMk cId="1945724814" sldId="582"/>
            <ac:cxnSpMk id="496" creationId="{E840672D-36F0-2908-C9DF-FA8F35D31DF4}"/>
          </ac:cxnSpMkLst>
        </pc:cxnChg>
        <pc:cxnChg chg="del ord replST">
          <ac:chgData name="Bullinger, Marvin" userId="5b54ce5a-dc89-476f-af33-5abd75d5b1e8" providerId="ADAL" clId="{43B71669-8A80-4333-9349-B258A9296B49}" dt="2024-02-27T17:26:59.363" v="6022" actId="478"/>
          <ac:cxnSpMkLst>
            <pc:docMk/>
            <pc:sldMk cId="1945724814" sldId="582"/>
            <ac:cxnSpMk id="499" creationId="{F822E6C9-53A3-DAB9-B1EC-7813C3309DAF}"/>
          </ac:cxnSpMkLst>
        </pc:cxnChg>
        <pc:cxnChg chg="del ord replST">
          <ac:chgData name="Bullinger, Marvin" userId="5b54ce5a-dc89-476f-af33-5abd75d5b1e8" providerId="ADAL" clId="{43B71669-8A80-4333-9349-B258A9296B49}" dt="2024-02-27T17:26:59.363" v="6023" actId="478"/>
          <ac:cxnSpMkLst>
            <pc:docMk/>
            <pc:sldMk cId="1945724814" sldId="582"/>
            <ac:cxnSpMk id="502" creationId="{F2EF007E-CCDD-ED0C-D783-1AB1A1B41DA3}"/>
          </ac:cxnSpMkLst>
        </pc:cxnChg>
        <pc:cxnChg chg="del ord replST">
          <ac:chgData name="Bullinger, Marvin" userId="5b54ce5a-dc89-476f-af33-5abd75d5b1e8" providerId="ADAL" clId="{43B71669-8A80-4333-9349-B258A9296B49}" dt="2024-02-27T17:26:59.363" v="6024" actId="478"/>
          <ac:cxnSpMkLst>
            <pc:docMk/>
            <pc:sldMk cId="1945724814" sldId="582"/>
            <ac:cxnSpMk id="505" creationId="{9EA1F7EA-82BC-4368-191E-DACBC6B9656E}"/>
          </ac:cxnSpMkLst>
        </pc:cxnChg>
        <pc:cxnChg chg="del ord replST">
          <ac:chgData name="Bullinger, Marvin" userId="5b54ce5a-dc89-476f-af33-5abd75d5b1e8" providerId="ADAL" clId="{43B71669-8A80-4333-9349-B258A9296B49}" dt="2024-02-27T17:26:59.363" v="6026" actId="478"/>
          <ac:cxnSpMkLst>
            <pc:docMk/>
            <pc:sldMk cId="1945724814" sldId="582"/>
            <ac:cxnSpMk id="511" creationId="{03593FD8-E996-905B-76D2-B1AF4471EC43}"/>
          </ac:cxnSpMkLst>
        </pc:cxnChg>
        <pc:cxnChg chg="del ord replST">
          <ac:chgData name="Bullinger, Marvin" userId="5b54ce5a-dc89-476f-af33-5abd75d5b1e8" providerId="ADAL" clId="{43B71669-8A80-4333-9349-B258A9296B49}" dt="2024-02-27T17:26:59.372" v="6027" actId="478"/>
          <ac:cxnSpMkLst>
            <pc:docMk/>
            <pc:sldMk cId="1945724814" sldId="582"/>
            <ac:cxnSpMk id="514" creationId="{C8AEC23C-DD03-123D-6D2C-327C455FFA37}"/>
          </ac:cxnSpMkLst>
        </pc:cxnChg>
        <pc:cxnChg chg="del ord replST">
          <ac:chgData name="Bullinger, Marvin" userId="5b54ce5a-dc89-476f-af33-5abd75d5b1e8" providerId="ADAL" clId="{43B71669-8A80-4333-9349-B258A9296B49}" dt="2024-02-27T17:26:59.372" v="6028" actId="478"/>
          <ac:cxnSpMkLst>
            <pc:docMk/>
            <pc:sldMk cId="1945724814" sldId="582"/>
            <ac:cxnSpMk id="515" creationId="{CB353567-3321-BE4A-02F3-63BF3255B417}"/>
          </ac:cxnSpMkLst>
        </pc:cxnChg>
        <pc:cxnChg chg="del ord replST">
          <ac:chgData name="Bullinger, Marvin" userId="5b54ce5a-dc89-476f-af33-5abd75d5b1e8" providerId="ADAL" clId="{43B71669-8A80-4333-9349-B258A9296B49}" dt="2024-02-27T17:27:37.045" v="7121" actId="478"/>
          <ac:cxnSpMkLst>
            <pc:docMk/>
            <pc:sldMk cId="1945724814" sldId="582"/>
            <ac:cxnSpMk id="595" creationId="{4D682E46-12D2-C3E0-B0CA-320A9591BF99}"/>
          </ac:cxnSpMkLst>
        </pc:cxnChg>
        <pc:cxnChg chg="del ord replST">
          <ac:chgData name="Bullinger, Marvin" userId="5b54ce5a-dc89-476f-af33-5abd75d5b1e8" providerId="ADAL" clId="{43B71669-8A80-4333-9349-B258A9296B49}" dt="2024-02-27T17:27:37.045" v="7122" actId="478"/>
          <ac:cxnSpMkLst>
            <pc:docMk/>
            <pc:sldMk cId="1945724814" sldId="582"/>
            <ac:cxnSpMk id="598" creationId="{A1E836EC-9907-79E5-CFCD-E114C1948A38}"/>
          </ac:cxnSpMkLst>
        </pc:cxnChg>
        <pc:cxnChg chg="del ord replST">
          <ac:chgData name="Bullinger, Marvin" userId="5b54ce5a-dc89-476f-af33-5abd75d5b1e8" providerId="ADAL" clId="{43B71669-8A80-4333-9349-B258A9296B49}" dt="2024-02-27T17:27:37.045" v="7123" actId="478"/>
          <ac:cxnSpMkLst>
            <pc:docMk/>
            <pc:sldMk cId="1945724814" sldId="582"/>
            <ac:cxnSpMk id="601" creationId="{4BD66AD7-A12D-8C9E-C154-291855D19B83}"/>
          </ac:cxnSpMkLst>
        </pc:cxnChg>
        <pc:cxnChg chg="del ord replST">
          <ac:chgData name="Bullinger, Marvin" userId="5b54ce5a-dc89-476f-af33-5abd75d5b1e8" providerId="ADAL" clId="{43B71669-8A80-4333-9349-B258A9296B49}" dt="2024-02-27T17:27:37.045" v="7124" actId="478"/>
          <ac:cxnSpMkLst>
            <pc:docMk/>
            <pc:sldMk cId="1945724814" sldId="582"/>
            <ac:cxnSpMk id="604" creationId="{018D21FF-406E-F21C-D57B-EB03AED675E0}"/>
          </ac:cxnSpMkLst>
        </pc:cxnChg>
        <pc:cxnChg chg="del ord replST">
          <ac:chgData name="Bullinger, Marvin" userId="5b54ce5a-dc89-476f-af33-5abd75d5b1e8" providerId="ADAL" clId="{43B71669-8A80-4333-9349-B258A9296B49}" dt="2024-02-27T17:27:37.045" v="7125" actId="478"/>
          <ac:cxnSpMkLst>
            <pc:docMk/>
            <pc:sldMk cId="1945724814" sldId="582"/>
            <ac:cxnSpMk id="607" creationId="{94251B1E-20C4-E793-3D79-EA06CD581333}"/>
          </ac:cxnSpMkLst>
        </pc:cxnChg>
        <pc:cxnChg chg="del ord replST">
          <ac:chgData name="Bullinger, Marvin" userId="5b54ce5a-dc89-476f-af33-5abd75d5b1e8" providerId="ADAL" clId="{43B71669-8A80-4333-9349-B258A9296B49}" dt="2024-02-27T17:27:37.045" v="7127" actId="478"/>
          <ac:cxnSpMkLst>
            <pc:docMk/>
            <pc:sldMk cId="1945724814" sldId="582"/>
            <ac:cxnSpMk id="613" creationId="{7198E86A-BBDA-EC92-1708-99D740E8E2F3}"/>
          </ac:cxnSpMkLst>
        </pc:cxnChg>
        <pc:cxnChg chg="del ord replST">
          <ac:chgData name="Bullinger, Marvin" userId="5b54ce5a-dc89-476f-af33-5abd75d5b1e8" providerId="ADAL" clId="{43B71669-8A80-4333-9349-B258A9296B49}" dt="2024-02-27T17:27:37.053" v="7128" actId="478"/>
          <ac:cxnSpMkLst>
            <pc:docMk/>
            <pc:sldMk cId="1945724814" sldId="582"/>
            <ac:cxnSpMk id="616" creationId="{C6B55A7D-D1D4-DC19-6EF7-4C55CDCD9636}"/>
          </ac:cxnSpMkLst>
        </pc:cxnChg>
        <pc:cxnChg chg="del ord replST">
          <ac:chgData name="Bullinger, Marvin" userId="5b54ce5a-dc89-476f-af33-5abd75d5b1e8" providerId="ADAL" clId="{43B71669-8A80-4333-9349-B258A9296B49}" dt="2024-02-27T17:27:37.053" v="7129" actId="478"/>
          <ac:cxnSpMkLst>
            <pc:docMk/>
            <pc:sldMk cId="1945724814" sldId="582"/>
            <ac:cxnSpMk id="617" creationId="{ADA4740F-E971-24AF-B57D-098C69D241B0}"/>
          </ac:cxnSpMkLst>
        </pc:cxnChg>
        <pc:cxnChg chg="ord replST">
          <ac:chgData name="Bullinger, Marvin" userId="5b54ce5a-dc89-476f-af33-5abd75d5b1e8" providerId="ADAL" clId="{43B71669-8A80-4333-9349-B258A9296B49}" dt="2024-02-27T17:27:38.108" v="7618"/>
          <ac:cxnSpMkLst>
            <pc:docMk/>
            <pc:sldMk cId="1945724814" sldId="582"/>
            <ac:cxnSpMk id="697" creationId="{902619BC-47F5-FA74-0355-0774E9A52AC3}"/>
          </ac:cxnSpMkLst>
        </pc:cxnChg>
        <pc:cxnChg chg="ord replST">
          <ac:chgData name="Bullinger, Marvin" userId="5b54ce5a-dc89-476f-af33-5abd75d5b1e8" providerId="ADAL" clId="{43B71669-8A80-4333-9349-B258A9296B49}" dt="2024-02-27T17:27:38.108" v="7619"/>
          <ac:cxnSpMkLst>
            <pc:docMk/>
            <pc:sldMk cId="1945724814" sldId="582"/>
            <ac:cxnSpMk id="700" creationId="{7164B6A0-06DC-4A7B-A4C4-96EE8570D755}"/>
          </ac:cxnSpMkLst>
        </pc:cxnChg>
        <pc:cxnChg chg="ord replST">
          <ac:chgData name="Bullinger, Marvin" userId="5b54ce5a-dc89-476f-af33-5abd75d5b1e8" providerId="ADAL" clId="{43B71669-8A80-4333-9349-B258A9296B49}" dt="2024-02-27T17:27:38.108" v="7620"/>
          <ac:cxnSpMkLst>
            <pc:docMk/>
            <pc:sldMk cId="1945724814" sldId="582"/>
            <ac:cxnSpMk id="703" creationId="{B9D5D21B-7106-6BC2-D124-B05355F7A4BA}"/>
          </ac:cxnSpMkLst>
        </pc:cxnChg>
        <pc:cxnChg chg="ord replST">
          <ac:chgData name="Bullinger, Marvin" userId="5b54ce5a-dc89-476f-af33-5abd75d5b1e8" providerId="ADAL" clId="{43B71669-8A80-4333-9349-B258A9296B49}" dt="2024-02-27T17:27:38.108" v="7621"/>
          <ac:cxnSpMkLst>
            <pc:docMk/>
            <pc:sldMk cId="1945724814" sldId="582"/>
            <ac:cxnSpMk id="706" creationId="{CF828122-056B-F85B-DD3E-C5F4D6B2B478}"/>
          </ac:cxnSpMkLst>
        </pc:cxnChg>
        <pc:cxnChg chg="ord replST">
          <ac:chgData name="Bullinger, Marvin" userId="5b54ce5a-dc89-476f-af33-5abd75d5b1e8" providerId="ADAL" clId="{43B71669-8A80-4333-9349-B258A9296B49}" dt="2024-02-27T17:27:38.116" v="7623"/>
          <ac:cxnSpMkLst>
            <pc:docMk/>
            <pc:sldMk cId="1945724814" sldId="582"/>
            <ac:cxnSpMk id="712" creationId="{DF70ADF1-CF4E-854D-A750-6CF1684D46A9}"/>
          </ac:cxnSpMkLst>
        </pc:cxnChg>
        <pc:cxnChg chg="ord replST">
          <ac:chgData name="Bullinger, Marvin" userId="5b54ce5a-dc89-476f-af33-5abd75d5b1e8" providerId="ADAL" clId="{43B71669-8A80-4333-9349-B258A9296B49}" dt="2024-02-27T17:27:38.118" v="7624"/>
          <ac:cxnSpMkLst>
            <pc:docMk/>
            <pc:sldMk cId="1945724814" sldId="582"/>
            <ac:cxnSpMk id="715" creationId="{C9B51C5A-4EE6-508F-4304-81B9CD311551}"/>
          </ac:cxnSpMkLst>
        </pc:cxnChg>
        <pc:cxnChg chg="ord replST">
          <ac:chgData name="Bullinger, Marvin" userId="5b54ce5a-dc89-476f-af33-5abd75d5b1e8" providerId="ADAL" clId="{43B71669-8A80-4333-9349-B258A9296B49}" dt="2024-02-27T17:27:38.118" v="7625"/>
          <ac:cxnSpMkLst>
            <pc:docMk/>
            <pc:sldMk cId="1945724814" sldId="582"/>
            <ac:cxnSpMk id="716" creationId="{72F8BE49-7DA2-7F7C-2049-721E257615AF}"/>
          </ac:cxnSpMkLst>
        </pc:cxnChg>
      </pc:sldChg>
      <pc:sldChg chg="addSp delSp modSp mod ord modTransition">
        <pc:chgData name="Bullinger, Marvin" userId="5b54ce5a-dc89-476f-af33-5abd75d5b1e8" providerId="ADAL" clId="{43B71669-8A80-4333-9349-B258A9296B49}" dt="2024-02-27T17:27:38.241" v="7686"/>
        <pc:sldMkLst>
          <pc:docMk/>
          <pc:sldMk cId="2423218208" sldId="583"/>
        </pc:sldMkLst>
        <pc:spChg chg="mod">
          <ac:chgData name="Bullinger, Marvin" userId="5b54ce5a-dc89-476f-af33-5abd75d5b1e8" providerId="ADAL" clId="{43B71669-8A80-4333-9349-B258A9296B49}" dt="2024-02-27T16:53:49.050" v="3382"/>
          <ac:spMkLst>
            <pc:docMk/>
            <pc:sldMk cId="2423218208" sldId="583"/>
            <ac:spMk id="26" creationId="{8463F861-129B-B270-6A0D-52747D6FA031}"/>
          </ac:spMkLst>
        </pc:spChg>
        <pc:spChg chg="mod">
          <ac:chgData name="Bullinger, Marvin" userId="5b54ce5a-dc89-476f-af33-5abd75d5b1e8" providerId="ADAL" clId="{43B71669-8A80-4333-9349-B258A9296B49}" dt="2024-02-27T16:53:49.050" v="3382"/>
          <ac:spMkLst>
            <pc:docMk/>
            <pc:sldMk cId="2423218208" sldId="583"/>
            <ac:spMk id="27" creationId="{38D2142E-4BA2-67C4-D06C-3122B011EEA4}"/>
          </ac:spMkLst>
        </pc:spChg>
        <pc:spChg chg="del">
          <ac:chgData name="Bullinger, Marvin" userId="5b54ce5a-dc89-476f-af33-5abd75d5b1e8" providerId="ADAL" clId="{43B71669-8A80-4333-9349-B258A9296B49}" dt="2024-02-27T16:45:50.159" v="596" actId="478"/>
          <ac:spMkLst>
            <pc:docMk/>
            <pc:sldMk cId="2423218208" sldId="583"/>
            <ac:spMk id="192" creationId="{0BAD63AF-A3AB-235F-17EF-BB1B00D86A0C}"/>
          </ac:spMkLst>
        </pc:spChg>
        <pc:spChg chg="del">
          <ac:chgData name="Bullinger, Marvin" userId="5b54ce5a-dc89-476f-af33-5abd75d5b1e8" providerId="ADAL" clId="{43B71669-8A80-4333-9349-B258A9296B49}" dt="2024-02-27T16:45:50.159" v="595" actId="478"/>
          <ac:spMkLst>
            <pc:docMk/>
            <pc:sldMk cId="2423218208" sldId="583"/>
            <ac:spMk id="193" creationId="{23EFD842-AD3A-1F26-1700-2F922215A0FA}"/>
          </ac:spMkLst>
        </pc:spChg>
        <pc:spChg chg="del">
          <ac:chgData name="Bullinger, Marvin" userId="5b54ce5a-dc89-476f-af33-5abd75d5b1e8" providerId="ADAL" clId="{43B71669-8A80-4333-9349-B258A9296B49}" dt="2024-02-27T16:45:50.143" v="594" actId="478"/>
          <ac:spMkLst>
            <pc:docMk/>
            <pc:sldMk cId="2423218208" sldId="583"/>
            <ac:spMk id="194" creationId="{C4733E4C-BD1E-6730-6699-9FEA2C403D21}"/>
          </ac:spMkLst>
        </pc:spChg>
        <pc:spChg chg="del">
          <ac:chgData name="Bullinger, Marvin" userId="5b54ce5a-dc89-476f-af33-5abd75d5b1e8" providerId="ADAL" clId="{43B71669-8A80-4333-9349-B258A9296B49}" dt="2024-02-27T16:45:50.143" v="593" actId="478"/>
          <ac:spMkLst>
            <pc:docMk/>
            <pc:sldMk cId="2423218208" sldId="583"/>
            <ac:spMk id="195" creationId="{CFA39DBE-6922-2E72-42D9-0684E2B6A24B}"/>
          </ac:spMkLst>
        </pc:spChg>
        <pc:spChg chg="del">
          <ac:chgData name="Bullinger, Marvin" userId="5b54ce5a-dc89-476f-af33-5abd75d5b1e8" providerId="ADAL" clId="{43B71669-8A80-4333-9349-B258A9296B49}" dt="2024-02-27T16:45:50.143" v="590" actId="478"/>
          <ac:spMkLst>
            <pc:docMk/>
            <pc:sldMk cId="2423218208" sldId="583"/>
            <ac:spMk id="196" creationId="{65F0836C-1336-0BB3-3209-CD7CB36EA283}"/>
          </ac:spMkLst>
        </pc:spChg>
        <pc:spChg chg="del">
          <ac:chgData name="Bullinger, Marvin" userId="5b54ce5a-dc89-476f-af33-5abd75d5b1e8" providerId="ADAL" clId="{43B71669-8A80-4333-9349-B258A9296B49}" dt="2024-02-27T16:45:50.143" v="589" actId="478"/>
          <ac:spMkLst>
            <pc:docMk/>
            <pc:sldMk cId="2423218208" sldId="583"/>
            <ac:spMk id="197" creationId="{2C2BE3B8-12EA-A5A7-9F78-CC90FD6C5A54}"/>
          </ac:spMkLst>
        </pc:spChg>
        <pc:spChg chg="del">
          <ac:chgData name="Bullinger, Marvin" userId="5b54ce5a-dc89-476f-af33-5abd75d5b1e8" providerId="ADAL" clId="{43B71669-8A80-4333-9349-B258A9296B49}" dt="2024-02-27T16:45:50.128" v="563" actId="478"/>
          <ac:spMkLst>
            <pc:docMk/>
            <pc:sldMk cId="2423218208" sldId="583"/>
            <ac:spMk id="198" creationId="{552C5E17-6D28-9037-3D76-7515D20DD2C1}"/>
          </ac:spMkLst>
        </pc:spChg>
        <pc:spChg chg="del">
          <ac:chgData name="Bullinger, Marvin" userId="5b54ce5a-dc89-476f-af33-5abd75d5b1e8" providerId="ADAL" clId="{43B71669-8A80-4333-9349-B258A9296B49}" dt="2024-02-27T16:45:50.143" v="588" actId="478"/>
          <ac:spMkLst>
            <pc:docMk/>
            <pc:sldMk cId="2423218208" sldId="583"/>
            <ac:spMk id="199" creationId="{9258CEB1-B416-2C52-07F8-ECB7336FE06F}"/>
          </ac:spMkLst>
        </pc:spChg>
        <pc:spChg chg="del">
          <ac:chgData name="Bullinger, Marvin" userId="5b54ce5a-dc89-476f-af33-5abd75d5b1e8" providerId="ADAL" clId="{43B71669-8A80-4333-9349-B258A9296B49}" dt="2024-02-27T16:45:50.143" v="587" actId="478"/>
          <ac:spMkLst>
            <pc:docMk/>
            <pc:sldMk cId="2423218208" sldId="583"/>
            <ac:spMk id="200" creationId="{972E9CA2-4AC9-6B5D-C7F7-A83910AFF08A}"/>
          </ac:spMkLst>
        </pc:spChg>
        <pc:spChg chg="del">
          <ac:chgData name="Bullinger, Marvin" userId="5b54ce5a-dc89-476f-af33-5abd75d5b1e8" providerId="ADAL" clId="{43B71669-8A80-4333-9349-B258A9296B49}" dt="2024-02-27T16:45:50.143" v="586" actId="478"/>
          <ac:spMkLst>
            <pc:docMk/>
            <pc:sldMk cId="2423218208" sldId="583"/>
            <ac:spMk id="201" creationId="{AB76B892-FE3E-F80F-01FB-099FBE99091E}"/>
          </ac:spMkLst>
        </pc:spChg>
        <pc:spChg chg="del">
          <ac:chgData name="Bullinger, Marvin" userId="5b54ce5a-dc89-476f-af33-5abd75d5b1e8" providerId="ADAL" clId="{43B71669-8A80-4333-9349-B258A9296B49}" dt="2024-02-27T16:45:50.143" v="585" actId="478"/>
          <ac:spMkLst>
            <pc:docMk/>
            <pc:sldMk cId="2423218208" sldId="583"/>
            <ac:spMk id="202" creationId="{37F55991-366E-ACE2-367E-56AFDBA2EE96}"/>
          </ac:spMkLst>
        </pc:spChg>
        <pc:spChg chg="del">
          <ac:chgData name="Bullinger, Marvin" userId="5b54ce5a-dc89-476f-af33-5abd75d5b1e8" providerId="ADAL" clId="{43B71669-8A80-4333-9349-B258A9296B49}" dt="2024-02-27T16:45:50.159" v="606" actId="478"/>
          <ac:spMkLst>
            <pc:docMk/>
            <pc:sldMk cId="2423218208" sldId="583"/>
            <ac:spMk id="203" creationId="{711174A9-604F-1A71-A754-8116E980B5FD}"/>
          </ac:spMkLst>
        </pc:spChg>
        <pc:spChg chg="del">
          <ac:chgData name="Bullinger, Marvin" userId="5b54ce5a-dc89-476f-af33-5abd75d5b1e8" providerId="ADAL" clId="{43B71669-8A80-4333-9349-B258A9296B49}" dt="2024-02-27T16:45:50.159" v="605" actId="478"/>
          <ac:spMkLst>
            <pc:docMk/>
            <pc:sldMk cId="2423218208" sldId="583"/>
            <ac:spMk id="204" creationId="{E31D0861-0F56-0E2F-B771-5188C374107F}"/>
          </ac:spMkLst>
        </pc:spChg>
        <pc:spChg chg="del">
          <ac:chgData name="Bullinger, Marvin" userId="5b54ce5a-dc89-476f-af33-5abd75d5b1e8" providerId="ADAL" clId="{43B71669-8A80-4333-9349-B258A9296B49}" dt="2024-02-27T16:45:50.159" v="604" actId="478"/>
          <ac:spMkLst>
            <pc:docMk/>
            <pc:sldMk cId="2423218208" sldId="583"/>
            <ac:spMk id="205" creationId="{6CDAA612-38D3-D1B9-5755-8C91054FAC2F}"/>
          </ac:spMkLst>
        </pc:spChg>
        <pc:spChg chg="del">
          <ac:chgData name="Bullinger, Marvin" userId="5b54ce5a-dc89-476f-af33-5abd75d5b1e8" providerId="ADAL" clId="{43B71669-8A80-4333-9349-B258A9296B49}" dt="2024-02-27T16:45:50.159" v="603" actId="478"/>
          <ac:spMkLst>
            <pc:docMk/>
            <pc:sldMk cId="2423218208" sldId="583"/>
            <ac:spMk id="206" creationId="{2118BDD2-B195-08D4-2A79-4C6999558C11}"/>
          </ac:spMkLst>
        </pc:spChg>
        <pc:spChg chg="del">
          <ac:chgData name="Bullinger, Marvin" userId="5b54ce5a-dc89-476f-af33-5abd75d5b1e8" providerId="ADAL" clId="{43B71669-8A80-4333-9349-B258A9296B49}" dt="2024-02-27T16:45:50.159" v="602" actId="478"/>
          <ac:spMkLst>
            <pc:docMk/>
            <pc:sldMk cId="2423218208" sldId="583"/>
            <ac:spMk id="207" creationId="{DD0F75F8-5638-A556-1413-A42E31DB67E3}"/>
          </ac:spMkLst>
        </pc:spChg>
        <pc:spChg chg="del">
          <ac:chgData name="Bullinger, Marvin" userId="5b54ce5a-dc89-476f-af33-5abd75d5b1e8" providerId="ADAL" clId="{43B71669-8A80-4333-9349-B258A9296B49}" dt="2024-02-27T16:45:50.159" v="601" actId="478"/>
          <ac:spMkLst>
            <pc:docMk/>
            <pc:sldMk cId="2423218208" sldId="583"/>
            <ac:spMk id="208" creationId="{091BD939-6DF2-6321-B6D8-29242BEF763F}"/>
          </ac:spMkLst>
        </pc:spChg>
        <pc:spChg chg="del">
          <ac:chgData name="Bullinger, Marvin" userId="5b54ce5a-dc89-476f-af33-5abd75d5b1e8" providerId="ADAL" clId="{43B71669-8A80-4333-9349-B258A9296B49}" dt="2024-02-27T16:45:50.159" v="600" actId="478"/>
          <ac:spMkLst>
            <pc:docMk/>
            <pc:sldMk cId="2423218208" sldId="583"/>
            <ac:spMk id="209" creationId="{AAFE2503-B325-AAB3-096E-2FC69CA190AE}"/>
          </ac:spMkLst>
        </pc:spChg>
        <pc:spChg chg="del">
          <ac:chgData name="Bullinger, Marvin" userId="5b54ce5a-dc89-476f-af33-5abd75d5b1e8" providerId="ADAL" clId="{43B71669-8A80-4333-9349-B258A9296B49}" dt="2024-02-27T16:45:50.159" v="599" actId="478"/>
          <ac:spMkLst>
            <pc:docMk/>
            <pc:sldMk cId="2423218208" sldId="583"/>
            <ac:spMk id="210" creationId="{D3044975-8DB4-FCF1-4B21-AE66ECEAC26E}"/>
          </ac:spMkLst>
        </pc:spChg>
        <pc:spChg chg="del">
          <ac:chgData name="Bullinger, Marvin" userId="5b54ce5a-dc89-476f-af33-5abd75d5b1e8" providerId="ADAL" clId="{43B71669-8A80-4333-9349-B258A9296B49}" dt="2024-02-27T16:45:50.143" v="591" actId="478"/>
          <ac:spMkLst>
            <pc:docMk/>
            <pc:sldMk cId="2423218208" sldId="583"/>
            <ac:spMk id="211" creationId="{FCD7002E-96CD-F053-D748-1D30971D4E0A}"/>
          </ac:spMkLst>
        </pc:spChg>
        <pc:spChg chg="del">
          <ac:chgData name="Bullinger, Marvin" userId="5b54ce5a-dc89-476f-af33-5abd75d5b1e8" providerId="ADAL" clId="{43B71669-8A80-4333-9349-B258A9296B49}" dt="2024-02-27T16:45:50.143" v="584" actId="478"/>
          <ac:spMkLst>
            <pc:docMk/>
            <pc:sldMk cId="2423218208" sldId="583"/>
            <ac:spMk id="212" creationId="{90B08B75-B135-788F-168C-6AC033D1AC2E}"/>
          </ac:spMkLst>
        </pc:spChg>
        <pc:spChg chg="del">
          <ac:chgData name="Bullinger, Marvin" userId="5b54ce5a-dc89-476f-af33-5abd75d5b1e8" providerId="ADAL" clId="{43B71669-8A80-4333-9349-B258A9296B49}" dt="2024-02-27T16:45:50.143" v="592" actId="478"/>
          <ac:spMkLst>
            <pc:docMk/>
            <pc:sldMk cId="2423218208" sldId="583"/>
            <ac:spMk id="213" creationId="{F4528DBE-E811-464B-6B71-70B17AB73991}"/>
          </ac:spMkLst>
        </pc:spChg>
        <pc:spChg chg="del">
          <ac:chgData name="Bullinger, Marvin" userId="5b54ce5a-dc89-476f-af33-5abd75d5b1e8" providerId="ADAL" clId="{43B71669-8A80-4333-9349-B258A9296B49}" dt="2024-02-27T16:45:50.143" v="583" actId="478"/>
          <ac:spMkLst>
            <pc:docMk/>
            <pc:sldMk cId="2423218208" sldId="583"/>
            <ac:spMk id="214" creationId="{1B65B6ED-CC21-A85D-F65B-99B2A567CF01}"/>
          </ac:spMkLst>
        </pc:spChg>
        <pc:spChg chg="del">
          <ac:chgData name="Bullinger, Marvin" userId="5b54ce5a-dc89-476f-af33-5abd75d5b1e8" providerId="ADAL" clId="{43B71669-8A80-4333-9349-B258A9296B49}" dt="2024-02-27T16:45:50.143" v="582" actId="478"/>
          <ac:spMkLst>
            <pc:docMk/>
            <pc:sldMk cId="2423218208" sldId="583"/>
            <ac:spMk id="215" creationId="{8553DAB8-64A2-4FAD-47B1-336B2F6E916F}"/>
          </ac:spMkLst>
        </pc:spChg>
        <pc:spChg chg="del">
          <ac:chgData name="Bullinger, Marvin" userId="5b54ce5a-dc89-476f-af33-5abd75d5b1e8" providerId="ADAL" clId="{43B71669-8A80-4333-9349-B258A9296B49}" dt="2024-02-27T16:45:50.143" v="581" actId="478"/>
          <ac:spMkLst>
            <pc:docMk/>
            <pc:sldMk cId="2423218208" sldId="583"/>
            <ac:spMk id="216" creationId="{8AC9D9BA-44F6-A288-DAFB-9B40CDDC3D0D}"/>
          </ac:spMkLst>
        </pc:spChg>
        <pc:spChg chg="del">
          <ac:chgData name="Bullinger, Marvin" userId="5b54ce5a-dc89-476f-af33-5abd75d5b1e8" providerId="ADAL" clId="{43B71669-8A80-4333-9349-B258A9296B49}" dt="2024-02-27T16:45:50.143" v="580" actId="478"/>
          <ac:spMkLst>
            <pc:docMk/>
            <pc:sldMk cId="2423218208" sldId="583"/>
            <ac:spMk id="217" creationId="{CDDE2A62-123B-40A1-37EB-732A2342C881}"/>
          </ac:spMkLst>
        </pc:spChg>
        <pc:spChg chg="del">
          <ac:chgData name="Bullinger, Marvin" userId="5b54ce5a-dc89-476f-af33-5abd75d5b1e8" providerId="ADAL" clId="{43B71669-8A80-4333-9349-B258A9296B49}" dt="2024-02-27T16:45:50.143" v="579" actId="478"/>
          <ac:spMkLst>
            <pc:docMk/>
            <pc:sldMk cId="2423218208" sldId="583"/>
            <ac:spMk id="218" creationId="{10DFBAD0-675B-9D8A-E26B-911CD3F569F4}"/>
          </ac:spMkLst>
        </pc:spChg>
        <pc:spChg chg="del">
          <ac:chgData name="Bullinger, Marvin" userId="5b54ce5a-dc89-476f-af33-5abd75d5b1e8" providerId="ADAL" clId="{43B71669-8A80-4333-9349-B258A9296B49}" dt="2024-02-27T16:45:50.143" v="578" actId="478"/>
          <ac:spMkLst>
            <pc:docMk/>
            <pc:sldMk cId="2423218208" sldId="583"/>
            <ac:spMk id="219" creationId="{592B15F6-C49D-ABA9-2150-DF489B2FED40}"/>
          </ac:spMkLst>
        </pc:spChg>
        <pc:spChg chg="del">
          <ac:chgData name="Bullinger, Marvin" userId="5b54ce5a-dc89-476f-af33-5abd75d5b1e8" providerId="ADAL" clId="{43B71669-8A80-4333-9349-B258A9296B49}" dt="2024-02-27T16:45:50.143" v="577" actId="478"/>
          <ac:spMkLst>
            <pc:docMk/>
            <pc:sldMk cId="2423218208" sldId="583"/>
            <ac:spMk id="220" creationId="{10CF08D8-DC18-B20F-E424-FB4DE7DF6924}"/>
          </ac:spMkLst>
        </pc:spChg>
        <pc:spChg chg="del">
          <ac:chgData name="Bullinger, Marvin" userId="5b54ce5a-dc89-476f-af33-5abd75d5b1e8" providerId="ADAL" clId="{43B71669-8A80-4333-9349-B258A9296B49}" dt="2024-02-27T16:45:50.143" v="576" actId="478"/>
          <ac:spMkLst>
            <pc:docMk/>
            <pc:sldMk cId="2423218208" sldId="583"/>
            <ac:spMk id="221" creationId="{6CE6548E-D811-97DF-9F01-0871A7C19D13}"/>
          </ac:spMkLst>
        </pc:spChg>
        <pc:spChg chg="del">
          <ac:chgData name="Bullinger, Marvin" userId="5b54ce5a-dc89-476f-af33-5abd75d5b1e8" providerId="ADAL" clId="{43B71669-8A80-4333-9349-B258A9296B49}" dt="2024-02-27T16:45:50.143" v="575" actId="478"/>
          <ac:spMkLst>
            <pc:docMk/>
            <pc:sldMk cId="2423218208" sldId="583"/>
            <ac:spMk id="222" creationId="{495F5E9C-2CA0-666A-1674-CE0DEDDB7134}"/>
          </ac:spMkLst>
        </pc:spChg>
        <pc:spChg chg="del">
          <ac:chgData name="Bullinger, Marvin" userId="5b54ce5a-dc89-476f-af33-5abd75d5b1e8" providerId="ADAL" clId="{43B71669-8A80-4333-9349-B258A9296B49}" dt="2024-02-27T16:45:50.143" v="574" actId="478"/>
          <ac:spMkLst>
            <pc:docMk/>
            <pc:sldMk cId="2423218208" sldId="583"/>
            <ac:spMk id="223" creationId="{85A8278F-272E-5E33-BE0C-FADECA860D70}"/>
          </ac:spMkLst>
        </pc:spChg>
        <pc:spChg chg="add mod">
          <ac:chgData name="Bullinger, Marvin" userId="5b54ce5a-dc89-476f-af33-5abd75d5b1e8" providerId="ADAL" clId="{43B71669-8A80-4333-9349-B258A9296B49}" dt="2024-02-27T16:45:50.128" v="563" actId="478"/>
          <ac:spMkLst>
            <pc:docMk/>
            <pc:sldMk cId="2423218208" sldId="583"/>
            <ac:spMk id="234" creationId="{4DBBD89F-4452-3EA4-E24C-EFBB5119A844}"/>
          </ac:spMkLst>
        </pc:spChg>
        <pc:spChg chg="del mod ord replST">
          <ac:chgData name="Bullinger, Marvin" userId="5b54ce5a-dc89-476f-af33-5abd75d5b1e8" providerId="ADAL" clId="{43B71669-8A80-4333-9349-B258A9296B49}" dt="2024-02-27T16:46:20.381" v="1341" actId="478"/>
          <ac:spMkLst>
            <pc:docMk/>
            <pc:sldMk cId="2423218208" sldId="583"/>
            <ac:spMk id="235" creationId="{D821F203-9C8D-79BC-663E-F1215F57DC65}"/>
          </ac:spMkLst>
        </pc:spChg>
        <pc:spChg chg="del">
          <ac:chgData name="Bullinger, Marvin" userId="5b54ce5a-dc89-476f-af33-5abd75d5b1e8" providerId="ADAL" clId="{43B71669-8A80-4333-9349-B258A9296B49}" dt="2024-02-27T16:45:50.128" v="569" actId="478"/>
          <ac:spMkLst>
            <pc:docMk/>
            <pc:sldMk cId="2423218208" sldId="583"/>
            <ac:spMk id="253" creationId="{79D4F801-19C2-CCFC-1857-186B52EBACA9}"/>
          </ac:spMkLst>
        </pc:spChg>
        <pc:spChg chg="del">
          <ac:chgData name="Bullinger, Marvin" userId="5b54ce5a-dc89-476f-af33-5abd75d5b1e8" providerId="ADAL" clId="{43B71669-8A80-4333-9349-B258A9296B49}" dt="2024-02-27T16:45:50.159" v="598" actId="478"/>
          <ac:spMkLst>
            <pc:docMk/>
            <pc:sldMk cId="2423218208" sldId="583"/>
            <ac:spMk id="254" creationId="{B52323DF-C871-60D2-6442-BB15F8CF7823}"/>
          </ac:spMkLst>
        </pc:spChg>
        <pc:spChg chg="del">
          <ac:chgData name="Bullinger, Marvin" userId="5b54ce5a-dc89-476f-af33-5abd75d5b1e8" providerId="ADAL" clId="{43B71669-8A80-4333-9349-B258A9296B49}" dt="2024-02-27T16:45:50.159" v="597" actId="478"/>
          <ac:spMkLst>
            <pc:docMk/>
            <pc:sldMk cId="2423218208" sldId="583"/>
            <ac:spMk id="255" creationId="{85F4E87D-1A79-D20A-7923-E5CFC63D6DEA}"/>
          </ac:spMkLst>
        </pc:spChg>
        <pc:spChg chg="del">
          <ac:chgData name="Bullinger, Marvin" userId="5b54ce5a-dc89-476f-af33-5abd75d5b1e8" providerId="ADAL" clId="{43B71669-8A80-4333-9349-B258A9296B49}" dt="2024-02-27T16:45:50.143" v="573" actId="478"/>
          <ac:spMkLst>
            <pc:docMk/>
            <pc:sldMk cId="2423218208" sldId="583"/>
            <ac:spMk id="256" creationId="{02DA5181-9190-39D1-ED1E-58194BA5268A}"/>
          </ac:spMkLst>
        </pc:spChg>
        <pc:spChg chg="del">
          <ac:chgData name="Bullinger, Marvin" userId="5b54ce5a-dc89-476f-af33-5abd75d5b1e8" providerId="ADAL" clId="{43B71669-8A80-4333-9349-B258A9296B49}" dt="2024-02-27T16:45:50.143" v="572" actId="478"/>
          <ac:spMkLst>
            <pc:docMk/>
            <pc:sldMk cId="2423218208" sldId="583"/>
            <ac:spMk id="257" creationId="{425A8D46-CC5F-A2ED-9D27-F2B4DB911D2D}"/>
          </ac:spMkLst>
        </pc:spChg>
        <pc:spChg chg="del">
          <ac:chgData name="Bullinger, Marvin" userId="5b54ce5a-dc89-476f-af33-5abd75d5b1e8" providerId="ADAL" clId="{43B71669-8A80-4333-9349-B258A9296B49}" dt="2024-02-27T16:45:50.143" v="571" actId="478"/>
          <ac:spMkLst>
            <pc:docMk/>
            <pc:sldMk cId="2423218208" sldId="583"/>
            <ac:spMk id="258" creationId="{C2897C36-6857-E746-E352-D8DF501C8C99}"/>
          </ac:spMkLst>
        </pc:spChg>
        <pc:spChg chg="del">
          <ac:chgData name="Bullinger, Marvin" userId="5b54ce5a-dc89-476f-af33-5abd75d5b1e8" providerId="ADAL" clId="{43B71669-8A80-4333-9349-B258A9296B49}" dt="2024-02-27T16:45:50.143" v="570" actId="478"/>
          <ac:spMkLst>
            <pc:docMk/>
            <pc:sldMk cId="2423218208" sldId="583"/>
            <ac:spMk id="259" creationId="{3E4DE4CA-C8A6-4469-D02E-3BA4C49007FA}"/>
          </ac:spMkLst>
        </pc:spChg>
        <pc:spChg chg="replST">
          <ac:chgData name="Bullinger, Marvin" userId="5b54ce5a-dc89-476f-af33-5abd75d5b1e8" providerId="ADAL" clId="{43B71669-8A80-4333-9349-B258A9296B49}" dt="2024-02-27T16:45:50.628" v="929"/>
          <ac:spMkLst>
            <pc:docMk/>
            <pc:sldMk cId="2423218208" sldId="583"/>
            <ac:spMk id="260" creationId="{C25C16C8-D7E0-DBFF-7726-46973A04E105}"/>
          </ac:spMkLst>
        </pc:spChg>
        <pc:spChg chg="replST">
          <ac:chgData name="Bullinger, Marvin" userId="5b54ce5a-dc89-476f-af33-5abd75d5b1e8" providerId="ADAL" clId="{43B71669-8A80-4333-9349-B258A9296B49}" dt="2024-02-27T16:45:50.628" v="932"/>
          <ac:spMkLst>
            <pc:docMk/>
            <pc:sldMk cId="2423218208" sldId="583"/>
            <ac:spMk id="261" creationId="{B24CDB72-B4F6-3FE3-03E9-1BA3AE6CAED6}"/>
          </ac:spMkLst>
        </pc:spChg>
        <pc:spChg chg="replST">
          <ac:chgData name="Bullinger, Marvin" userId="5b54ce5a-dc89-476f-af33-5abd75d5b1e8" providerId="ADAL" clId="{43B71669-8A80-4333-9349-B258A9296B49}" dt="2024-02-27T16:45:50.644" v="936"/>
          <ac:spMkLst>
            <pc:docMk/>
            <pc:sldMk cId="2423218208" sldId="583"/>
            <ac:spMk id="263" creationId="{0AFB00DC-1B04-CBF8-0481-68B699DA5A5D}"/>
          </ac:spMkLst>
        </pc:spChg>
        <pc:spChg chg="replST">
          <ac:chgData name="Bullinger, Marvin" userId="5b54ce5a-dc89-476f-af33-5abd75d5b1e8" providerId="ADAL" clId="{43B71669-8A80-4333-9349-B258A9296B49}" dt="2024-02-27T16:45:50.644" v="939"/>
          <ac:spMkLst>
            <pc:docMk/>
            <pc:sldMk cId="2423218208" sldId="583"/>
            <ac:spMk id="264" creationId="{A0BA0608-39CB-C076-ABA7-8B0251CA3C0A}"/>
          </ac:spMkLst>
        </pc:spChg>
        <pc:spChg chg="replST">
          <ac:chgData name="Bullinger, Marvin" userId="5b54ce5a-dc89-476f-af33-5abd75d5b1e8" providerId="ADAL" clId="{43B71669-8A80-4333-9349-B258A9296B49}" dt="2024-02-27T16:45:50.644" v="943"/>
          <ac:spMkLst>
            <pc:docMk/>
            <pc:sldMk cId="2423218208" sldId="583"/>
            <ac:spMk id="266" creationId="{C4153C11-5954-545B-A6B8-1B8AF7E1C1BC}"/>
          </ac:spMkLst>
        </pc:spChg>
        <pc:spChg chg="replST">
          <ac:chgData name="Bullinger, Marvin" userId="5b54ce5a-dc89-476f-af33-5abd75d5b1e8" providerId="ADAL" clId="{43B71669-8A80-4333-9349-B258A9296B49}" dt="2024-02-27T16:45:50.644" v="946"/>
          <ac:spMkLst>
            <pc:docMk/>
            <pc:sldMk cId="2423218208" sldId="583"/>
            <ac:spMk id="267" creationId="{110FADC4-560A-E276-58DB-C7834591A6C7}"/>
          </ac:spMkLst>
        </pc:spChg>
        <pc:spChg chg="replST">
          <ac:chgData name="Bullinger, Marvin" userId="5b54ce5a-dc89-476f-af33-5abd75d5b1e8" providerId="ADAL" clId="{43B71669-8A80-4333-9349-B258A9296B49}" dt="2024-02-27T16:45:50.660" v="950"/>
          <ac:spMkLst>
            <pc:docMk/>
            <pc:sldMk cId="2423218208" sldId="583"/>
            <ac:spMk id="269" creationId="{F538F286-59AE-BC04-160E-5F7D58474DA1}"/>
          </ac:spMkLst>
        </pc:spChg>
        <pc:spChg chg="replST">
          <ac:chgData name="Bullinger, Marvin" userId="5b54ce5a-dc89-476f-af33-5abd75d5b1e8" providerId="ADAL" clId="{43B71669-8A80-4333-9349-B258A9296B49}" dt="2024-02-27T16:45:50.660" v="953"/>
          <ac:spMkLst>
            <pc:docMk/>
            <pc:sldMk cId="2423218208" sldId="583"/>
            <ac:spMk id="270" creationId="{1485F0E3-A5EC-0C89-1304-80C9306D32D3}"/>
          </ac:spMkLst>
        </pc:spChg>
        <pc:spChg chg="replST">
          <ac:chgData name="Bullinger, Marvin" userId="5b54ce5a-dc89-476f-af33-5abd75d5b1e8" providerId="ADAL" clId="{43B71669-8A80-4333-9349-B258A9296B49}" dt="2024-02-27T16:45:50.660" v="957"/>
          <ac:spMkLst>
            <pc:docMk/>
            <pc:sldMk cId="2423218208" sldId="583"/>
            <ac:spMk id="272" creationId="{FADAC63D-FE70-59F7-F916-F30C1C4AFC6D}"/>
          </ac:spMkLst>
        </pc:spChg>
        <pc:spChg chg="replST">
          <ac:chgData name="Bullinger, Marvin" userId="5b54ce5a-dc89-476f-af33-5abd75d5b1e8" providerId="ADAL" clId="{43B71669-8A80-4333-9349-B258A9296B49}" dt="2024-02-27T16:45:50.660" v="960"/>
          <ac:spMkLst>
            <pc:docMk/>
            <pc:sldMk cId="2423218208" sldId="583"/>
            <ac:spMk id="273" creationId="{BF5C666C-44EF-4623-BEAA-0AD78B5E35FE}"/>
          </ac:spMkLst>
        </pc:spChg>
        <pc:spChg chg="replST">
          <ac:chgData name="Bullinger, Marvin" userId="5b54ce5a-dc89-476f-af33-5abd75d5b1e8" providerId="ADAL" clId="{43B71669-8A80-4333-9349-B258A9296B49}" dt="2024-02-27T16:45:50.676" v="964"/>
          <ac:spMkLst>
            <pc:docMk/>
            <pc:sldMk cId="2423218208" sldId="583"/>
            <ac:spMk id="275" creationId="{96B6B2E9-E130-4DC3-2F80-85C0D64A4C33}"/>
          </ac:spMkLst>
        </pc:spChg>
        <pc:spChg chg="replST">
          <ac:chgData name="Bullinger, Marvin" userId="5b54ce5a-dc89-476f-af33-5abd75d5b1e8" providerId="ADAL" clId="{43B71669-8A80-4333-9349-B258A9296B49}" dt="2024-02-27T16:45:50.676" v="967"/>
          <ac:spMkLst>
            <pc:docMk/>
            <pc:sldMk cId="2423218208" sldId="583"/>
            <ac:spMk id="276" creationId="{3B69865F-7877-710B-4A24-3BDDA24D1398}"/>
          </ac:spMkLst>
        </pc:spChg>
        <pc:spChg chg="del ord replST">
          <ac:chgData name="Bullinger, Marvin" userId="5b54ce5a-dc89-476f-af33-5abd75d5b1e8" providerId="ADAL" clId="{43B71669-8A80-4333-9349-B258A9296B49}" dt="2024-02-27T16:46:20.381" v="1347" actId="478"/>
          <ac:spMkLst>
            <pc:docMk/>
            <pc:sldMk cId="2423218208" sldId="583"/>
            <ac:spMk id="277" creationId="{C218C80F-CAB5-D5D9-A3A0-7AA6F433770F}"/>
          </ac:spMkLst>
        </pc:spChg>
        <pc:spChg chg="add mod">
          <ac:chgData name="Bullinger, Marvin" userId="5b54ce5a-dc89-476f-af33-5abd75d5b1e8" providerId="ADAL" clId="{43B71669-8A80-4333-9349-B258A9296B49}" dt="2024-02-27T17:21:07.510" v="3718" actId="478"/>
          <ac:spMkLst>
            <pc:docMk/>
            <pc:sldMk cId="2423218208" sldId="583"/>
            <ac:spMk id="298" creationId="{0B605413-914A-61AF-D1F8-0AF172E7A585}"/>
          </ac:spMkLst>
        </pc:spChg>
        <pc:spChg chg="del mod ord replST">
          <ac:chgData name="Bullinger, Marvin" userId="5b54ce5a-dc89-476f-af33-5abd75d5b1e8" providerId="ADAL" clId="{43B71669-8A80-4333-9349-B258A9296B49}" dt="2024-02-27T17:26:23.428" v="4758" actId="478"/>
          <ac:spMkLst>
            <pc:docMk/>
            <pc:sldMk cId="2423218208" sldId="583"/>
            <ac:spMk id="299" creationId="{402156F2-F188-B66B-44C7-3B52F6DDB283}"/>
          </ac:spMkLst>
        </pc:spChg>
        <pc:spChg chg="del">
          <ac:chgData name="Bullinger, Marvin" userId="5b54ce5a-dc89-476f-af33-5abd75d5b1e8" providerId="ADAL" clId="{43B71669-8A80-4333-9349-B258A9296B49}" dt="2024-02-27T17:21:07.577" v="3753" actId="478"/>
          <ac:spMkLst>
            <pc:docMk/>
            <pc:sldMk cId="2423218208" sldId="583"/>
            <ac:spMk id="300" creationId="{D911F3C2-B20F-2226-55C2-18CD6A951466}"/>
          </ac:spMkLst>
        </pc:spChg>
        <pc:spChg chg="del">
          <ac:chgData name="Bullinger, Marvin" userId="5b54ce5a-dc89-476f-af33-5abd75d5b1e8" providerId="ADAL" clId="{43B71669-8A80-4333-9349-B258A9296B49}" dt="2024-02-27T17:21:07.577" v="3752" actId="478"/>
          <ac:spMkLst>
            <pc:docMk/>
            <pc:sldMk cId="2423218208" sldId="583"/>
            <ac:spMk id="301" creationId="{703AD39F-2B0B-7B4E-DF9E-1091AC529758}"/>
          </ac:spMkLst>
        </pc:spChg>
        <pc:spChg chg="del">
          <ac:chgData name="Bullinger, Marvin" userId="5b54ce5a-dc89-476f-af33-5abd75d5b1e8" providerId="ADAL" clId="{43B71669-8A80-4333-9349-B258A9296B49}" dt="2024-02-27T17:21:07.577" v="3751" actId="478"/>
          <ac:spMkLst>
            <pc:docMk/>
            <pc:sldMk cId="2423218208" sldId="583"/>
            <ac:spMk id="302" creationId="{A07EDE28-6ACC-04CF-4683-632B67520081}"/>
          </ac:spMkLst>
        </pc:spChg>
        <pc:spChg chg="del">
          <ac:chgData name="Bullinger, Marvin" userId="5b54ce5a-dc89-476f-af33-5abd75d5b1e8" providerId="ADAL" clId="{43B71669-8A80-4333-9349-B258A9296B49}" dt="2024-02-27T17:21:07.577" v="3750" actId="478"/>
          <ac:spMkLst>
            <pc:docMk/>
            <pc:sldMk cId="2423218208" sldId="583"/>
            <ac:spMk id="303" creationId="{EEEC875F-AA02-B70B-E8A7-562578C845C9}"/>
          </ac:spMkLst>
        </pc:spChg>
        <pc:spChg chg="del">
          <ac:chgData name="Bullinger, Marvin" userId="5b54ce5a-dc89-476f-af33-5abd75d5b1e8" providerId="ADAL" clId="{43B71669-8A80-4333-9349-B258A9296B49}" dt="2024-02-27T17:21:07.577" v="3749" actId="478"/>
          <ac:spMkLst>
            <pc:docMk/>
            <pc:sldMk cId="2423218208" sldId="583"/>
            <ac:spMk id="304" creationId="{81740E1F-301A-A73A-1245-73CC242490FE}"/>
          </ac:spMkLst>
        </pc:spChg>
        <pc:spChg chg="del">
          <ac:chgData name="Bullinger, Marvin" userId="5b54ce5a-dc89-476f-af33-5abd75d5b1e8" providerId="ADAL" clId="{43B71669-8A80-4333-9349-B258A9296B49}" dt="2024-02-27T17:21:07.577" v="3748" actId="478"/>
          <ac:spMkLst>
            <pc:docMk/>
            <pc:sldMk cId="2423218208" sldId="583"/>
            <ac:spMk id="305" creationId="{D72363A2-7C2A-CF17-3F5A-E8ACD8EAC1A4}"/>
          </ac:spMkLst>
        </pc:spChg>
        <pc:spChg chg="del">
          <ac:chgData name="Bullinger, Marvin" userId="5b54ce5a-dc89-476f-af33-5abd75d5b1e8" providerId="ADAL" clId="{43B71669-8A80-4333-9349-B258A9296B49}" dt="2024-02-27T17:21:07.577" v="3745" actId="478"/>
          <ac:spMkLst>
            <pc:docMk/>
            <pc:sldMk cId="2423218208" sldId="583"/>
            <ac:spMk id="306" creationId="{E8DEA6E1-24B2-C53F-2DCF-FC7188870475}"/>
          </ac:spMkLst>
        </pc:spChg>
        <pc:spChg chg="del">
          <ac:chgData name="Bullinger, Marvin" userId="5b54ce5a-dc89-476f-af33-5abd75d5b1e8" providerId="ADAL" clId="{43B71669-8A80-4333-9349-B258A9296B49}" dt="2024-02-27T17:21:07.577" v="3744" actId="478"/>
          <ac:spMkLst>
            <pc:docMk/>
            <pc:sldMk cId="2423218208" sldId="583"/>
            <ac:spMk id="307" creationId="{D85B71BE-2E03-9CF0-2EFE-BEDCC7D1E5E3}"/>
          </ac:spMkLst>
        </pc:spChg>
        <pc:spChg chg="del">
          <ac:chgData name="Bullinger, Marvin" userId="5b54ce5a-dc89-476f-af33-5abd75d5b1e8" providerId="ADAL" clId="{43B71669-8A80-4333-9349-B258A9296B49}" dt="2024-02-27T17:21:07.577" v="3743" actId="478"/>
          <ac:spMkLst>
            <pc:docMk/>
            <pc:sldMk cId="2423218208" sldId="583"/>
            <ac:spMk id="308" creationId="{02650923-5512-1237-AB27-446A683DB4BA}"/>
          </ac:spMkLst>
        </pc:spChg>
        <pc:spChg chg="del">
          <ac:chgData name="Bullinger, Marvin" userId="5b54ce5a-dc89-476f-af33-5abd75d5b1e8" providerId="ADAL" clId="{43B71669-8A80-4333-9349-B258A9296B49}" dt="2024-02-27T17:21:07.577" v="3742" actId="478"/>
          <ac:spMkLst>
            <pc:docMk/>
            <pc:sldMk cId="2423218208" sldId="583"/>
            <ac:spMk id="309" creationId="{4D2282B7-B5D5-2B8F-EA65-381ADF129734}"/>
          </ac:spMkLst>
        </pc:spChg>
        <pc:spChg chg="del">
          <ac:chgData name="Bullinger, Marvin" userId="5b54ce5a-dc89-476f-af33-5abd75d5b1e8" providerId="ADAL" clId="{43B71669-8A80-4333-9349-B258A9296B49}" dt="2024-02-27T17:21:07.577" v="3741" actId="478"/>
          <ac:spMkLst>
            <pc:docMk/>
            <pc:sldMk cId="2423218208" sldId="583"/>
            <ac:spMk id="310" creationId="{DA2C3CB8-5EB4-F5DC-FA00-292EF6A5793D}"/>
          </ac:spMkLst>
        </pc:spChg>
        <pc:spChg chg="del">
          <ac:chgData name="Bullinger, Marvin" userId="5b54ce5a-dc89-476f-af33-5abd75d5b1e8" providerId="ADAL" clId="{43B71669-8A80-4333-9349-B258A9296B49}" dt="2024-02-27T17:21:07.577" v="3740" actId="478"/>
          <ac:spMkLst>
            <pc:docMk/>
            <pc:sldMk cId="2423218208" sldId="583"/>
            <ac:spMk id="311" creationId="{46A7DE77-D2BB-1467-E61B-CD80B884E040}"/>
          </ac:spMkLst>
        </pc:spChg>
        <pc:spChg chg="del">
          <ac:chgData name="Bullinger, Marvin" userId="5b54ce5a-dc89-476f-af33-5abd75d5b1e8" providerId="ADAL" clId="{43B71669-8A80-4333-9349-B258A9296B49}" dt="2024-02-27T17:21:07.577" v="3761" actId="478"/>
          <ac:spMkLst>
            <pc:docMk/>
            <pc:sldMk cId="2423218208" sldId="583"/>
            <ac:spMk id="312" creationId="{C7E44DAB-5F7A-9F14-6657-09F25C2FE46A}"/>
          </ac:spMkLst>
        </pc:spChg>
        <pc:spChg chg="del">
          <ac:chgData name="Bullinger, Marvin" userId="5b54ce5a-dc89-476f-af33-5abd75d5b1e8" providerId="ADAL" clId="{43B71669-8A80-4333-9349-B258A9296B49}" dt="2024-02-27T17:21:07.577" v="3760" actId="478"/>
          <ac:spMkLst>
            <pc:docMk/>
            <pc:sldMk cId="2423218208" sldId="583"/>
            <ac:spMk id="313" creationId="{E82785F6-3BFA-2762-97A8-4C1BCD349954}"/>
          </ac:spMkLst>
        </pc:spChg>
        <pc:spChg chg="del">
          <ac:chgData name="Bullinger, Marvin" userId="5b54ce5a-dc89-476f-af33-5abd75d5b1e8" providerId="ADAL" clId="{43B71669-8A80-4333-9349-B258A9296B49}" dt="2024-02-27T17:21:07.577" v="3759" actId="478"/>
          <ac:spMkLst>
            <pc:docMk/>
            <pc:sldMk cId="2423218208" sldId="583"/>
            <ac:spMk id="314" creationId="{AA3C5A29-F4EE-636B-97CD-E111EAC1D3C1}"/>
          </ac:spMkLst>
        </pc:spChg>
        <pc:spChg chg="del">
          <ac:chgData name="Bullinger, Marvin" userId="5b54ce5a-dc89-476f-af33-5abd75d5b1e8" providerId="ADAL" clId="{43B71669-8A80-4333-9349-B258A9296B49}" dt="2024-02-27T17:21:07.577" v="3758" actId="478"/>
          <ac:spMkLst>
            <pc:docMk/>
            <pc:sldMk cId="2423218208" sldId="583"/>
            <ac:spMk id="315" creationId="{659DF799-5777-826D-8A34-E3BF67BC4688}"/>
          </ac:spMkLst>
        </pc:spChg>
        <pc:spChg chg="del">
          <ac:chgData name="Bullinger, Marvin" userId="5b54ce5a-dc89-476f-af33-5abd75d5b1e8" providerId="ADAL" clId="{43B71669-8A80-4333-9349-B258A9296B49}" dt="2024-02-27T17:21:07.577" v="3757" actId="478"/>
          <ac:spMkLst>
            <pc:docMk/>
            <pc:sldMk cId="2423218208" sldId="583"/>
            <ac:spMk id="316" creationId="{CCEC2B88-7C54-B99A-F642-61F1FD09CA6A}"/>
          </ac:spMkLst>
        </pc:spChg>
        <pc:spChg chg="add mod">
          <ac:chgData name="Bullinger, Marvin" userId="5b54ce5a-dc89-476f-af33-5abd75d5b1e8" providerId="ADAL" clId="{43B71669-8A80-4333-9349-B258A9296B49}" dt="2024-02-27T16:46:20.381" v="1341" actId="478"/>
          <ac:spMkLst>
            <pc:docMk/>
            <pc:sldMk cId="2423218208" sldId="583"/>
            <ac:spMk id="316" creationId="{F1937C34-A8CA-FA54-8612-421165E9A341}"/>
          </ac:spMkLst>
        </pc:spChg>
        <pc:spChg chg="add del mod ord replST">
          <ac:chgData name="Bullinger, Marvin" userId="5b54ce5a-dc89-476f-af33-5abd75d5b1e8" providerId="ADAL" clId="{43B71669-8A80-4333-9349-B258A9296B49}" dt="2024-02-27T17:21:07.510" v="3718" actId="478"/>
          <ac:spMkLst>
            <pc:docMk/>
            <pc:sldMk cId="2423218208" sldId="583"/>
            <ac:spMk id="317" creationId="{152EA0FD-1EF9-0D85-5B4B-815523092C5F}"/>
          </ac:spMkLst>
        </pc:spChg>
        <pc:spChg chg="del">
          <ac:chgData name="Bullinger, Marvin" userId="5b54ce5a-dc89-476f-af33-5abd75d5b1e8" providerId="ADAL" clId="{43B71669-8A80-4333-9349-B258A9296B49}" dt="2024-02-27T17:21:07.577" v="3756" actId="478"/>
          <ac:spMkLst>
            <pc:docMk/>
            <pc:sldMk cId="2423218208" sldId="583"/>
            <ac:spMk id="318" creationId="{18C8C730-D3E0-3275-B222-3F04FC8DA423}"/>
          </ac:spMkLst>
        </pc:spChg>
        <pc:spChg chg="del">
          <ac:chgData name="Bullinger, Marvin" userId="5b54ce5a-dc89-476f-af33-5abd75d5b1e8" providerId="ADAL" clId="{43B71669-8A80-4333-9349-B258A9296B49}" dt="2024-02-27T16:46:20.401" v="1376" actId="478"/>
          <ac:spMkLst>
            <pc:docMk/>
            <pc:sldMk cId="2423218208" sldId="583"/>
            <ac:spMk id="318" creationId="{2E0F981D-99F3-E63A-6012-D197222A935B}"/>
          </ac:spMkLst>
        </pc:spChg>
        <pc:spChg chg="del">
          <ac:chgData name="Bullinger, Marvin" userId="5b54ce5a-dc89-476f-af33-5abd75d5b1e8" providerId="ADAL" clId="{43B71669-8A80-4333-9349-B258A9296B49}" dt="2024-02-27T17:21:07.577" v="3755" actId="478"/>
          <ac:spMkLst>
            <pc:docMk/>
            <pc:sldMk cId="2423218208" sldId="583"/>
            <ac:spMk id="319" creationId="{1EFC6371-4E4A-66D6-ED7A-2E370EF3F41E}"/>
          </ac:spMkLst>
        </pc:spChg>
        <pc:spChg chg="del">
          <ac:chgData name="Bullinger, Marvin" userId="5b54ce5a-dc89-476f-af33-5abd75d5b1e8" providerId="ADAL" clId="{43B71669-8A80-4333-9349-B258A9296B49}" dt="2024-02-27T16:46:20.401" v="1375" actId="478"/>
          <ac:spMkLst>
            <pc:docMk/>
            <pc:sldMk cId="2423218208" sldId="583"/>
            <ac:spMk id="319" creationId="{2C7553EF-6965-983C-BDBE-02EF34005F60}"/>
          </ac:spMkLst>
        </pc:spChg>
        <pc:spChg chg="del">
          <ac:chgData name="Bullinger, Marvin" userId="5b54ce5a-dc89-476f-af33-5abd75d5b1e8" providerId="ADAL" clId="{43B71669-8A80-4333-9349-B258A9296B49}" dt="2024-02-27T16:46:20.401" v="1374" actId="478"/>
          <ac:spMkLst>
            <pc:docMk/>
            <pc:sldMk cId="2423218208" sldId="583"/>
            <ac:spMk id="320" creationId="{BCC86A27-DBB5-A87B-4E21-1321F75AACF5}"/>
          </ac:spMkLst>
        </pc:spChg>
        <pc:spChg chg="del">
          <ac:chgData name="Bullinger, Marvin" userId="5b54ce5a-dc89-476f-af33-5abd75d5b1e8" providerId="ADAL" clId="{43B71669-8A80-4333-9349-B258A9296B49}" dt="2024-02-27T16:46:20.401" v="1373" actId="478"/>
          <ac:spMkLst>
            <pc:docMk/>
            <pc:sldMk cId="2423218208" sldId="583"/>
            <ac:spMk id="321" creationId="{28E43832-5F6B-96C8-BBBB-F80A77FE6CA2}"/>
          </ac:spMkLst>
        </pc:spChg>
        <pc:spChg chg="del">
          <ac:chgData name="Bullinger, Marvin" userId="5b54ce5a-dc89-476f-af33-5abd75d5b1e8" providerId="ADAL" clId="{43B71669-8A80-4333-9349-B258A9296B49}" dt="2024-02-27T16:46:20.401" v="1372" actId="478"/>
          <ac:spMkLst>
            <pc:docMk/>
            <pc:sldMk cId="2423218208" sldId="583"/>
            <ac:spMk id="322" creationId="{D204DA42-7D66-AD37-979A-960CBBB4F568}"/>
          </ac:spMkLst>
        </pc:spChg>
        <pc:spChg chg="del">
          <ac:chgData name="Bullinger, Marvin" userId="5b54ce5a-dc89-476f-af33-5abd75d5b1e8" providerId="ADAL" clId="{43B71669-8A80-4333-9349-B258A9296B49}" dt="2024-02-27T16:46:20.401" v="1371" actId="478"/>
          <ac:spMkLst>
            <pc:docMk/>
            <pc:sldMk cId="2423218208" sldId="583"/>
            <ac:spMk id="323" creationId="{35C0C710-07E1-3071-CD74-D6583DF3C972}"/>
          </ac:spMkLst>
        </pc:spChg>
        <pc:spChg chg="del">
          <ac:chgData name="Bullinger, Marvin" userId="5b54ce5a-dc89-476f-af33-5abd75d5b1e8" providerId="ADAL" clId="{43B71669-8A80-4333-9349-B258A9296B49}" dt="2024-02-27T16:46:20.401" v="1368" actId="478"/>
          <ac:spMkLst>
            <pc:docMk/>
            <pc:sldMk cId="2423218208" sldId="583"/>
            <ac:spMk id="324" creationId="{3B51A00C-C1F6-77BB-1BF3-8801309102E9}"/>
          </ac:spMkLst>
        </pc:spChg>
        <pc:spChg chg="del">
          <ac:chgData name="Bullinger, Marvin" userId="5b54ce5a-dc89-476f-af33-5abd75d5b1e8" providerId="ADAL" clId="{43B71669-8A80-4333-9349-B258A9296B49}" dt="2024-02-27T16:46:20.401" v="1367" actId="478"/>
          <ac:spMkLst>
            <pc:docMk/>
            <pc:sldMk cId="2423218208" sldId="583"/>
            <ac:spMk id="325" creationId="{9298176D-9338-981C-3A44-5CD54026C349}"/>
          </ac:spMkLst>
        </pc:spChg>
        <pc:spChg chg="del">
          <ac:chgData name="Bullinger, Marvin" userId="5b54ce5a-dc89-476f-af33-5abd75d5b1e8" providerId="ADAL" clId="{43B71669-8A80-4333-9349-B258A9296B49}" dt="2024-02-27T16:46:20.401" v="1366" actId="478"/>
          <ac:spMkLst>
            <pc:docMk/>
            <pc:sldMk cId="2423218208" sldId="583"/>
            <ac:spMk id="326" creationId="{A3307227-370E-56F4-C61A-534329583383}"/>
          </ac:spMkLst>
        </pc:spChg>
        <pc:spChg chg="del">
          <ac:chgData name="Bullinger, Marvin" userId="5b54ce5a-dc89-476f-af33-5abd75d5b1e8" providerId="ADAL" clId="{43B71669-8A80-4333-9349-B258A9296B49}" dt="2024-02-27T16:46:20.401" v="1365" actId="478"/>
          <ac:spMkLst>
            <pc:docMk/>
            <pc:sldMk cId="2423218208" sldId="583"/>
            <ac:spMk id="327" creationId="{C17AD65A-7127-4B8B-822C-02DAB74AFCB0}"/>
          </ac:spMkLst>
        </pc:spChg>
        <pc:spChg chg="del">
          <ac:chgData name="Bullinger, Marvin" userId="5b54ce5a-dc89-476f-af33-5abd75d5b1e8" providerId="ADAL" clId="{43B71669-8A80-4333-9349-B258A9296B49}" dt="2024-02-27T16:46:20.401" v="1364" actId="478"/>
          <ac:spMkLst>
            <pc:docMk/>
            <pc:sldMk cId="2423218208" sldId="583"/>
            <ac:spMk id="328" creationId="{9C77E945-6DE6-8ADD-55F2-3B13EED6D07F}"/>
          </ac:spMkLst>
        </pc:spChg>
        <pc:spChg chg="del">
          <ac:chgData name="Bullinger, Marvin" userId="5b54ce5a-dc89-476f-af33-5abd75d5b1e8" providerId="ADAL" clId="{43B71669-8A80-4333-9349-B258A9296B49}" dt="2024-02-27T16:46:20.399" v="1363" actId="478"/>
          <ac:spMkLst>
            <pc:docMk/>
            <pc:sldMk cId="2423218208" sldId="583"/>
            <ac:spMk id="329" creationId="{A388408A-A757-F4D8-F451-6E74EE1E3310}"/>
          </ac:spMkLst>
        </pc:spChg>
        <pc:spChg chg="del">
          <ac:chgData name="Bullinger, Marvin" userId="5b54ce5a-dc89-476f-af33-5abd75d5b1e8" providerId="ADAL" clId="{43B71669-8A80-4333-9349-B258A9296B49}" dt="2024-02-27T16:46:20.401" v="1384" actId="478"/>
          <ac:spMkLst>
            <pc:docMk/>
            <pc:sldMk cId="2423218208" sldId="583"/>
            <ac:spMk id="330" creationId="{5048A61C-55AF-16FB-30C2-9A77170888B7}"/>
          </ac:spMkLst>
        </pc:spChg>
        <pc:spChg chg="del">
          <ac:chgData name="Bullinger, Marvin" userId="5b54ce5a-dc89-476f-af33-5abd75d5b1e8" providerId="ADAL" clId="{43B71669-8A80-4333-9349-B258A9296B49}" dt="2024-02-27T16:46:20.401" v="1383" actId="478"/>
          <ac:spMkLst>
            <pc:docMk/>
            <pc:sldMk cId="2423218208" sldId="583"/>
            <ac:spMk id="331" creationId="{9B583841-46B8-299F-69F5-F92CB1B86D2A}"/>
          </ac:spMkLst>
        </pc:spChg>
        <pc:spChg chg="del">
          <ac:chgData name="Bullinger, Marvin" userId="5b54ce5a-dc89-476f-af33-5abd75d5b1e8" providerId="ADAL" clId="{43B71669-8A80-4333-9349-B258A9296B49}" dt="2024-02-27T16:46:20.401" v="1382" actId="478"/>
          <ac:spMkLst>
            <pc:docMk/>
            <pc:sldMk cId="2423218208" sldId="583"/>
            <ac:spMk id="332" creationId="{7FCAB940-FFE4-0257-748F-74D4838ED329}"/>
          </ac:spMkLst>
        </pc:spChg>
        <pc:spChg chg="del">
          <ac:chgData name="Bullinger, Marvin" userId="5b54ce5a-dc89-476f-af33-5abd75d5b1e8" providerId="ADAL" clId="{43B71669-8A80-4333-9349-B258A9296B49}" dt="2024-02-27T16:46:20.401" v="1381" actId="478"/>
          <ac:spMkLst>
            <pc:docMk/>
            <pc:sldMk cId="2423218208" sldId="583"/>
            <ac:spMk id="333" creationId="{77316438-B557-4F59-8B98-118227090226}"/>
          </ac:spMkLst>
        </pc:spChg>
        <pc:spChg chg="del">
          <ac:chgData name="Bullinger, Marvin" userId="5b54ce5a-dc89-476f-af33-5abd75d5b1e8" providerId="ADAL" clId="{43B71669-8A80-4333-9349-B258A9296B49}" dt="2024-02-27T16:46:20.401" v="1380" actId="478"/>
          <ac:spMkLst>
            <pc:docMk/>
            <pc:sldMk cId="2423218208" sldId="583"/>
            <ac:spMk id="334" creationId="{C228A37C-D6DB-6606-7DDA-45A482C9C53C}"/>
          </ac:spMkLst>
        </pc:spChg>
        <pc:spChg chg="del">
          <ac:chgData name="Bullinger, Marvin" userId="5b54ce5a-dc89-476f-af33-5abd75d5b1e8" providerId="ADAL" clId="{43B71669-8A80-4333-9349-B258A9296B49}" dt="2024-02-27T16:46:20.401" v="1379" actId="478"/>
          <ac:spMkLst>
            <pc:docMk/>
            <pc:sldMk cId="2423218208" sldId="583"/>
            <ac:spMk id="335" creationId="{07191A35-3B8A-210D-4BF0-E98222F37143}"/>
          </ac:spMkLst>
        </pc:spChg>
        <pc:spChg chg="del">
          <ac:chgData name="Bullinger, Marvin" userId="5b54ce5a-dc89-476f-af33-5abd75d5b1e8" providerId="ADAL" clId="{43B71669-8A80-4333-9349-B258A9296B49}" dt="2024-02-27T16:46:20.401" v="1378" actId="478"/>
          <ac:spMkLst>
            <pc:docMk/>
            <pc:sldMk cId="2423218208" sldId="583"/>
            <ac:spMk id="336" creationId="{8BBFB000-7ED3-6B5E-8397-2AA74FBBFE19}"/>
          </ac:spMkLst>
        </pc:spChg>
        <pc:spChg chg="del">
          <ac:chgData name="Bullinger, Marvin" userId="5b54ce5a-dc89-476f-af33-5abd75d5b1e8" providerId="ADAL" clId="{43B71669-8A80-4333-9349-B258A9296B49}" dt="2024-02-27T16:46:20.401" v="1377" actId="478"/>
          <ac:spMkLst>
            <pc:docMk/>
            <pc:sldMk cId="2423218208" sldId="583"/>
            <ac:spMk id="337" creationId="{DEE3BE47-C1A0-3658-48F5-6F202615FF86}"/>
          </ac:spMkLst>
        </pc:spChg>
        <pc:spChg chg="del">
          <ac:chgData name="Bullinger, Marvin" userId="5b54ce5a-dc89-476f-af33-5abd75d5b1e8" providerId="ADAL" clId="{43B71669-8A80-4333-9349-B258A9296B49}" dt="2024-02-27T16:46:20.401" v="1369" actId="478"/>
          <ac:spMkLst>
            <pc:docMk/>
            <pc:sldMk cId="2423218208" sldId="583"/>
            <ac:spMk id="338" creationId="{CB2C9563-D3CD-4F38-31E1-1B3485E47EF8}"/>
          </ac:spMkLst>
        </pc:spChg>
        <pc:spChg chg="del">
          <ac:chgData name="Bullinger, Marvin" userId="5b54ce5a-dc89-476f-af33-5abd75d5b1e8" providerId="ADAL" clId="{43B71669-8A80-4333-9349-B258A9296B49}" dt="2024-02-27T16:46:20.399" v="1362" actId="478"/>
          <ac:spMkLst>
            <pc:docMk/>
            <pc:sldMk cId="2423218208" sldId="583"/>
            <ac:spMk id="339" creationId="{575013DF-F58E-CA19-3943-260D8AFFC94D}"/>
          </ac:spMkLst>
        </pc:spChg>
        <pc:spChg chg="del">
          <ac:chgData name="Bullinger, Marvin" userId="5b54ce5a-dc89-476f-af33-5abd75d5b1e8" providerId="ADAL" clId="{43B71669-8A80-4333-9349-B258A9296B49}" dt="2024-02-27T16:46:20.401" v="1370" actId="478"/>
          <ac:spMkLst>
            <pc:docMk/>
            <pc:sldMk cId="2423218208" sldId="583"/>
            <ac:spMk id="340" creationId="{39673256-86CC-80D1-1FA4-D5DC88874FB3}"/>
          </ac:spMkLst>
        </pc:spChg>
        <pc:spChg chg="del">
          <ac:chgData name="Bullinger, Marvin" userId="5b54ce5a-dc89-476f-af33-5abd75d5b1e8" providerId="ADAL" clId="{43B71669-8A80-4333-9349-B258A9296B49}" dt="2024-02-27T16:46:20.399" v="1361" actId="478"/>
          <ac:spMkLst>
            <pc:docMk/>
            <pc:sldMk cId="2423218208" sldId="583"/>
            <ac:spMk id="341" creationId="{C8ABA5D0-E050-FE7A-8A9B-9D38523E235F}"/>
          </ac:spMkLst>
        </pc:spChg>
        <pc:spChg chg="del">
          <ac:chgData name="Bullinger, Marvin" userId="5b54ce5a-dc89-476f-af33-5abd75d5b1e8" providerId="ADAL" clId="{43B71669-8A80-4333-9349-B258A9296B49}" dt="2024-02-27T16:46:20.399" v="1360" actId="478"/>
          <ac:spMkLst>
            <pc:docMk/>
            <pc:sldMk cId="2423218208" sldId="583"/>
            <ac:spMk id="342" creationId="{ED778D30-AD15-8E93-EDAA-1120B044307E}"/>
          </ac:spMkLst>
        </pc:spChg>
        <pc:spChg chg="del">
          <ac:chgData name="Bullinger, Marvin" userId="5b54ce5a-dc89-476f-af33-5abd75d5b1e8" providerId="ADAL" clId="{43B71669-8A80-4333-9349-B258A9296B49}" dt="2024-02-27T16:46:20.399" v="1359" actId="478"/>
          <ac:spMkLst>
            <pc:docMk/>
            <pc:sldMk cId="2423218208" sldId="583"/>
            <ac:spMk id="343" creationId="{2BE4527D-70EA-8174-7915-C26DC80C649A}"/>
          </ac:spMkLst>
        </pc:spChg>
        <pc:spChg chg="del">
          <ac:chgData name="Bullinger, Marvin" userId="5b54ce5a-dc89-476f-af33-5abd75d5b1e8" providerId="ADAL" clId="{43B71669-8A80-4333-9349-B258A9296B49}" dt="2024-02-27T16:46:20.391" v="1358" actId="478"/>
          <ac:spMkLst>
            <pc:docMk/>
            <pc:sldMk cId="2423218208" sldId="583"/>
            <ac:spMk id="344" creationId="{988507B5-AAE9-64CE-4EE2-1D8C661C7615}"/>
          </ac:spMkLst>
        </pc:spChg>
        <pc:spChg chg="del">
          <ac:chgData name="Bullinger, Marvin" userId="5b54ce5a-dc89-476f-af33-5abd75d5b1e8" providerId="ADAL" clId="{43B71669-8A80-4333-9349-B258A9296B49}" dt="2024-02-27T16:46:20.391" v="1357" actId="478"/>
          <ac:spMkLst>
            <pc:docMk/>
            <pc:sldMk cId="2423218208" sldId="583"/>
            <ac:spMk id="345" creationId="{CC8B2BC0-7742-DD01-A9B1-1BBF9203BC90}"/>
          </ac:spMkLst>
        </pc:spChg>
        <pc:spChg chg="del">
          <ac:chgData name="Bullinger, Marvin" userId="5b54ce5a-dc89-476f-af33-5abd75d5b1e8" providerId="ADAL" clId="{43B71669-8A80-4333-9349-B258A9296B49}" dt="2024-02-27T16:46:20.391" v="1356" actId="478"/>
          <ac:spMkLst>
            <pc:docMk/>
            <pc:sldMk cId="2423218208" sldId="583"/>
            <ac:spMk id="346" creationId="{94AE12EA-9CE4-0F33-26B3-FB83D6F22B62}"/>
          </ac:spMkLst>
        </pc:spChg>
        <pc:spChg chg="del">
          <ac:chgData name="Bullinger, Marvin" userId="5b54ce5a-dc89-476f-af33-5abd75d5b1e8" providerId="ADAL" clId="{43B71669-8A80-4333-9349-B258A9296B49}" dt="2024-02-27T16:46:20.391" v="1355" actId="478"/>
          <ac:spMkLst>
            <pc:docMk/>
            <pc:sldMk cId="2423218208" sldId="583"/>
            <ac:spMk id="347" creationId="{86ED43A7-D93C-6219-68A8-2F3D6B5172FD}"/>
          </ac:spMkLst>
        </pc:spChg>
        <pc:spChg chg="del">
          <ac:chgData name="Bullinger, Marvin" userId="5b54ce5a-dc89-476f-af33-5abd75d5b1e8" providerId="ADAL" clId="{43B71669-8A80-4333-9349-B258A9296B49}" dt="2024-02-27T16:46:20.391" v="1354" actId="478"/>
          <ac:spMkLst>
            <pc:docMk/>
            <pc:sldMk cId="2423218208" sldId="583"/>
            <ac:spMk id="348" creationId="{06CD4AFE-49E8-3462-A877-D79A11914DD7}"/>
          </ac:spMkLst>
        </pc:spChg>
        <pc:spChg chg="del">
          <ac:chgData name="Bullinger, Marvin" userId="5b54ce5a-dc89-476f-af33-5abd75d5b1e8" providerId="ADAL" clId="{43B71669-8A80-4333-9349-B258A9296B49}" dt="2024-02-27T16:46:20.391" v="1353" actId="478"/>
          <ac:spMkLst>
            <pc:docMk/>
            <pc:sldMk cId="2423218208" sldId="583"/>
            <ac:spMk id="349" creationId="{4C6F585B-44CF-2840-0DDE-6A8965DCE9F7}"/>
          </ac:spMkLst>
        </pc:spChg>
        <pc:spChg chg="del">
          <ac:chgData name="Bullinger, Marvin" userId="5b54ce5a-dc89-476f-af33-5abd75d5b1e8" providerId="ADAL" clId="{43B71669-8A80-4333-9349-B258A9296B49}" dt="2024-02-27T16:46:20.391" v="1352" actId="478"/>
          <ac:spMkLst>
            <pc:docMk/>
            <pc:sldMk cId="2423218208" sldId="583"/>
            <ac:spMk id="350" creationId="{F576EECC-BBBA-7A96-111F-6F399A7D0C0B}"/>
          </ac:spMkLst>
        </pc:spChg>
        <pc:spChg chg="del">
          <ac:chgData name="Bullinger, Marvin" userId="5b54ce5a-dc89-476f-af33-5abd75d5b1e8" providerId="ADAL" clId="{43B71669-8A80-4333-9349-B258A9296B49}" dt="2024-02-27T16:46:20.391" v="1351" actId="478"/>
          <ac:spMkLst>
            <pc:docMk/>
            <pc:sldMk cId="2423218208" sldId="583"/>
            <ac:spMk id="351" creationId="{249A9BAB-5CDD-927F-B6A3-B8AF0DE74AC8}"/>
          </ac:spMkLst>
        </pc:spChg>
        <pc:spChg chg="del">
          <ac:chgData name="Bullinger, Marvin" userId="5b54ce5a-dc89-476f-af33-5abd75d5b1e8" providerId="ADAL" clId="{43B71669-8A80-4333-9349-B258A9296B49}" dt="2024-02-27T16:46:20.391" v="1350" actId="478"/>
          <ac:spMkLst>
            <pc:docMk/>
            <pc:sldMk cId="2423218208" sldId="583"/>
            <ac:spMk id="352" creationId="{417E39C0-2F94-63DA-3CF9-8A94D71839DC}"/>
          </ac:spMkLst>
        </pc:spChg>
        <pc:spChg chg="del">
          <ac:chgData name="Bullinger, Marvin" userId="5b54ce5a-dc89-476f-af33-5abd75d5b1e8" providerId="ADAL" clId="{43B71669-8A80-4333-9349-B258A9296B49}" dt="2024-02-27T17:21:07.577" v="3754" actId="478"/>
          <ac:spMkLst>
            <pc:docMk/>
            <pc:sldMk cId="2423218208" sldId="583"/>
            <ac:spMk id="352" creationId="{C264E943-E43D-DF79-9996-2370C3804AA8}"/>
          </ac:spMkLst>
        </pc:spChg>
        <pc:spChg chg="del">
          <ac:chgData name="Bullinger, Marvin" userId="5b54ce5a-dc89-476f-af33-5abd75d5b1e8" providerId="ADAL" clId="{43B71669-8A80-4333-9349-B258A9296B49}" dt="2024-02-27T16:46:20.391" v="1349" actId="478"/>
          <ac:spMkLst>
            <pc:docMk/>
            <pc:sldMk cId="2423218208" sldId="583"/>
            <ac:spMk id="353" creationId="{036F09D5-E24B-E061-7910-3E88DB68F7E7}"/>
          </ac:spMkLst>
        </pc:spChg>
        <pc:spChg chg="del">
          <ac:chgData name="Bullinger, Marvin" userId="5b54ce5a-dc89-476f-af33-5abd75d5b1e8" providerId="ADAL" clId="{43B71669-8A80-4333-9349-B258A9296B49}" dt="2024-02-27T17:21:07.577" v="3746" actId="478"/>
          <ac:spMkLst>
            <pc:docMk/>
            <pc:sldMk cId="2423218208" sldId="583"/>
            <ac:spMk id="353" creationId="{140EF5BE-7469-877D-4538-8E2696B7FCCD}"/>
          </ac:spMkLst>
        </pc:spChg>
        <pc:spChg chg="del">
          <ac:chgData name="Bullinger, Marvin" userId="5b54ce5a-dc89-476f-af33-5abd75d5b1e8" providerId="ADAL" clId="{43B71669-8A80-4333-9349-B258A9296B49}" dt="2024-02-27T16:46:20.391" v="1348" actId="478"/>
          <ac:spMkLst>
            <pc:docMk/>
            <pc:sldMk cId="2423218208" sldId="583"/>
            <ac:spMk id="354" creationId="{B10E9181-AAA5-1729-791C-B4127A9DFA6E}"/>
          </ac:spMkLst>
        </pc:spChg>
        <pc:spChg chg="del">
          <ac:chgData name="Bullinger, Marvin" userId="5b54ce5a-dc89-476f-af33-5abd75d5b1e8" providerId="ADAL" clId="{43B71669-8A80-4333-9349-B258A9296B49}" dt="2024-02-27T17:21:07.569" v="3739" actId="478"/>
          <ac:spMkLst>
            <pc:docMk/>
            <pc:sldMk cId="2423218208" sldId="583"/>
            <ac:spMk id="354" creationId="{D93AF1B1-07FE-1A4B-29BA-940A7E2C4161}"/>
          </ac:spMkLst>
        </pc:spChg>
        <pc:spChg chg="add replST">
          <ac:chgData name="Bullinger, Marvin" userId="5b54ce5a-dc89-476f-af33-5abd75d5b1e8" providerId="ADAL" clId="{43B71669-8A80-4333-9349-B258A9296B49}" dt="2024-02-27T16:53:49.050" v="3382"/>
          <ac:spMkLst>
            <pc:docMk/>
            <pc:sldMk cId="2423218208" sldId="583"/>
            <ac:spMk id="355" creationId="{A72FAC5D-DBD2-F7EF-6BE8-AD1A7E254295}"/>
          </ac:spMkLst>
        </pc:spChg>
        <pc:spChg chg="add replST">
          <ac:chgData name="Bullinger, Marvin" userId="5b54ce5a-dc89-476f-af33-5abd75d5b1e8" providerId="ADAL" clId="{43B71669-8A80-4333-9349-B258A9296B49}" dt="2024-02-27T16:53:49.050" v="3382"/>
          <ac:spMkLst>
            <pc:docMk/>
            <pc:sldMk cId="2423218208" sldId="583"/>
            <ac:spMk id="356" creationId="{28E38B69-38D4-8A02-F76B-CB26BA2C1CF5}"/>
          </ac:spMkLst>
        </pc:spChg>
        <pc:spChg chg="add replST">
          <ac:chgData name="Bullinger, Marvin" userId="5b54ce5a-dc89-476f-af33-5abd75d5b1e8" providerId="ADAL" clId="{43B71669-8A80-4333-9349-B258A9296B49}" dt="2024-02-27T16:53:49.050" v="3382"/>
          <ac:spMkLst>
            <pc:docMk/>
            <pc:sldMk cId="2423218208" sldId="583"/>
            <ac:spMk id="358" creationId="{7E032BCB-A5F7-5ACC-C542-AC3F9F2AB0B3}"/>
          </ac:spMkLst>
        </pc:spChg>
        <pc:spChg chg="add replST">
          <ac:chgData name="Bullinger, Marvin" userId="5b54ce5a-dc89-476f-af33-5abd75d5b1e8" providerId="ADAL" clId="{43B71669-8A80-4333-9349-B258A9296B49}" dt="2024-02-27T16:53:49.050" v="3382"/>
          <ac:spMkLst>
            <pc:docMk/>
            <pc:sldMk cId="2423218208" sldId="583"/>
            <ac:spMk id="359" creationId="{056C504E-E173-C6A3-C5BE-9EFF66F0DB24}"/>
          </ac:spMkLst>
        </pc:spChg>
        <pc:spChg chg="add replST">
          <ac:chgData name="Bullinger, Marvin" userId="5b54ce5a-dc89-476f-af33-5abd75d5b1e8" providerId="ADAL" clId="{43B71669-8A80-4333-9349-B258A9296B49}" dt="2024-02-27T16:53:49.050" v="3382"/>
          <ac:spMkLst>
            <pc:docMk/>
            <pc:sldMk cId="2423218208" sldId="583"/>
            <ac:spMk id="361" creationId="{F053C80C-8D7A-B1A9-A55D-762D000F96FB}"/>
          </ac:spMkLst>
        </pc:spChg>
        <pc:spChg chg="add replST">
          <ac:chgData name="Bullinger, Marvin" userId="5b54ce5a-dc89-476f-af33-5abd75d5b1e8" providerId="ADAL" clId="{43B71669-8A80-4333-9349-B258A9296B49}" dt="2024-02-27T16:53:49.050" v="3382"/>
          <ac:spMkLst>
            <pc:docMk/>
            <pc:sldMk cId="2423218208" sldId="583"/>
            <ac:spMk id="362" creationId="{F1F4F3B1-6B35-A6C0-17E9-89FAA16E6894}"/>
          </ac:spMkLst>
        </pc:spChg>
        <pc:spChg chg="add replST">
          <ac:chgData name="Bullinger, Marvin" userId="5b54ce5a-dc89-476f-af33-5abd75d5b1e8" providerId="ADAL" clId="{43B71669-8A80-4333-9349-B258A9296B49}" dt="2024-02-27T16:53:49.050" v="3382"/>
          <ac:spMkLst>
            <pc:docMk/>
            <pc:sldMk cId="2423218208" sldId="583"/>
            <ac:spMk id="364" creationId="{4AED60FB-9017-092D-3976-0B57B97FD1C4}"/>
          </ac:spMkLst>
        </pc:spChg>
        <pc:spChg chg="add replST">
          <ac:chgData name="Bullinger, Marvin" userId="5b54ce5a-dc89-476f-af33-5abd75d5b1e8" providerId="ADAL" clId="{43B71669-8A80-4333-9349-B258A9296B49}" dt="2024-02-27T16:53:49.050" v="3382"/>
          <ac:spMkLst>
            <pc:docMk/>
            <pc:sldMk cId="2423218208" sldId="583"/>
            <ac:spMk id="365" creationId="{13D4F0EE-AC35-E152-59FC-747B48A8AA30}"/>
          </ac:spMkLst>
        </pc:spChg>
        <pc:spChg chg="add replST">
          <ac:chgData name="Bullinger, Marvin" userId="5b54ce5a-dc89-476f-af33-5abd75d5b1e8" providerId="ADAL" clId="{43B71669-8A80-4333-9349-B258A9296B49}" dt="2024-02-27T16:53:49.050" v="3382"/>
          <ac:spMkLst>
            <pc:docMk/>
            <pc:sldMk cId="2423218208" sldId="583"/>
            <ac:spMk id="367" creationId="{32652953-BDE9-309D-456B-18BDAD1C6C46}"/>
          </ac:spMkLst>
        </pc:spChg>
        <pc:spChg chg="add replST">
          <ac:chgData name="Bullinger, Marvin" userId="5b54ce5a-dc89-476f-af33-5abd75d5b1e8" providerId="ADAL" clId="{43B71669-8A80-4333-9349-B258A9296B49}" dt="2024-02-27T16:53:49.050" v="3382"/>
          <ac:spMkLst>
            <pc:docMk/>
            <pc:sldMk cId="2423218208" sldId="583"/>
            <ac:spMk id="368" creationId="{D26FFF8B-F412-1ABC-F007-A4F5205B9542}"/>
          </ac:spMkLst>
        </pc:spChg>
        <pc:spChg chg="add replST">
          <ac:chgData name="Bullinger, Marvin" userId="5b54ce5a-dc89-476f-af33-5abd75d5b1e8" providerId="ADAL" clId="{43B71669-8A80-4333-9349-B258A9296B49}" dt="2024-02-27T16:53:49.050" v="3382"/>
          <ac:spMkLst>
            <pc:docMk/>
            <pc:sldMk cId="2423218208" sldId="583"/>
            <ac:spMk id="370" creationId="{3FB2F152-BB43-17F4-BCE1-4A5732524AD0}"/>
          </ac:spMkLst>
        </pc:spChg>
        <pc:spChg chg="add replST">
          <ac:chgData name="Bullinger, Marvin" userId="5b54ce5a-dc89-476f-af33-5abd75d5b1e8" providerId="ADAL" clId="{43B71669-8A80-4333-9349-B258A9296B49}" dt="2024-02-27T16:53:49.050" v="3382"/>
          <ac:spMkLst>
            <pc:docMk/>
            <pc:sldMk cId="2423218208" sldId="583"/>
            <ac:spMk id="371" creationId="{C37D08CD-C7CB-AC34-6FB0-16FF56D44FBA}"/>
          </ac:spMkLst>
        </pc:spChg>
        <pc:spChg chg="add del ord replST">
          <ac:chgData name="Bullinger, Marvin" userId="5b54ce5a-dc89-476f-af33-5abd75d5b1e8" providerId="ADAL" clId="{43B71669-8A80-4333-9349-B258A9296B49}" dt="2024-02-27T17:21:07.529" v="3724" actId="478"/>
          <ac:spMkLst>
            <pc:docMk/>
            <pc:sldMk cId="2423218208" sldId="583"/>
            <ac:spMk id="372" creationId="{46A2F1D5-4E9D-0C2A-7387-B38F07FC3A0B}"/>
          </ac:spMkLst>
        </pc:spChg>
        <pc:spChg chg="add">
          <ac:chgData name="Bullinger, Marvin" userId="5b54ce5a-dc89-476f-af33-5abd75d5b1e8" providerId="ADAL" clId="{43B71669-8A80-4333-9349-B258A9296B49}" dt="2024-02-27T16:53:49.050" v="3382"/>
          <ac:spMkLst>
            <pc:docMk/>
            <pc:sldMk cId="2423218208" sldId="583"/>
            <ac:spMk id="373" creationId="{A1442D86-F3E5-3762-683A-D5B1B1D6088C}"/>
          </ac:spMkLst>
        </pc:spChg>
        <pc:spChg chg="del">
          <ac:chgData name="Bullinger, Marvin" userId="5b54ce5a-dc89-476f-af33-5abd75d5b1e8" providerId="ADAL" clId="{43B71669-8A80-4333-9349-B258A9296B49}" dt="2024-02-27T17:21:07.577" v="3747" actId="478"/>
          <ac:spMkLst>
            <pc:docMk/>
            <pc:sldMk cId="2423218208" sldId="583"/>
            <ac:spMk id="373" creationId="{E386EED9-BA91-7809-1E49-3246CEAE4106}"/>
          </ac:spMkLst>
        </pc:spChg>
        <pc:spChg chg="del">
          <ac:chgData name="Bullinger, Marvin" userId="5b54ce5a-dc89-476f-af33-5abd75d5b1e8" providerId="ADAL" clId="{43B71669-8A80-4333-9349-B258A9296B49}" dt="2024-02-27T17:21:07.569" v="3738" actId="478"/>
          <ac:spMkLst>
            <pc:docMk/>
            <pc:sldMk cId="2423218208" sldId="583"/>
            <ac:spMk id="374" creationId="{70136B5E-10E0-3D32-031A-488413AD0488}"/>
          </ac:spMkLst>
        </pc:spChg>
        <pc:spChg chg="add">
          <ac:chgData name="Bullinger, Marvin" userId="5b54ce5a-dc89-476f-af33-5abd75d5b1e8" providerId="ADAL" clId="{43B71669-8A80-4333-9349-B258A9296B49}" dt="2024-02-27T16:53:49.050" v="3382"/>
          <ac:spMkLst>
            <pc:docMk/>
            <pc:sldMk cId="2423218208" sldId="583"/>
            <ac:spMk id="374" creationId="{70A21352-2116-1A39-55A8-DCB5408BCB3D}"/>
          </ac:spMkLst>
        </pc:spChg>
        <pc:spChg chg="add">
          <ac:chgData name="Bullinger, Marvin" userId="5b54ce5a-dc89-476f-af33-5abd75d5b1e8" providerId="ADAL" clId="{43B71669-8A80-4333-9349-B258A9296B49}" dt="2024-02-27T16:53:49.050" v="3382"/>
          <ac:spMkLst>
            <pc:docMk/>
            <pc:sldMk cId="2423218208" sldId="583"/>
            <ac:spMk id="375" creationId="{903802E3-E983-7730-8D94-1BEFE50C49FE}"/>
          </ac:spMkLst>
        </pc:spChg>
        <pc:spChg chg="del">
          <ac:chgData name="Bullinger, Marvin" userId="5b54ce5a-dc89-476f-af33-5abd75d5b1e8" providerId="ADAL" clId="{43B71669-8A80-4333-9349-B258A9296B49}" dt="2024-02-27T17:21:07.569" v="3737" actId="478"/>
          <ac:spMkLst>
            <pc:docMk/>
            <pc:sldMk cId="2423218208" sldId="583"/>
            <ac:spMk id="375" creationId="{907D63E5-B7FE-4F99-7852-AB5555D6045D}"/>
          </ac:spMkLst>
        </pc:spChg>
        <pc:spChg chg="del">
          <ac:chgData name="Bullinger, Marvin" userId="5b54ce5a-dc89-476f-af33-5abd75d5b1e8" providerId="ADAL" clId="{43B71669-8A80-4333-9349-B258A9296B49}" dt="2024-02-27T17:21:07.569" v="3736" actId="478"/>
          <ac:spMkLst>
            <pc:docMk/>
            <pc:sldMk cId="2423218208" sldId="583"/>
            <ac:spMk id="376" creationId="{83240D53-CAB8-04B1-26E1-164025E43FD3}"/>
          </ac:spMkLst>
        </pc:spChg>
        <pc:spChg chg="add">
          <ac:chgData name="Bullinger, Marvin" userId="5b54ce5a-dc89-476f-af33-5abd75d5b1e8" providerId="ADAL" clId="{43B71669-8A80-4333-9349-B258A9296B49}" dt="2024-02-27T16:53:49.050" v="3382"/>
          <ac:spMkLst>
            <pc:docMk/>
            <pc:sldMk cId="2423218208" sldId="583"/>
            <ac:spMk id="376" creationId="{B0CC42F8-98E8-6382-F63D-AA50082AEC4C}"/>
          </ac:spMkLst>
        </pc:spChg>
        <pc:spChg chg="del">
          <ac:chgData name="Bullinger, Marvin" userId="5b54ce5a-dc89-476f-af33-5abd75d5b1e8" providerId="ADAL" clId="{43B71669-8A80-4333-9349-B258A9296B49}" dt="2024-02-27T17:21:07.569" v="3735" actId="478"/>
          <ac:spMkLst>
            <pc:docMk/>
            <pc:sldMk cId="2423218208" sldId="583"/>
            <ac:spMk id="377" creationId="{89C958F9-D89A-31C2-6CFC-410D7625477A}"/>
          </ac:spMkLst>
        </pc:spChg>
        <pc:spChg chg="add">
          <ac:chgData name="Bullinger, Marvin" userId="5b54ce5a-dc89-476f-af33-5abd75d5b1e8" providerId="ADAL" clId="{43B71669-8A80-4333-9349-B258A9296B49}" dt="2024-02-27T16:53:49.050" v="3382"/>
          <ac:spMkLst>
            <pc:docMk/>
            <pc:sldMk cId="2423218208" sldId="583"/>
            <ac:spMk id="377" creationId="{DF2CD8E6-C23F-D465-C102-59D971D26178}"/>
          </ac:spMkLst>
        </pc:spChg>
        <pc:spChg chg="add">
          <ac:chgData name="Bullinger, Marvin" userId="5b54ce5a-dc89-476f-af33-5abd75d5b1e8" providerId="ADAL" clId="{43B71669-8A80-4333-9349-B258A9296B49}" dt="2024-02-27T16:53:49.050" v="3382"/>
          <ac:spMkLst>
            <pc:docMk/>
            <pc:sldMk cId="2423218208" sldId="583"/>
            <ac:spMk id="378" creationId="{E4C8D584-17E3-7063-62E1-AC314A3A8867}"/>
          </ac:spMkLst>
        </pc:spChg>
        <pc:spChg chg="del">
          <ac:chgData name="Bullinger, Marvin" userId="5b54ce5a-dc89-476f-af33-5abd75d5b1e8" providerId="ADAL" clId="{43B71669-8A80-4333-9349-B258A9296B49}" dt="2024-02-27T17:21:07.569" v="3734" actId="478"/>
          <ac:spMkLst>
            <pc:docMk/>
            <pc:sldMk cId="2423218208" sldId="583"/>
            <ac:spMk id="378" creationId="{E7EF7836-DB94-F04C-DF84-4EE046EF715E}"/>
          </ac:spMkLst>
        </pc:spChg>
        <pc:spChg chg="del">
          <ac:chgData name="Bullinger, Marvin" userId="5b54ce5a-dc89-476f-af33-5abd75d5b1e8" providerId="ADAL" clId="{43B71669-8A80-4333-9349-B258A9296B49}" dt="2024-02-27T17:21:07.569" v="3733" actId="478"/>
          <ac:spMkLst>
            <pc:docMk/>
            <pc:sldMk cId="2423218208" sldId="583"/>
            <ac:spMk id="379" creationId="{6AA43A41-3A6F-924C-0413-A8EF78BAEFEF}"/>
          </ac:spMkLst>
        </pc:spChg>
        <pc:spChg chg="add">
          <ac:chgData name="Bullinger, Marvin" userId="5b54ce5a-dc89-476f-af33-5abd75d5b1e8" providerId="ADAL" clId="{43B71669-8A80-4333-9349-B258A9296B49}" dt="2024-02-27T16:53:49.050" v="3382"/>
          <ac:spMkLst>
            <pc:docMk/>
            <pc:sldMk cId="2423218208" sldId="583"/>
            <ac:spMk id="379" creationId="{7CB0FCBB-647C-B8E7-E925-0B6165A6CDA3}"/>
          </ac:spMkLst>
        </pc:spChg>
        <pc:spChg chg="del">
          <ac:chgData name="Bullinger, Marvin" userId="5b54ce5a-dc89-476f-af33-5abd75d5b1e8" providerId="ADAL" clId="{43B71669-8A80-4333-9349-B258A9296B49}" dt="2024-02-27T17:21:07.569" v="3732" actId="478"/>
          <ac:spMkLst>
            <pc:docMk/>
            <pc:sldMk cId="2423218208" sldId="583"/>
            <ac:spMk id="380" creationId="{89E7351F-C0B8-7C5B-B793-C71EA518DA96}"/>
          </ac:spMkLst>
        </pc:spChg>
        <pc:spChg chg="add">
          <ac:chgData name="Bullinger, Marvin" userId="5b54ce5a-dc89-476f-af33-5abd75d5b1e8" providerId="ADAL" clId="{43B71669-8A80-4333-9349-B258A9296B49}" dt="2024-02-27T16:53:49.050" v="3382"/>
          <ac:spMkLst>
            <pc:docMk/>
            <pc:sldMk cId="2423218208" sldId="583"/>
            <ac:spMk id="380" creationId="{D155D155-C064-273B-E106-D83AC8F54F1D}"/>
          </ac:spMkLst>
        </pc:spChg>
        <pc:spChg chg="del">
          <ac:chgData name="Bullinger, Marvin" userId="5b54ce5a-dc89-476f-af33-5abd75d5b1e8" providerId="ADAL" clId="{43B71669-8A80-4333-9349-B258A9296B49}" dt="2024-02-27T17:21:07.561" v="3731" actId="478"/>
          <ac:spMkLst>
            <pc:docMk/>
            <pc:sldMk cId="2423218208" sldId="583"/>
            <ac:spMk id="381" creationId="{03FB2FE2-F61D-AD9F-F839-27D7691062F3}"/>
          </ac:spMkLst>
        </pc:spChg>
        <pc:spChg chg="add">
          <ac:chgData name="Bullinger, Marvin" userId="5b54ce5a-dc89-476f-af33-5abd75d5b1e8" providerId="ADAL" clId="{43B71669-8A80-4333-9349-B258A9296B49}" dt="2024-02-27T16:53:49.050" v="3382"/>
          <ac:spMkLst>
            <pc:docMk/>
            <pc:sldMk cId="2423218208" sldId="583"/>
            <ac:spMk id="381" creationId="{19FCAEDB-A6FA-B2F8-8D36-3A85BAA5988E}"/>
          </ac:spMkLst>
        </pc:spChg>
        <pc:spChg chg="del">
          <ac:chgData name="Bullinger, Marvin" userId="5b54ce5a-dc89-476f-af33-5abd75d5b1e8" providerId="ADAL" clId="{43B71669-8A80-4333-9349-B258A9296B49}" dt="2024-02-27T17:21:07.561" v="3730" actId="478"/>
          <ac:spMkLst>
            <pc:docMk/>
            <pc:sldMk cId="2423218208" sldId="583"/>
            <ac:spMk id="382" creationId="{981CE71C-3A43-2C64-ED6D-FBA7FCAAB363}"/>
          </ac:spMkLst>
        </pc:spChg>
        <pc:spChg chg="add">
          <ac:chgData name="Bullinger, Marvin" userId="5b54ce5a-dc89-476f-af33-5abd75d5b1e8" providerId="ADAL" clId="{43B71669-8A80-4333-9349-B258A9296B49}" dt="2024-02-27T16:53:49.050" v="3382"/>
          <ac:spMkLst>
            <pc:docMk/>
            <pc:sldMk cId="2423218208" sldId="583"/>
            <ac:spMk id="382" creationId="{FD5AE0FE-9C02-8601-2465-BEA5DFD22BE9}"/>
          </ac:spMkLst>
        </pc:spChg>
        <pc:spChg chg="add">
          <ac:chgData name="Bullinger, Marvin" userId="5b54ce5a-dc89-476f-af33-5abd75d5b1e8" providerId="ADAL" clId="{43B71669-8A80-4333-9349-B258A9296B49}" dt="2024-02-27T16:53:49.050" v="3382"/>
          <ac:spMkLst>
            <pc:docMk/>
            <pc:sldMk cId="2423218208" sldId="583"/>
            <ac:spMk id="383" creationId="{0B33326A-D6D6-1EFD-D7FD-01B22E515E0A}"/>
          </ac:spMkLst>
        </pc:spChg>
        <pc:spChg chg="del">
          <ac:chgData name="Bullinger, Marvin" userId="5b54ce5a-dc89-476f-af33-5abd75d5b1e8" providerId="ADAL" clId="{43B71669-8A80-4333-9349-B258A9296B49}" dt="2024-02-27T17:21:07.561" v="3729" actId="478"/>
          <ac:spMkLst>
            <pc:docMk/>
            <pc:sldMk cId="2423218208" sldId="583"/>
            <ac:spMk id="383" creationId="{EFA28B9A-E922-F1E6-F454-DF0E2A9AE6DD}"/>
          </ac:spMkLst>
        </pc:spChg>
        <pc:spChg chg="del">
          <ac:chgData name="Bullinger, Marvin" userId="5b54ce5a-dc89-476f-af33-5abd75d5b1e8" providerId="ADAL" clId="{43B71669-8A80-4333-9349-B258A9296B49}" dt="2024-02-27T17:21:07.561" v="3728" actId="478"/>
          <ac:spMkLst>
            <pc:docMk/>
            <pc:sldMk cId="2423218208" sldId="583"/>
            <ac:spMk id="384" creationId="{491E524F-7AB8-2F72-2D27-4AD2400B871B}"/>
          </ac:spMkLst>
        </pc:spChg>
        <pc:spChg chg="add">
          <ac:chgData name="Bullinger, Marvin" userId="5b54ce5a-dc89-476f-af33-5abd75d5b1e8" providerId="ADAL" clId="{43B71669-8A80-4333-9349-B258A9296B49}" dt="2024-02-27T16:53:49.050" v="3382"/>
          <ac:spMkLst>
            <pc:docMk/>
            <pc:sldMk cId="2423218208" sldId="583"/>
            <ac:spMk id="384" creationId="{914D0394-0515-D080-2F98-EEC2E5F019FD}"/>
          </ac:spMkLst>
        </pc:spChg>
        <pc:spChg chg="del">
          <ac:chgData name="Bullinger, Marvin" userId="5b54ce5a-dc89-476f-af33-5abd75d5b1e8" providerId="ADAL" clId="{43B71669-8A80-4333-9349-B258A9296B49}" dt="2024-02-27T17:21:07.561" v="3727" actId="478"/>
          <ac:spMkLst>
            <pc:docMk/>
            <pc:sldMk cId="2423218208" sldId="583"/>
            <ac:spMk id="385" creationId="{10D02DCA-C98B-F89D-F2C0-B6C116FF4E0E}"/>
          </ac:spMkLst>
        </pc:spChg>
        <pc:spChg chg="add">
          <ac:chgData name="Bullinger, Marvin" userId="5b54ce5a-dc89-476f-af33-5abd75d5b1e8" providerId="ADAL" clId="{43B71669-8A80-4333-9349-B258A9296B49}" dt="2024-02-27T16:53:49.050" v="3382"/>
          <ac:spMkLst>
            <pc:docMk/>
            <pc:sldMk cId="2423218208" sldId="583"/>
            <ac:spMk id="385" creationId="{66B358A1-A5CD-ADB9-26B0-AB9D4E54B71A}"/>
          </ac:spMkLst>
        </pc:spChg>
        <pc:spChg chg="add">
          <ac:chgData name="Bullinger, Marvin" userId="5b54ce5a-dc89-476f-af33-5abd75d5b1e8" providerId="ADAL" clId="{43B71669-8A80-4333-9349-B258A9296B49}" dt="2024-02-27T16:53:49.050" v="3382"/>
          <ac:spMkLst>
            <pc:docMk/>
            <pc:sldMk cId="2423218208" sldId="583"/>
            <ac:spMk id="386" creationId="{14B1807B-C09B-7AD6-B5C1-7CA10E19B26B}"/>
          </ac:spMkLst>
        </pc:spChg>
        <pc:spChg chg="del">
          <ac:chgData name="Bullinger, Marvin" userId="5b54ce5a-dc89-476f-af33-5abd75d5b1e8" providerId="ADAL" clId="{43B71669-8A80-4333-9349-B258A9296B49}" dt="2024-02-27T17:21:07.561" v="3726" actId="478"/>
          <ac:spMkLst>
            <pc:docMk/>
            <pc:sldMk cId="2423218208" sldId="583"/>
            <ac:spMk id="386" creationId="{CB824081-746B-5BD2-01FE-BE07D892A565}"/>
          </ac:spMkLst>
        </pc:spChg>
        <pc:spChg chg="add">
          <ac:chgData name="Bullinger, Marvin" userId="5b54ce5a-dc89-476f-af33-5abd75d5b1e8" providerId="ADAL" clId="{43B71669-8A80-4333-9349-B258A9296B49}" dt="2024-02-27T16:53:49.050" v="3382"/>
          <ac:spMkLst>
            <pc:docMk/>
            <pc:sldMk cId="2423218208" sldId="583"/>
            <ac:spMk id="387" creationId="{B4ADD995-1D0C-8C9F-0727-0EDD375FF68D}"/>
          </ac:spMkLst>
        </pc:spChg>
        <pc:spChg chg="del">
          <ac:chgData name="Bullinger, Marvin" userId="5b54ce5a-dc89-476f-af33-5abd75d5b1e8" providerId="ADAL" clId="{43B71669-8A80-4333-9349-B258A9296B49}" dt="2024-02-27T17:21:07.561" v="3725" actId="478"/>
          <ac:spMkLst>
            <pc:docMk/>
            <pc:sldMk cId="2423218208" sldId="583"/>
            <ac:spMk id="387" creationId="{CFD099AC-769F-5948-CE33-8781EE025F92}"/>
          </ac:spMkLst>
        </pc:spChg>
        <pc:spChg chg="add">
          <ac:chgData name="Bullinger, Marvin" userId="5b54ce5a-dc89-476f-af33-5abd75d5b1e8" providerId="ADAL" clId="{43B71669-8A80-4333-9349-B258A9296B49}" dt="2024-02-27T16:53:49.050" v="3382"/>
          <ac:spMkLst>
            <pc:docMk/>
            <pc:sldMk cId="2423218208" sldId="583"/>
            <ac:spMk id="388" creationId="{1D8F5BED-1F7D-B2F8-2B5E-9763F3F4570B}"/>
          </ac:spMkLst>
        </pc:spChg>
        <pc:spChg chg="replST">
          <ac:chgData name="Bullinger, Marvin" userId="5b54ce5a-dc89-476f-af33-5abd75d5b1e8" providerId="ADAL" clId="{43B71669-8A80-4333-9349-B258A9296B49}" dt="2024-02-27T17:21:08.532" v="4170"/>
          <ac:spMkLst>
            <pc:docMk/>
            <pc:sldMk cId="2423218208" sldId="583"/>
            <ac:spMk id="388" creationId="{66792B7C-A123-D452-8325-D3F1AA3138E3}"/>
          </ac:spMkLst>
        </pc:spChg>
        <pc:spChg chg="replST">
          <ac:chgData name="Bullinger, Marvin" userId="5b54ce5a-dc89-476f-af33-5abd75d5b1e8" providerId="ADAL" clId="{43B71669-8A80-4333-9349-B258A9296B49}" dt="2024-02-27T17:21:08.540" v="4173"/>
          <ac:spMkLst>
            <pc:docMk/>
            <pc:sldMk cId="2423218208" sldId="583"/>
            <ac:spMk id="389" creationId="{646424CC-E55C-C621-4704-D8BD3906B2C8}"/>
          </ac:spMkLst>
        </pc:spChg>
        <pc:spChg chg="add">
          <ac:chgData name="Bullinger, Marvin" userId="5b54ce5a-dc89-476f-af33-5abd75d5b1e8" providerId="ADAL" clId="{43B71669-8A80-4333-9349-B258A9296B49}" dt="2024-02-27T16:53:49.050" v="3382"/>
          <ac:spMkLst>
            <pc:docMk/>
            <pc:sldMk cId="2423218208" sldId="583"/>
            <ac:spMk id="389" creationId="{90260B87-86D7-9B7A-9E07-4B528E296DC8}"/>
          </ac:spMkLst>
        </pc:spChg>
        <pc:spChg chg="add">
          <ac:chgData name="Bullinger, Marvin" userId="5b54ce5a-dc89-476f-af33-5abd75d5b1e8" providerId="ADAL" clId="{43B71669-8A80-4333-9349-B258A9296B49}" dt="2024-02-27T16:53:49.050" v="3382"/>
          <ac:spMkLst>
            <pc:docMk/>
            <pc:sldMk cId="2423218208" sldId="583"/>
            <ac:spMk id="390" creationId="{6C4FD7F9-C294-B500-DE3B-DE9D5F67679B}"/>
          </ac:spMkLst>
        </pc:spChg>
        <pc:spChg chg="replST">
          <ac:chgData name="Bullinger, Marvin" userId="5b54ce5a-dc89-476f-af33-5abd75d5b1e8" providerId="ADAL" clId="{43B71669-8A80-4333-9349-B258A9296B49}" dt="2024-02-27T17:21:08.548" v="4177"/>
          <ac:spMkLst>
            <pc:docMk/>
            <pc:sldMk cId="2423218208" sldId="583"/>
            <ac:spMk id="391" creationId="{06103111-4975-BCFB-D8BF-03C96DA3BB61}"/>
          </ac:spMkLst>
        </pc:spChg>
        <pc:spChg chg="add">
          <ac:chgData name="Bullinger, Marvin" userId="5b54ce5a-dc89-476f-af33-5abd75d5b1e8" providerId="ADAL" clId="{43B71669-8A80-4333-9349-B258A9296B49}" dt="2024-02-27T16:53:49.050" v="3382"/>
          <ac:spMkLst>
            <pc:docMk/>
            <pc:sldMk cId="2423218208" sldId="583"/>
            <ac:spMk id="391" creationId="{71B1E48B-5066-33C3-DFBD-EE3D356632D5}"/>
          </ac:spMkLst>
        </pc:spChg>
        <pc:spChg chg="replST">
          <ac:chgData name="Bullinger, Marvin" userId="5b54ce5a-dc89-476f-af33-5abd75d5b1e8" providerId="ADAL" clId="{43B71669-8A80-4333-9349-B258A9296B49}" dt="2024-02-27T17:21:08.548" v="4180"/>
          <ac:spMkLst>
            <pc:docMk/>
            <pc:sldMk cId="2423218208" sldId="583"/>
            <ac:spMk id="392" creationId="{648A05D5-C131-4A4A-02D8-A3362559D7EA}"/>
          </ac:spMkLst>
        </pc:spChg>
        <pc:spChg chg="add">
          <ac:chgData name="Bullinger, Marvin" userId="5b54ce5a-dc89-476f-af33-5abd75d5b1e8" providerId="ADAL" clId="{43B71669-8A80-4333-9349-B258A9296B49}" dt="2024-02-27T16:53:49.050" v="3382"/>
          <ac:spMkLst>
            <pc:docMk/>
            <pc:sldMk cId="2423218208" sldId="583"/>
            <ac:spMk id="392" creationId="{C160446C-8610-CB5F-2CF5-54F45321A73E}"/>
          </ac:spMkLst>
        </pc:spChg>
        <pc:spChg chg="add">
          <ac:chgData name="Bullinger, Marvin" userId="5b54ce5a-dc89-476f-af33-5abd75d5b1e8" providerId="ADAL" clId="{43B71669-8A80-4333-9349-B258A9296B49}" dt="2024-02-27T16:53:49.050" v="3382"/>
          <ac:spMkLst>
            <pc:docMk/>
            <pc:sldMk cId="2423218208" sldId="583"/>
            <ac:spMk id="393" creationId="{3794478D-FB2F-C2F5-FB3E-DEFA5D972581}"/>
          </ac:spMkLst>
        </pc:spChg>
        <pc:spChg chg="add">
          <ac:chgData name="Bullinger, Marvin" userId="5b54ce5a-dc89-476f-af33-5abd75d5b1e8" providerId="ADAL" clId="{43B71669-8A80-4333-9349-B258A9296B49}" dt="2024-02-27T16:53:49.050" v="3382"/>
          <ac:spMkLst>
            <pc:docMk/>
            <pc:sldMk cId="2423218208" sldId="583"/>
            <ac:spMk id="394" creationId="{7AC28EA4-AB27-8CE1-DFA9-56A2B8697AD7}"/>
          </ac:spMkLst>
        </pc:spChg>
        <pc:spChg chg="replST">
          <ac:chgData name="Bullinger, Marvin" userId="5b54ce5a-dc89-476f-af33-5abd75d5b1e8" providerId="ADAL" clId="{43B71669-8A80-4333-9349-B258A9296B49}" dt="2024-02-27T17:21:08.556" v="4184"/>
          <ac:spMkLst>
            <pc:docMk/>
            <pc:sldMk cId="2423218208" sldId="583"/>
            <ac:spMk id="394" creationId="{8B3D48D3-50BF-831C-08D2-82CAB8B4C026}"/>
          </ac:spMkLst>
        </pc:spChg>
        <pc:spChg chg="add">
          <ac:chgData name="Bullinger, Marvin" userId="5b54ce5a-dc89-476f-af33-5abd75d5b1e8" providerId="ADAL" clId="{43B71669-8A80-4333-9349-B258A9296B49}" dt="2024-02-27T16:53:49.050" v="3382"/>
          <ac:spMkLst>
            <pc:docMk/>
            <pc:sldMk cId="2423218208" sldId="583"/>
            <ac:spMk id="395" creationId="{2188F484-A9F8-93AD-1665-67FD6D423BDB}"/>
          </ac:spMkLst>
        </pc:spChg>
        <pc:spChg chg="replST">
          <ac:chgData name="Bullinger, Marvin" userId="5b54ce5a-dc89-476f-af33-5abd75d5b1e8" providerId="ADAL" clId="{43B71669-8A80-4333-9349-B258A9296B49}" dt="2024-02-27T17:21:08.556" v="4187"/>
          <ac:spMkLst>
            <pc:docMk/>
            <pc:sldMk cId="2423218208" sldId="583"/>
            <ac:spMk id="395" creationId="{E48A7CA7-CE33-8D39-8152-06920117B73F}"/>
          </ac:spMkLst>
        </pc:spChg>
        <pc:spChg chg="add">
          <ac:chgData name="Bullinger, Marvin" userId="5b54ce5a-dc89-476f-af33-5abd75d5b1e8" providerId="ADAL" clId="{43B71669-8A80-4333-9349-B258A9296B49}" dt="2024-02-27T16:53:49.050" v="3382"/>
          <ac:spMkLst>
            <pc:docMk/>
            <pc:sldMk cId="2423218208" sldId="583"/>
            <ac:spMk id="396" creationId="{597A836A-B80C-98BA-7598-DE1CA6CFD86B}"/>
          </ac:spMkLst>
        </pc:spChg>
        <pc:spChg chg="add">
          <ac:chgData name="Bullinger, Marvin" userId="5b54ce5a-dc89-476f-af33-5abd75d5b1e8" providerId="ADAL" clId="{43B71669-8A80-4333-9349-B258A9296B49}" dt="2024-02-27T16:53:49.050" v="3382"/>
          <ac:spMkLst>
            <pc:docMk/>
            <pc:sldMk cId="2423218208" sldId="583"/>
            <ac:spMk id="397" creationId="{3ABAC97F-0068-2125-1986-E5AC7F25B0A2}"/>
          </ac:spMkLst>
        </pc:spChg>
        <pc:spChg chg="replST">
          <ac:chgData name="Bullinger, Marvin" userId="5b54ce5a-dc89-476f-af33-5abd75d5b1e8" providerId="ADAL" clId="{43B71669-8A80-4333-9349-B258A9296B49}" dt="2024-02-27T17:21:08.572" v="4191"/>
          <ac:spMkLst>
            <pc:docMk/>
            <pc:sldMk cId="2423218208" sldId="583"/>
            <ac:spMk id="397" creationId="{BB7F19A5-A6C3-DA2E-25B9-8287C8F98E0D}"/>
          </ac:spMkLst>
        </pc:spChg>
        <pc:spChg chg="add">
          <ac:chgData name="Bullinger, Marvin" userId="5b54ce5a-dc89-476f-af33-5abd75d5b1e8" providerId="ADAL" clId="{43B71669-8A80-4333-9349-B258A9296B49}" dt="2024-02-27T16:53:49.050" v="3382"/>
          <ac:spMkLst>
            <pc:docMk/>
            <pc:sldMk cId="2423218208" sldId="583"/>
            <ac:spMk id="398" creationId="{A556208E-BFA7-668C-2247-380BA812D49E}"/>
          </ac:spMkLst>
        </pc:spChg>
        <pc:spChg chg="replST">
          <ac:chgData name="Bullinger, Marvin" userId="5b54ce5a-dc89-476f-af33-5abd75d5b1e8" providerId="ADAL" clId="{43B71669-8A80-4333-9349-B258A9296B49}" dt="2024-02-27T17:21:08.572" v="4194"/>
          <ac:spMkLst>
            <pc:docMk/>
            <pc:sldMk cId="2423218208" sldId="583"/>
            <ac:spMk id="398" creationId="{B9A4C55A-07C1-27C6-606C-F1B695F06F41}"/>
          </ac:spMkLst>
        </pc:spChg>
        <pc:spChg chg="add">
          <ac:chgData name="Bullinger, Marvin" userId="5b54ce5a-dc89-476f-af33-5abd75d5b1e8" providerId="ADAL" clId="{43B71669-8A80-4333-9349-B258A9296B49}" dt="2024-02-27T16:53:49.050" v="3382"/>
          <ac:spMkLst>
            <pc:docMk/>
            <pc:sldMk cId="2423218208" sldId="583"/>
            <ac:spMk id="399" creationId="{33CEBDC1-F193-348C-9167-5692A4CF69B0}"/>
          </ac:spMkLst>
        </pc:spChg>
        <pc:spChg chg="replST">
          <ac:chgData name="Bullinger, Marvin" userId="5b54ce5a-dc89-476f-af33-5abd75d5b1e8" providerId="ADAL" clId="{43B71669-8A80-4333-9349-B258A9296B49}" dt="2024-02-27T17:21:08.572" v="4198"/>
          <ac:spMkLst>
            <pc:docMk/>
            <pc:sldMk cId="2423218208" sldId="583"/>
            <ac:spMk id="400" creationId="{42FAA183-FE30-378B-111D-DBCAB854D90F}"/>
          </ac:spMkLst>
        </pc:spChg>
        <pc:spChg chg="add">
          <ac:chgData name="Bullinger, Marvin" userId="5b54ce5a-dc89-476f-af33-5abd75d5b1e8" providerId="ADAL" clId="{43B71669-8A80-4333-9349-B258A9296B49}" dt="2024-02-27T16:53:49.050" v="3382"/>
          <ac:spMkLst>
            <pc:docMk/>
            <pc:sldMk cId="2423218208" sldId="583"/>
            <ac:spMk id="400" creationId="{D9B7E9B9-2D5E-4CEA-F110-2250CA55AAD1}"/>
          </ac:spMkLst>
        </pc:spChg>
        <pc:spChg chg="replST">
          <ac:chgData name="Bullinger, Marvin" userId="5b54ce5a-dc89-476f-af33-5abd75d5b1e8" providerId="ADAL" clId="{43B71669-8A80-4333-9349-B258A9296B49}" dt="2024-02-27T17:21:08.593" v="4201"/>
          <ac:spMkLst>
            <pc:docMk/>
            <pc:sldMk cId="2423218208" sldId="583"/>
            <ac:spMk id="401" creationId="{1A5F7C12-5F59-0D14-9F73-D2BCC232B78B}"/>
          </ac:spMkLst>
        </pc:spChg>
        <pc:spChg chg="add">
          <ac:chgData name="Bullinger, Marvin" userId="5b54ce5a-dc89-476f-af33-5abd75d5b1e8" providerId="ADAL" clId="{43B71669-8A80-4333-9349-B258A9296B49}" dt="2024-02-27T16:53:49.050" v="3382"/>
          <ac:spMkLst>
            <pc:docMk/>
            <pc:sldMk cId="2423218208" sldId="583"/>
            <ac:spMk id="401" creationId="{1BC57E64-E410-243C-BE5C-F8E263156266}"/>
          </ac:spMkLst>
        </pc:spChg>
        <pc:spChg chg="add">
          <ac:chgData name="Bullinger, Marvin" userId="5b54ce5a-dc89-476f-af33-5abd75d5b1e8" providerId="ADAL" clId="{43B71669-8A80-4333-9349-B258A9296B49}" dt="2024-02-27T16:53:49.050" v="3382"/>
          <ac:spMkLst>
            <pc:docMk/>
            <pc:sldMk cId="2423218208" sldId="583"/>
            <ac:spMk id="402" creationId="{E8A1ABAF-242C-306B-04EF-06E576345F0B}"/>
          </ac:spMkLst>
        </pc:spChg>
        <pc:spChg chg="replST">
          <ac:chgData name="Bullinger, Marvin" userId="5b54ce5a-dc89-476f-af33-5abd75d5b1e8" providerId="ADAL" clId="{43B71669-8A80-4333-9349-B258A9296B49}" dt="2024-02-27T17:21:08.593" v="4205"/>
          <ac:spMkLst>
            <pc:docMk/>
            <pc:sldMk cId="2423218208" sldId="583"/>
            <ac:spMk id="403" creationId="{5439BC56-E105-F897-0DE9-D9F168D75E89}"/>
          </ac:spMkLst>
        </pc:spChg>
        <pc:spChg chg="add">
          <ac:chgData name="Bullinger, Marvin" userId="5b54ce5a-dc89-476f-af33-5abd75d5b1e8" providerId="ADAL" clId="{43B71669-8A80-4333-9349-B258A9296B49}" dt="2024-02-27T16:53:49.050" v="3382"/>
          <ac:spMkLst>
            <pc:docMk/>
            <pc:sldMk cId="2423218208" sldId="583"/>
            <ac:spMk id="403" creationId="{FD07E3CF-F0BD-E207-7D45-C0F9471A29A5}"/>
          </ac:spMkLst>
        </pc:spChg>
        <pc:spChg chg="add">
          <ac:chgData name="Bullinger, Marvin" userId="5b54ce5a-dc89-476f-af33-5abd75d5b1e8" providerId="ADAL" clId="{43B71669-8A80-4333-9349-B258A9296B49}" dt="2024-02-27T16:53:49.050" v="3382"/>
          <ac:spMkLst>
            <pc:docMk/>
            <pc:sldMk cId="2423218208" sldId="583"/>
            <ac:spMk id="404" creationId="{53E8CEF6-8687-40DB-C62B-AA8A79700B97}"/>
          </ac:spMkLst>
        </pc:spChg>
        <pc:spChg chg="replST">
          <ac:chgData name="Bullinger, Marvin" userId="5b54ce5a-dc89-476f-af33-5abd75d5b1e8" providerId="ADAL" clId="{43B71669-8A80-4333-9349-B258A9296B49}" dt="2024-02-27T17:21:08.609" v="4208"/>
          <ac:spMkLst>
            <pc:docMk/>
            <pc:sldMk cId="2423218208" sldId="583"/>
            <ac:spMk id="404" creationId="{73E68067-7E4E-48CC-B61B-4304955B9AFA}"/>
          </ac:spMkLst>
        </pc:spChg>
        <pc:spChg chg="add">
          <ac:chgData name="Bullinger, Marvin" userId="5b54ce5a-dc89-476f-af33-5abd75d5b1e8" providerId="ADAL" clId="{43B71669-8A80-4333-9349-B258A9296B49}" dt="2024-02-27T16:53:49.050" v="3382"/>
          <ac:spMkLst>
            <pc:docMk/>
            <pc:sldMk cId="2423218208" sldId="583"/>
            <ac:spMk id="405" creationId="{5AA5575A-D6C3-B515-8DF7-F63A6645E954}"/>
          </ac:spMkLst>
        </pc:spChg>
        <pc:spChg chg="del ord replST">
          <ac:chgData name="Bullinger, Marvin" userId="5b54ce5a-dc89-476f-af33-5abd75d5b1e8" providerId="ADAL" clId="{43B71669-8A80-4333-9349-B258A9296B49}" dt="2024-02-27T17:26:23.436" v="4764" actId="478"/>
          <ac:spMkLst>
            <pc:docMk/>
            <pc:sldMk cId="2423218208" sldId="583"/>
            <ac:spMk id="405" creationId="{D3ACADB2-FAB2-5ED1-2A7A-482A42DC8C48}"/>
          </ac:spMkLst>
        </pc:spChg>
        <pc:spChg chg="replST">
          <ac:chgData name="Bullinger, Marvin" userId="5b54ce5a-dc89-476f-af33-5abd75d5b1e8" providerId="ADAL" clId="{43B71669-8A80-4333-9349-B258A9296B49}" dt="2024-02-27T17:21:08.609" v="4212"/>
          <ac:spMkLst>
            <pc:docMk/>
            <pc:sldMk cId="2423218208" sldId="583"/>
            <ac:spMk id="406" creationId="{B3BDB4A9-7091-BBED-DA23-C1BF74DCC0DA}"/>
          </ac:spMkLst>
        </pc:spChg>
        <pc:spChg chg="add">
          <ac:chgData name="Bullinger, Marvin" userId="5b54ce5a-dc89-476f-af33-5abd75d5b1e8" providerId="ADAL" clId="{43B71669-8A80-4333-9349-B258A9296B49}" dt="2024-02-27T16:53:49.050" v="3382"/>
          <ac:spMkLst>
            <pc:docMk/>
            <pc:sldMk cId="2423218208" sldId="583"/>
            <ac:spMk id="406" creationId="{F6F99788-B47B-DEF6-A5FF-2F253933DA59}"/>
          </ac:spMkLst>
        </pc:spChg>
        <pc:spChg chg="add">
          <ac:chgData name="Bullinger, Marvin" userId="5b54ce5a-dc89-476f-af33-5abd75d5b1e8" providerId="ADAL" clId="{43B71669-8A80-4333-9349-B258A9296B49}" dt="2024-02-27T16:53:49.050" v="3382"/>
          <ac:spMkLst>
            <pc:docMk/>
            <pc:sldMk cId="2423218208" sldId="583"/>
            <ac:spMk id="407" creationId="{1CE86FE3-6864-E5B8-AD6C-7F28239B3592}"/>
          </ac:spMkLst>
        </pc:spChg>
        <pc:spChg chg="replST">
          <ac:chgData name="Bullinger, Marvin" userId="5b54ce5a-dc89-476f-af33-5abd75d5b1e8" providerId="ADAL" clId="{43B71669-8A80-4333-9349-B258A9296B49}" dt="2024-02-27T17:21:08.624" v="4215"/>
          <ac:spMkLst>
            <pc:docMk/>
            <pc:sldMk cId="2423218208" sldId="583"/>
            <ac:spMk id="407" creationId="{A685AD87-3B30-A707-98F6-C60B8D2BF185}"/>
          </ac:spMkLst>
        </pc:spChg>
        <pc:spChg chg="add">
          <ac:chgData name="Bullinger, Marvin" userId="5b54ce5a-dc89-476f-af33-5abd75d5b1e8" providerId="ADAL" clId="{43B71669-8A80-4333-9349-B258A9296B49}" dt="2024-02-27T16:53:49.050" v="3382"/>
          <ac:spMkLst>
            <pc:docMk/>
            <pc:sldMk cId="2423218208" sldId="583"/>
            <ac:spMk id="408" creationId="{74FDC2DC-D809-1C4B-2F34-5F23F4F2BE2E}"/>
          </ac:spMkLst>
        </pc:spChg>
        <pc:spChg chg="add">
          <ac:chgData name="Bullinger, Marvin" userId="5b54ce5a-dc89-476f-af33-5abd75d5b1e8" providerId="ADAL" clId="{43B71669-8A80-4333-9349-B258A9296B49}" dt="2024-02-27T16:53:49.050" v="3382"/>
          <ac:spMkLst>
            <pc:docMk/>
            <pc:sldMk cId="2423218208" sldId="583"/>
            <ac:spMk id="409" creationId="{563085A3-F747-E728-021D-925F09B2CE23}"/>
          </ac:spMkLst>
        </pc:spChg>
        <pc:spChg chg="add del mod">
          <ac:chgData name="Bullinger, Marvin" userId="5b54ce5a-dc89-476f-af33-5abd75d5b1e8" providerId="ADAL" clId="{43B71669-8A80-4333-9349-B258A9296B49}" dt="2024-02-27T16:53:49.050" v="3382"/>
          <ac:spMkLst>
            <pc:docMk/>
            <pc:sldMk cId="2423218208" sldId="583"/>
            <ac:spMk id="411" creationId="{F9B4DDCE-1AF3-3DD9-C116-DA564EF4E70F}"/>
          </ac:spMkLst>
        </pc:spChg>
        <pc:spChg chg="mod ord replST delST">
          <ac:chgData name="Bullinger, Marvin" userId="5b54ce5a-dc89-476f-af33-5abd75d5b1e8" providerId="ADAL" clId="{43B71669-8A80-4333-9349-B258A9296B49}" dt="2024-02-27T16:53:49.050" v="3382"/>
          <ac:spMkLst>
            <pc:docMk/>
            <pc:sldMk cId="2423218208" sldId="583"/>
            <ac:spMk id="412" creationId="{79B96EEE-EFC0-4CE8-7D09-BAC6D379DCA7}"/>
          </ac:spMkLst>
        </pc:spChg>
        <pc:spChg chg="add del">
          <ac:chgData name="Bullinger, Marvin" userId="5b54ce5a-dc89-476f-af33-5abd75d5b1e8" providerId="ADAL" clId="{43B71669-8A80-4333-9349-B258A9296B49}" dt="2024-02-27T16:53:49.050" v="3382"/>
          <ac:spMkLst>
            <pc:docMk/>
            <pc:sldMk cId="2423218208" sldId="583"/>
            <ac:spMk id="413" creationId="{AD4C7388-B8C1-4EEE-E818-97A3AAB3AC8E}"/>
          </ac:spMkLst>
        </pc:spChg>
        <pc:spChg chg="add del">
          <ac:chgData name="Bullinger, Marvin" userId="5b54ce5a-dc89-476f-af33-5abd75d5b1e8" providerId="ADAL" clId="{43B71669-8A80-4333-9349-B258A9296B49}" dt="2024-02-27T16:53:49.050" v="3382"/>
          <ac:spMkLst>
            <pc:docMk/>
            <pc:sldMk cId="2423218208" sldId="583"/>
            <ac:spMk id="414" creationId="{66B489DA-1897-5578-9D22-42EC32AEDB24}"/>
          </ac:spMkLst>
        </pc:spChg>
        <pc:spChg chg="add del">
          <ac:chgData name="Bullinger, Marvin" userId="5b54ce5a-dc89-476f-af33-5abd75d5b1e8" providerId="ADAL" clId="{43B71669-8A80-4333-9349-B258A9296B49}" dt="2024-02-27T16:53:49.050" v="3382"/>
          <ac:spMkLst>
            <pc:docMk/>
            <pc:sldMk cId="2423218208" sldId="583"/>
            <ac:spMk id="415" creationId="{F825A83E-4B1E-79E5-6DDA-468801A04AA1}"/>
          </ac:spMkLst>
        </pc:spChg>
        <pc:spChg chg="add del">
          <ac:chgData name="Bullinger, Marvin" userId="5b54ce5a-dc89-476f-af33-5abd75d5b1e8" providerId="ADAL" clId="{43B71669-8A80-4333-9349-B258A9296B49}" dt="2024-02-27T16:53:49.050" v="3382"/>
          <ac:spMkLst>
            <pc:docMk/>
            <pc:sldMk cId="2423218208" sldId="583"/>
            <ac:spMk id="416" creationId="{250CE956-8187-8199-ABA2-F994C0461B74}"/>
          </ac:spMkLst>
        </pc:spChg>
        <pc:spChg chg="add del">
          <ac:chgData name="Bullinger, Marvin" userId="5b54ce5a-dc89-476f-af33-5abd75d5b1e8" providerId="ADAL" clId="{43B71669-8A80-4333-9349-B258A9296B49}" dt="2024-02-27T16:53:49.050" v="3382"/>
          <ac:spMkLst>
            <pc:docMk/>
            <pc:sldMk cId="2423218208" sldId="583"/>
            <ac:spMk id="417" creationId="{BF08D8CB-E09D-3289-F0E8-47EACA65F5B4}"/>
          </ac:spMkLst>
        </pc:spChg>
        <pc:spChg chg="add del">
          <ac:chgData name="Bullinger, Marvin" userId="5b54ce5a-dc89-476f-af33-5abd75d5b1e8" providerId="ADAL" clId="{43B71669-8A80-4333-9349-B258A9296B49}" dt="2024-02-27T16:53:49.050" v="3382"/>
          <ac:spMkLst>
            <pc:docMk/>
            <pc:sldMk cId="2423218208" sldId="583"/>
            <ac:spMk id="418" creationId="{A5F64BFE-7240-D2C8-040E-7B0EBFF15A5F}"/>
          </ac:spMkLst>
        </pc:spChg>
        <pc:spChg chg="add del">
          <ac:chgData name="Bullinger, Marvin" userId="5b54ce5a-dc89-476f-af33-5abd75d5b1e8" providerId="ADAL" clId="{43B71669-8A80-4333-9349-B258A9296B49}" dt="2024-02-27T16:53:49.050" v="3382"/>
          <ac:spMkLst>
            <pc:docMk/>
            <pc:sldMk cId="2423218208" sldId="583"/>
            <ac:spMk id="419" creationId="{B24583E2-FF9F-A21F-C658-4B5E668F30AD}"/>
          </ac:spMkLst>
        </pc:spChg>
        <pc:spChg chg="add del">
          <ac:chgData name="Bullinger, Marvin" userId="5b54ce5a-dc89-476f-af33-5abd75d5b1e8" providerId="ADAL" clId="{43B71669-8A80-4333-9349-B258A9296B49}" dt="2024-02-27T16:53:49.050" v="3382"/>
          <ac:spMkLst>
            <pc:docMk/>
            <pc:sldMk cId="2423218208" sldId="583"/>
            <ac:spMk id="420" creationId="{B864CFD6-2CFF-4035-64EB-ABA95E9BA2C1}"/>
          </ac:spMkLst>
        </pc:spChg>
        <pc:spChg chg="add del">
          <ac:chgData name="Bullinger, Marvin" userId="5b54ce5a-dc89-476f-af33-5abd75d5b1e8" providerId="ADAL" clId="{43B71669-8A80-4333-9349-B258A9296B49}" dt="2024-02-27T16:53:49.050" v="3382"/>
          <ac:spMkLst>
            <pc:docMk/>
            <pc:sldMk cId="2423218208" sldId="583"/>
            <ac:spMk id="421" creationId="{F549C193-7685-18DC-66AB-96BB6C289F95}"/>
          </ac:spMkLst>
        </pc:spChg>
        <pc:spChg chg="add del">
          <ac:chgData name="Bullinger, Marvin" userId="5b54ce5a-dc89-476f-af33-5abd75d5b1e8" providerId="ADAL" clId="{43B71669-8A80-4333-9349-B258A9296B49}" dt="2024-02-27T16:53:49.050" v="3382"/>
          <ac:spMkLst>
            <pc:docMk/>
            <pc:sldMk cId="2423218208" sldId="583"/>
            <ac:spMk id="422" creationId="{E6EB92D3-F6E5-738F-CBE0-90E3BB25D3E3}"/>
          </ac:spMkLst>
        </pc:spChg>
        <pc:spChg chg="add del">
          <ac:chgData name="Bullinger, Marvin" userId="5b54ce5a-dc89-476f-af33-5abd75d5b1e8" providerId="ADAL" clId="{43B71669-8A80-4333-9349-B258A9296B49}" dt="2024-02-27T16:53:49.050" v="3382"/>
          <ac:spMkLst>
            <pc:docMk/>
            <pc:sldMk cId="2423218208" sldId="583"/>
            <ac:spMk id="423" creationId="{6BD48741-B8BF-C321-D45A-141FEED51712}"/>
          </ac:spMkLst>
        </pc:spChg>
        <pc:spChg chg="add del">
          <ac:chgData name="Bullinger, Marvin" userId="5b54ce5a-dc89-476f-af33-5abd75d5b1e8" providerId="ADAL" clId="{43B71669-8A80-4333-9349-B258A9296B49}" dt="2024-02-27T16:53:49.050" v="3382"/>
          <ac:spMkLst>
            <pc:docMk/>
            <pc:sldMk cId="2423218208" sldId="583"/>
            <ac:spMk id="424" creationId="{B1B0A6F3-D2F2-F832-7889-D4B21C726A99}"/>
          </ac:spMkLst>
        </pc:spChg>
        <pc:spChg chg="add del">
          <ac:chgData name="Bullinger, Marvin" userId="5b54ce5a-dc89-476f-af33-5abd75d5b1e8" providerId="ADAL" clId="{43B71669-8A80-4333-9349-B258A9296B49}" dt="2024-02-27T16:53:49.050" v="3382"/>
          <ac:spMkLst>
            <pc:docMk/>
            <pc:sldMk cId="2423218208" sldId="583"/>
            <ac:spMk id="425" creationId="{2695B983-75A9-D08F-7A38-A0E60254F94D}"/>
          </ac:spMkLst>
        </pc:spChg>
        <pc:spChg chg="add del">
          <ac:chgData name="Bullinger, Marvin" userId="5b54ce5a-dc89-476f-af33-5abd75d5b1e8" providerId="ADAL" clId="{43B71669-8A80-4333-9349-B258A9296B49}" dt="2024-02-27T16:53:49.050" v="3382"/>
          <ac:spMkLst>
            <pc:docMk/>
            <pc:sldMk cId="2423218208" sldId="583"/>
            <ac:spMk id="426" creationId="{887B5A47-704C-43E9-0340-7A728345F6A1}"/>
          </ac:spMkLst>
        </pc:spChg>
        <pc:spChg chg="add del">
          <ac:chgData name="Bullinger, Marvin" userId="5b54ce5a-dc89-476f-af33-5abd75d5b1e8" providerId="ADAL" clId="{43B71669-8A80-4333-9349-B258A9296B49}" dt="2024-02-27T16:53:49.050" v="3382"/>
          <ac:spMkLst>
            <pc:docMk/>
            <pc:sldMk cId="2423218208" sldId="583"/>
            <ac:spMk id="427" creationId="{745A331C-6251-836A-A964-17ECF1493691}"/>
          </ac:spMkLst>
        </pc:spChg>
        <pc:spChg chg="add del">
          <ac:chgData name="Bullinger, Marvin" userId="5b54ce5a-dc89-476f-af33-5abd75d5b1e8" providerId="ADAL" clId="{43B71669-8A80-4333-9349-B258A9296B49}" dt="2024-02-27T16:53:49.050" v="3382"/>
          <ac:spMkLst>
            <pc:docMk/>
            <pc:sldMk cId="2423218208" sldId="583"/>
            <ac:spMk id="428" creationId="{FD10F9FB-E898-B16C-35A7-6805FDAC3BB3}"/>
          </ac:spMkLst>
        </pc:spChg>
        <pc:spChg chg="add del">
          <ac:chgData name="Bullinger, Marvin" userId="5b54ce5a-dc89-476f-af33-5abd75d5b1e8" providerId="ADAL" clId="{43B71669-8A80-4333-9349-B258A9296B49}" dt="2024-02-27T16:53:49.050" v="3382"/>
          <ac:spMkLst>
            <pc:docMk/>
            <pc:sldMk cId="2423218208" sldId="583"/>
            <ac:spMk id="429" creationId="{0DB744E8-9C42-F017-7266-A2A8BE5EABF1}"/>
          </ac:spMkLst>
        </pc:spChg>
        <pc:spChg chg="add del">
          <ac:chgData name="Bullinger, Marvin" userId="5b54ce5a-dc89-476f-af33-5abd75d5b1e8" providerId="ADAL" clId="{43B71669-8A80-4333-9349-B258A9296B49}" dt="2024-02-27T16:53:49.050" v="3382"/>
          <ac:spMkLst>
            <pc:docMk/>
            <pc:sldMk cId="2423218208" sldId="583"/>
            <ac:spMk id="430" creationId="{CFA6238C-FC00-CF73-E890-2D563066EF96}"/>
          </ac:spMkLst>
        </pc:spChg>
        <pc:spChg chg="add del">
          <ac:chgData name="Bullinger, Marvin" userId="5b54ce5a-dc89-476f-af33-5abd75d5b1e8" providerId="ADAL" clId="{43B71669-8A80-4333-9349-B258A9296B49}" dt="2024-02-27T16:53:49.050" v="3382"/>
          <ac:spMkLst>
            <pc:docMk/>
            <pc:sldMk cId="2423218208" sldId="583"/>
            <ac:spMk id="431" creationId="{41F9BE52-356E-1290-09C1-2652D1609D41}"/>
          </ac:spMkLst>
        </pc:spChg>
        <pc:spChg chg="add del">
          <ac:chgData name="Bullinger, Marvin" userId="5b54ce5a-dc89-476f-af33-5abd75d5b1e8" providerId="ADAL" clId="{43B71669-8A80-4333-9349-B258A9296B49}" dt="2024-02-27T16:53:49.050" v="3382"/>
          <ac:spMkLst>
            <pc:docMk/>
            <pc:sldMk cId="2423218208" sldId="583"/>
            <ac:spMk id="432" creationId="{D47F5233-399B-20A9-9ABD-C37C835B9812}"/>
          </ac:spMkLst>
        </pc:spChg>
        <pc:spChg chg="add del">
          <ac:chgData name="Bullinger, Marvin" userId="5b54ce5a-dc89-476f-af33-5abd75d5b1e8" providerId="ADAL" clId="{43B71669-8A80-4333-9349-B258A9296B49}" dt="2024-02-27T16:53:49.050" v="3382"/>
          <ac:spMkLst>
            <pc:docMk/>
            <pc:sldMk cId="2423218208" sldId="583"/>
            <ac:spMk id="433" creationId="{0B0002B5-EFE7-EB58-1214-B49C4A6BB8F3}"/>
          </ac:spMkLst>
        </pc:spChg>
        <pc:spChg chg="add del">
          <ac:chgData name="Bullinger, Marvin" userId="5b54ce5a-dc89-476f-af33-5abd75d5b1e8" providerId="ADAL" clId="{43B71669-8A80-4333-9349-B258A9296B49}" dt="2024-02-27T16:53:49.050" v="3382"/>
          <ac:spMkLst>
            <pc:docMk/>
            <pc:sldMk cId="2423218208" sldId="583"/>
            <ac:spMk id="434" creationId="{A40D1CC0-4FB6-963D-1CEF-41377C839828}"/>
          </ac:spMkLst>
        </pc:spChg>
        <pc:spChg chg="add del">
          <ac:chgData name="Bullinger, Marvin" userId="5b54ce5a-dc89-476f-af33-5abd75d5b1e8" providerId="ADAL" clId="{43B71669-8A80-4333-9349-B258A9296B49}" dt="2024-02-27T16:53:49.050" v="3382"/>
          <ac:spMkLst>
            <pc:docMk/>
            <pc:sldMk cId="2423218208" sldId="583"/>
            <ac:spMk id="435" creationId="{017B1B30-FDC1-61AB-E241-5BF5356313DE}"/>
          </ac:spMkLst>
        </pc:spChg>
        <pc:spChg chg="add del">
          <ac:chgData name="Bullinger, Marvin" userId="5b54ce5a-dc89-476f-af33-5abd75d5b1e8" providerId="ADAL" clId="{43B71669-8A80-4333-9349-B258A9296B49}" dt="2024-02-27T16:53:49.050" v="3382"/>
          <ac:spMkLst>
            <pc:docMk/>
            <pc:sldMk cId="2423218208" sldId="583"/>
            <ac:spMk id="436" creationId="{B5765CEB-6078-67B9-1337-8CD96514012A}"/>
          </ac:spMkLst>
        </pc:spChg>
        <pc:spChg chg="add del">
          <ac:chgData name="Bullinger, Marvin" userId="5b54ce5a-dc89-476f-af33-5abd75d5b1e8" providerId="ADAL" clId="{43B71669-8A80-4333-9349-B258A9296B49}" dt="2024-02-27T16:53:49.050" v="3382"/>
          <ac:spMkLst>
            <pc:docMk/>
            <pc:sldMk cId="2423218208" sldId="583"/>
            <ac:spMk id="437" creationId="{2D5E2FFE-0D37-B9E7-FA74-DAF757E67C8C}"/>
          </ac:spMkLst>
        </pc:spChg>
        <pc:spChg chg="add del">
          <ac:chgData name="Bullinger, Marvin" userId="5b54ce5a-dc89-476f-af33-5abd75d5b1e8" providerId="ADAL" clId="{43B71669-8A80-4333-9349-B258A9296B49}" dt="2024-02-27T16:53:49.050" v="3382"/>
          <ac:spMkLst>
            <pc:docMk/>
            <pc:sldMk cId="2423218208" sldId="583"/>
            <ac:spMk id="438" creationId="{4C5C4E7B-AF39-94F6-DB3E-311D3C7A0DC2}"/>
          </ac:spMkLst>
        </pc:spChg>
        <pc:spChg chg="add del">
          <ac:chgData name="Bullinger, Marvin" userId="5b54ce5a-dc89-476f-af33-5abd75d5b1e8" providerId="ADAL" clId="{43B71669-8A80-4333-9349-B258A9296B49}" dt="2024-02-27T16:53:49.050" v="3382"/>
          <ac:spMkLst>
            <pc:docMk/>
            <pc:sldMk cId="2423218208" sldId="583"/>
            <ac:spMk id="439" creationId="{6A56AE1D-3CA5-1439-DD8F-D9398BF5263A}"/>
          </ac:spMkLst>
        </pc:spChg>
        <pc:spChg chg="add del">
          <ac:chgData name="Bullinger, Marvin" userId="5b54ce5a-dc89-476f-af33-5abd75d5b1e8" providerId="ADAL" clId="{43B71669-8A80-4333-9349-B258A9296B49}" dt="2024-02-27T16:53:49.050" v="3382"/>
          <ac:spMkLst>
            <pc:docMk/>
            <pc:sldMk cId="2423218208" sldId="583"/>
            <ac:spMk id="440" creationId="{C2958AB8-6E70-B2C1-C648-B08607C970B5}"/>
          </ac:spMkLst>
        </pc:spChg>
        <pc:spChg chg="add del">
          <ac:chgData name="Bullinger, Marvin" userId="5b54ce5a-dc89-476f-af33-5abd75d5b1e8" providerId="ADAL" clId="{43B71669-8A80-4333-9349-B258A9296B49}" dt="2024-02-27T16:53:49.050" v="3382"/>
          <ac:spMkLst>
            <pc:docMk/>
            <pc:sldMk cId="2423218208" sldId="583"/>
            <ac:spMk id="441" creationId="{D8E94697-3A01-67A1-48A1-BC794312106A}"/>
          </ac:spMkLst>
        </pc:spChg>
        <pc:spChg chg="add del">
          <ac:chgData name="Bullinger, Marvin" userId="5b54ce5a-dc89-476f-af33-5abd75d5b1e8" providerId="ADAL" clId="{43B71669-8A80-4333-9349-B258A9296B49}" dt="2024-02-27T16:53:49.050" v="3382"/>
          <ac:spMkLst>
            <pc:docMk/>
            <pc:sldMk cId="2423218208" sldId="583"/>
            <ac:spMk id="442" creationId="{C784D162-948B-BEDD-21C9-1A4A2AB840BE}"/>
          </ac:spMkLst>
        </pc:spChg>
        <pc:spChg chg="add del">
          <ac:chgData name="Bullinger, Marvin" userId="5b54ce5a-dc89-476f-af33-5abd75d5b1e8" providerId="ADAL" clId="{43B71669-8A80-4333-9349-B258A9296B49}" dt="2024-02-27T16:53:49.050" v="3382"/>
          <ac:spMkLst>
            <pc:docMk/>
            <pc:sldMk cId="2423218208" sldId="583"/>
            <ac:spMk id="443" creationId="{DD69148D-B7A6-9950-E32B-54AEC3E2813B}"/>
          </ac:spMkLst>
        </pc:spChg>
        <pc:spChg chg="add del">
          <ac:chgData name="Bullinger, Marvin" userId="5b54ce5a-dc89-476f-af33-5abd75d5b1e8" providerId="ADAL" clId="{43B71669-8A80-4333-9349-B258A9296B49}" dt="2024-02-27T16:53:49.050" v="3382"/>
          <ac:spMkLst>
            <pc:docMk/>
            <pc:sldMk cId="2423218208" sldId="583"/>
            <ac:spMk id="444" creationId="{355A3ECC-89A3-A71A-8E4F-B4B72E115BA5}"/>
          </ac:spMkLst>
        </pc:spChg>
        <pc:spChg chg="add del">
          <ac:chgData name="Bullinger, Marvin" userId="5b54ce5a-dc89-476f-af33-5abd75d5b1e8" providerId="ADAL" clId="{43B71669-8A80-4333-9349-B258A9296B49}" dt="2024-02-27T16:53:49.050" v="3382"/>
          <ac:spMkLst>
            <pc:docMk/>
            <pc:sldMk cId="2423218208" sldId="583"/>
            <ac:spMk id="445" creationId="{F1D226C7-A7DF-F92A-ED01-041890910B05}"/>
          </ac:spMkLst>
        </pc:spChg>
        <pc:spChg chg="add del">
          <ac:chgData name="Bullinger, Marvin" userId="5b54ce5a-dc89-476f-af33-5abd75d5b1e8" providerId="ADAL" clId="{43B71669-8A80-4333-9349-B258A9296B49}" dt="2024-02-27T16:53:49.050" v="3382"/>
          <ac:spMkLst>
            <pc:docMk/>
            <pc:sldMk cId="2423218208" sldId="583"/>
            <ac:spMk id="446" creationId="{76D6881B-F8CB-71B8-6CDD-5E6A5C15D88C}"/>
          </ac:spMkLst>
        </pc:spChg>
        <pc:spChg chg="add del">
          <ac:chgData name="Bullinger, Marvin" userId="5b54ce5a-dc89-476f-af33-5abd75d5b1e8" providerId="ADAL" clId="{43B71669-8A80-4333-9349-B258A9296B49}" dt="2024-02-27T16:53:49.050" v="3382"/>
          <ac:spMkLst>
            <pc:docMk/>
            <pc:sldMk cId="2423218208" sldId="583"/>
            <ac:spMk id="447" creationId="{4D938F73-7EEE-2A64-BC6C-7E82A41990B9}"/>
          </ac:spMkLst>
        </pc:spChg>
        <pc:spChg chg="add del">
          <ac:chgData name="Bullinger, Marvin" userId="5b54ce5a-dc89-476f-af33-5abd75d5b1e8" providerId="ADAL" clId="{43B71669-8A80-4333-9349-B258A9296B49}" dt="2024-02-27T16:53:49.050" v="3382"/>
          <ac:spMkLst>
            <pc:docMk/>
            <pc:sldMk cId="2423218208" sldId="583"/>
            <ac:spMk id="448" creationId="{5F8DE5ED-F349-46E7-4221-9682D7AB923E}"/>
          </ac:spMkLst>
        </pc:spChg>
        <pc:spChg chg="add mod">
          <ac:chgData name="Bullinger, Marvin" userId="5b54ce5a-dc89-476f-af33-5abd75d5b1e8" providerId="ADAL" clId="{43B71669-8A80-4333-9349-B258A9296B49}" dt="2024-02-27T17:26:23.428" v="4758" actId="478"/>
          <ac:spMkLst>
            <pc:docMk/>
            <pc:sldMk cId="2423218208" sldId="583"/>
            <ac:spMk id="448" creationId="{7B454085-B037-F1DE-3DCA-38326D3E9BE7}"/>
          </ac:spMkLst>
        </pc:spChg>
        <pc:spChg chg="del mod ord replST">
          <ac:chgData name="Bullinger, Marvin" userId="5b54ce5a-dc89-476f-af33-5abd75d5b1e8" providerId="ADAL" clId="{43B71669-8A80-4333-9349-B258A9296B49}" dt="2024-02-27T17:26:59.413" v="6066" actId="478"/>
          <ac:spMkLst>
            <pc:docMk/>
            <pc:sldMk cId="2423218208" sldId="583"/>
            <ac:spMk id="449" creationId="{31D6D622-8229-80AA-D1E5-3DA7E7D3EE25}"/>
          </ac:spMkLst>
        </pc:spChg>
        <pc:spChg chg="add del">
          <ac:chgData name="Bullinger, Marvin" userId="5b54ce5a-dc89-476f-af33-5abd75d5b1e8" providerId="ADAL" clId="{43B71669-8A80-4333-9349-B258A9296B49}" dt="2024-02-27T16:53:49.050" v="3382"/>
          <ac:spMkLst>
            <pc:docMk/>
            <pc:sldMk cId="2423218208" sldId="583"/>
            <ac:spMk id="449" creationId="{A187C7F4-C3C8-2591-9E92-967E5EC02645}"/>
          </ac:spMkLst>
        </pc:spChg>
        <pc:spChg chg="del">
          <ac:chgData name="Bullinger, Marvin" userId="5b54ce5a-dc89-476f-af33-5abd75d5b1e8" providerId="ADAL" clId="{43B71669-8A80-4333-9349-B258A9296B49}" dt="2024-02-27T17:26:23.467" v="4795" actId="478"/>
          <ac:spMkLst>
            <pc:docMk/>
            <pc:sldMk cId="2423218208" sldId="583"/>
            <ac:spMk id="450" creationId="{C1A58E35-F491-998A-916C-18E4053A8D82}"/>
          </ac:spMkLst>
        </pc:spChg>
        <pc:spChg chg="replST delST">
          <ac:chgData name="Bullinger, Marvin" userId="5b54ce5a-dc89-476f-af33-5abd75d5b1e8" providerId="ADAL" clId="{43B71669-8A80-4333-9349-B258A9296B49}" dt="2024-02-27T16:53:48.817" v="2697"/>
          <ac:spMkLst>
            <pc:docMk/>
            <pc:sldMk cId="2423218208" sldId="583"/>
            <ac:spMk id="450" creationId="{E2B1C410-A054-2998-3E1D-31796FAD4C99}"/>
          </ac:spMkLst>
        </pc:spChg>
        <pc:spChg chg="replST delST">
          <ac:chgData name="Bullinger, Marvin" userId="5b54ce5a-dc89-476f-af33-5abd75d5b1e8" providerId="ADAL" clId="{43B71669-8A80-4333-9349-B258A9296B49}" dt="2024-02-27T16:53:48.817" v="2694"/>
          <ac:spMkLst>
            <pc:docMk/>
            <pc:sldMk cId="2423218208" sldId="583"/>
            <ac:spMk id="451" creationId="{8EB95F70-4CF0-481B-69C4-B0EEB1A773A1}"/>
          </ac:spMkLst>
        </pc:spChg>
        <pc:spChg chg="del">
          <ac:chgData name="Bullinger, Marvin" userId="5b54ce5a-dc89-476f-af33-5abd75d5b1e8" providerId="ADAL" clId="{43B71669-8A80-4333-9349-B258A9296B49}" dt="2024-02-27T17:26:23.467" v="4794" actId="478"/>
          <ac:spMkLst>
            <pc:docMk/>
            <pc:sldMk cId="2423218208" sldId="583"/>
            <ac:spMk id="451" creationId="{C722C147-55AF-EC8D-B91E-CBA5E0835E73}"/>
          </ac:spMkLst>
        </pc:spChg>
        <pc:spChg chg="del">
          <ac:chgData name="Bullinger, Marvin" userId="5b54ce5a-dc89-476f-af33-5abd75d5b1e8" providerId="ADAL" clId="{43B71669-8A80-4333-9349-B258A9296B49}" dt="2024-02-27T17:26:23.459" v="4793" actId="478"/>
          <ac:spMkLst>
            <pc:docMk/>
            <pc:sldMk cId="2423218208" sldId="583"/>
            <ac:spMk id="452" creationId="{47E6EEAA-8C18-3FCE-9223-2BD90B24FBA7}"/>
          </ac:spMkLst>
        </pc:spChg>
        <pc:spChg chg="del">
          <ac:chgData name="Bullinger, Marvin" userId="5b54ce5a-dc89-476f-af33-5abd75d5b1e8" providerId="ADAL" clId="{43B71669-8A80-4333-9349-B258A9296B49}" dt="2024-02-27T17:26:23.459" v="4792" actId="478"/>
          <ac:spMkLst>
            <pc:docMk/>
            <pc:sldMk cId="2423218208" sldId="583"/>
            <ac:spMk id="453" creationId="{3267B495-0E7D-BF6E-C20B-030D7AE23A47}"/>
          </ac:spMkLst>
        </pc:spChg>
        <pc:spChg chg="replST delST">
          <ac:chgData name="Bullinger, Marvin" userId="5b54ce5a-dc89-476f-af33-5abd75d5b1e8" providerId="ADAL" clId="{43B71669-8A80-4333-9349-B258A9296B49}" dt="2024-02-27T16:53:48.817" v="2690"/>
          <ac:spMkLst>
            <pc:docMk/>
            <pc:sldMk cId="2423218208" sldId="583"/>
            <ac:spMk id="453" creationId="{DA2E5592-A965-6C46-0E10-6173CB777836}"/>
          </ac:spMkLst>
        </pc:spChg>
        <pc:spChg chg="del">
          <ac:chgData name="Bullinger, Marvin" userId="5b54ce5a-dc89-476f-af33-5abd75d5b1e8" providerId="ADAL" clId="{43B71669-8A80-4333-9349-B258A9296B49}" dt="2024-02-27T17:26:23.459" v="4791" actId="478"/>
          <ac:spMkLst>
            <pc:docMk/>
            <pc:sldMk cId="2423218208" sldId="583"/>
            <ac:spMk id="454" creationId="{967E3511-79E1-227F-1F04-670894A6F7B2}"/>
          </ac:spMkLst>
        </pc:spChg>
        <pc:spChg chg="replST delST">
          <ac:chgData name="Bullinger, Marvin" userId="5b54ce5a-dc89-476f-af33-5abd75d5b1e8" providerId="ADAL" clId="{43B71669-8A80-4333-9349-B258A9296B49}" dt="2024-02-27T16:53:48.817" v="2687"/>
          <ac:spMkLst>
            <pc:docMk/>
            <pc:sldMk cId="2423218208" sldId="583"/>
            <ac:spMk id="454" creationId="{E9A41E5D-8D9B-1242-F65D-2F2411E6BCDD}"/>
          </ac:spMkLst>
        </pc:spChg>
        <pc:spChg chg="del">
          <ac:chgData name="Bullinger, Marvin" userId="5b54ce5a-dc89-476f-af33-5abd75d5b1e8" providerId="ADAL" clId="{43B71669-8A80-4333-9349-B258A9296B49}" dt="2024-02-27T17:26:23.459" v="4790" actId="478"/>
          <ac:spMkLst>
            <pc:docMk/>
            <pc:sldMk cId="2423218208" sldId="583"/>
            <ac:spMk id="455" creationId="{D669FC38-F7BC-6068-370F-36C0AD7D1CE3}"/>
          </ac:spMkLst>
        </pc:spChg>
        <pc:spChg chg="replST delST">
          <ac:chgData name="Bullinger, Marvin" userId="5b54ce5a-dc89-476f-af33-5abd75d5b1e8" providerId="ADAL" clId="{43B71669-8A80-4333-9349-B258A9296B49}" dt="2024-02-27T16:53:48.817" v="2683"/>
          <ac:spMkLst>
            <pc:docMk/>
            <pc:sldMk cId="2423218208" sldId="583"/>
            <ac:spMk id="456" creationId="{5284DC8A-1B3B-530D-C694-A36BCAE4B719}"/>
          </ac:spMkLst>
        </pc:spChg>
        <pc:spChg chg="del">
          <ac:chgData name="Bullinger, Marvin" userId="5b54ce5a-dc89-476f-af33-5abd75d5b1e8" providerId="ADAL" clId="{43B71669-8A80-4333-9349-B258A9296B49}" dt="2024-02-27T17:26:23.459" v="4787" actId="478"/>
          <ac:spMkLst>
            <pc:docMk/>
            <pc:sldMk cId="2423218208" sldId="583"/>
            <ac:spMk id="456" creationId="{DE600E90-BECA-9E0A-795B-F5A7D119D6A7}"/>
          </ac:spMkLst>
        </pc:spChg>
        <pc:spChg chg="del">
          <ac:chgData name="Bullinger, Marvin" userId="5b54ce5a-dc89-476f-af33-5abd75d5b1e8" providerId="ADAL" clId="{43B71669-8A80-4333-9349-B258A9296B49}" dt="2024-02-27T17:26:23.459" v="4786" actId="478"/>
          <ac:spMkLst>
            <pc:docMk/>
            <pc:sldMk cId="2423218208" sldId="583"/>
            <ac:spMk id="457" creationId="{384FB253-493C-9BF6-03A5-D35E71B36D63}"/>
          </ac:spMkLst>
        </pc:spChg>
        <pc:spChg chg="replST delST">
          <ac:chgData name="Bullinger, Marvin" userId="5b54ce5a-dc89-476f-af33-5abd75d5b1e8" providerId="ADAL" clId="{43B71669-8A80-4333-9349-B258A9296B49}" dt="2024-02-27T16:53:48.817" v="2680"/>
          <ac:spMkLst>
            <pc:docMk/>
            <pc:sldMk cId="2423218208" sldId="583"/>
            <ac:spMk id="457" creationId="{EF12362F-641F-3128-6D16-F72FBF351D7F}"/>
          </ac:spMkLst>
        </pc:spChg>
        <pc:spChg chg="del">
          <ac:chgData name="Bullinger, Marvin" userId="5b54ce5a-dc89-476f-af33-5abd75d5b1e8" providerId="ADAL" clId="{43B71669-8A80-4333-9349-B258A9296B49}" dt="2024-02-27T17:26:23.459" v="4785" actId="478"/>
          <ac:spMkLst>
            <pc:docMk/>
            <pc:sldMk cId="2423218208" sldId="583"/>
            <ac:spMk id="458" creationId="{8FC3CA8C-2BFD-468B-8DC0-5022B8150CFB}"/>
          </ac:spMkLst>
        </pc:spChg>
        <pc:spChg chg="del">
          <ac:chgData name="Bullinger, Marvin" userId="5b54ce5a-dc89-476f-af33-5abd75d5b1e8" providerId="ADAL" clId="{43B71669-8A80-4333-9349-B258A9296B49}" dt="2024-02-27T17:26:23.459" v="4784" actId="478"/>
          <ac:spMkLst>
            <pc:docMk/>
            <pc:sldMk cId="2423218208" sldId="583"/>
            <ac:spMk id="459" creationId="{52D2CBA5-D5F0-CE7C-8DEF-FE474AF07033}"/>
          </ac:spMkLst>
        </pc:spChg>
        <pc:spChg chg="replST delST">
          <ac:chgData name="Bullinger, Marvin" userId="5b54ce5a-dc89-476f-af33-5abd75d5b1e8" providerId="ADAL" clId="{43B71669-8A80-4333-9349-B258A9296B49}" dt="2024-02-27T16:53:48.817" v="2676"/>
          <ac:spMkLst>
            <pc:docMk/>
            <pc:sldMk cId="2423218208" sldId="583"/>
            <ac:spMk id="459" creationId="{ACA60FC7-954F-4580-4F8D-6CC5388F3151}"/>
          </ac:spMkLst>
        </pc:spChg>
        <pc:spChg chg="replST delST">
          <ac:chgData name="Bullinger, Marvin" userId="5b54ce5a-dc89-476f-af33-5abd75d5b1e8" providerId="ADAL" clId="{43B71669-8A80-4333-9349-B258A9296B49}" dt="2024-02-27T16:53:48.817" v="2673"/>
          <ac:spMkLst>
            <pc:docMk/>
            <pc:sldMk cId="2423218208" sldId="583"/>
            <ac:spMk id="460" creationId="{98468AD3-A381-37BC-69E2-91CCB3A277A2}"/>
          </ac:spMkLst>
        </pc:spChg>
        <pc:spChg chg="del">
          <ac:chgData name="Bullinger, Marvin" userId="5b54ce5a-dc89-476f-af33-5abd75d5b1e8" providerId="ADAL" clId="{43B71669-8A80-4333-9349-B258A9296B49}" dt="2024-02-27T17:26:23.459" v="4783" actId="478"/>
          <ac:spMkLst>
            <pc:docMk/>
            <pc:sldMk cId="2423218208" sldId="583"/>
            <ac:spMk id="460" creationId="{BE28B37E-AD67-8296-70A0-233C115DDB46}"/>
          </ac:spMkLst>
        </pc:spChg>
        <pc:spChg chg="del">
          <ac:chgData name="Bullinger, Marvin" userId="5b54ce5a-dc89-476f-af33-5abd75d5b1e8" providerId="ADAL" clId="{43B71669-8A80-4333-9349-B258A9296B49}" dt="2024-02-27T17:26:23.459" v="4782" actId="478"/>
          <ac:spMkLst>
            <pc:docMk/>
            <pc:sldMk cId="2423218208" sldId="583"/>
            <ac:spMk id="461" creationId="{6324C034-43E9-B3E2-99C7-A532D8984907}"/>
          </ac:spMkLst>
        </pc:spChg>
        <pc:spChg chg="del">
          <ac:chgData name="Bullinger, Marvin" userId="5b54ce5a-dc89-476f-af33-5abd75d5b1e8" providerId="ADAL" clId="{43B71669-8A80-4333-9349-B258A9296B49}" dt="2024-02-27T17:26:23.469" v="4803" actId="478"/>
          <ac:spMkLst>
            <pc:docMk/>
            <pc:sldMk cId="2423218208" sldId="583"/>
            <ac:spMk id="462" creationId="{30EBE3B4-8ECD-73EC-60C2-8BB82610BA68}"/>
          </ac:spMkLst>
        </pc:spChg>
        <pc:spChg chg="replST delST">
          <ac:chgData name="Bullinger, Marvin" userId="5b54ce5a-dc89-476f-af33-5abd75d5b1e8" providerId="ADAL" clId="{43B71669-8A80-4333-9349-B258A9296B49}" dt="2024-02-27T16:53:48.817" v="2669"/>
          <ac:spMkLst>
            <pc:docMk/>
            <pc:sldMk cId="2423218208" sldId="583"/>
            <ac:spMk id="462" creationId="{65926F74-65DF-C810-D8B3-94CF16197892}"/>
          </ac:spMkLst>
        </pc:spChg>
        <pc:spChg chg="del">
          <ac:chgData name="Bullinger, Marvin" userId="5b54ce5a-dc89-476f-af33-5abd75d5b1e8" providerId="ADAL" clId="{43B71669-8A80-4333-9349-B258A9296B49}" dt="2024-02-27T17:26:23.469" v="4802" actId="478"/>
          <ac:spMkLst>
            <pc:docMk/>
            <pc:sldMk cId="2423218208" sldId="583"/>
            <ac:spMk id="463" creationId="{915A9F35-FDDD-64FB-1DF8-72282BA10F90}"/>
          </ac:spMkLst>
        </pc:spChg>
        <pc:spChg chg="replST delST">
          <ac:chgData name="Bullinger, Marvin" userId="5b54ce5a-dc89-476f-af33-5abd75d5b1e8" providerId="ADAL" clId="{43B71669-8A80-4333-9349-B258A9296B49}" dt="2024-02-27T16:53:48.816" v="2666"/>
          <ac:spMkLst>
            <pc:docMk/>
            <pc:sldMk cId="2423218208" sldId="583"/>
            <ac:spMk id="463" creationId="{F229AF1E-F53F-CC47-330F-3752C8A9FD54}"/>
          </ac:spMkLst>
        </pc:spChg>
        <pc:spChg chg="del">
          <ac:chgData name="Bullinger, Marvin" userId="5b54ce5a-dc89-476f-af33-5abd75d5b1e8" providerId="ADAL" clId="{43B71669-8A80-4333-9349-B258A9296B49}" dt="2024-02-27T17:26:23.469" v="4801" actId="478"/>
          <ac:spMkLst>
            <pc:docMk/>
            <pc:sldMk cId="2423218208" sldId="583"/>
            <ac:spMk id="464" creationId="{27E7298E-471F-2ED9-2F6D-9EDE9239A9A0}"/>
          </ac:spMkLst>
        </pc:spChg>
        <pc:spChg chg="replST delST">
          <ac:chgData name="Bullinger, Marvin" userId="5b54ce5a-dc89-476f-af33-5abd75d5b1e8" providerId="ADAL" clId="{43B71669-8A80-4333-9349-B258A9296B49}" dt="2024-02-27T16:53:48.800" v="2662"/>
          <ac:spMkLst>
            <pc:docMk/>
            <pc:sldMk cId="2423218208" sldId="583"/>
            <ac:spMk id="465" creationId="{28C37339-DF97-158E-524C-4DEA24600DFB}"/>
          </ac:spMkLst>
        </pc:spChg>
        <pc:spChg chg="del">
          <ac:chgData name="Bullinger, Marvin" userId="5b54ce5a-dc89-476f-af33-5abd75d5b1e8" providerId="ADAL" clId="{43B71669-8A80-4333-9349-B258A9296B49}" dt="2024-02-27T17:26:23.469" v="4800" actId="478"/>
          <ac:spMkLst>
            <pc:docMk/>
            <pc:sldMk cId="2423218208" sldId="583"/>
            <ac:spMk id="465" creationId="{BD33CC13-D348-D87D-9D37-9EBB13A3442E}"/>
          </ac:spMkLst>
        </pc:spChg>
        <pc:spChg chg="del">
          <ac:chgData name="Bullinger, Marvin" userId="5b54ce5a-dc89-476f-af33-5abd75d5b1e8" providerId="ADAL" clId="{43B71669-8A80-4333-9349-B258A9296B49}" dt="2024-02-27T17:26:23.469" v="4799" actId="478"/>
          <ac:spMkLst>
            <pc:docMk/>
            <pc:sldMk cId="2423218208" sldId="583"/>
            <ac:spMk id="466" creationId="{6AEC93FF-F851-D0EF-609A-6DCF222398BB}"/>
          </ac:spMkLst>
        </pc:spChg>
        <pc:spChg chg="replST delST">
          <ac:chgData name="Bullinger, Marvin" userId="5b54ce5a-dc89-476f-af33-5abd75d5b1e8" providerId="ADAL" clId="{43B71669-8A80-4333-9349-B258A9296B49}" dt="2024-02-27T16:53:48.800" v="2659"/>
          <ac:spMkLst>
            <pc:docMk/>
            <pc:sldMk cId="2423218208" sldId="583"/>
            <ac:spMk id="466" creationId="{D6D98590-9777-5929-4E23-768253ADE782}"/>
          </ac:spMkLst>
        </pc:spChg>
        <pc:spChg chg="mod ord replST delST">
          <ac:chgData name="Bullinger, Marvin" userId="5b54ce5a-dc89-476f-af33-5abd75d5b1e8" providerId="ADAL" clId="{43B71669-8A80-4333-9349-B258A9296B49}" dt="2024-02-27T16:53:49.050" v="3382"/>
          <ac:spMkLst>
            <pc:docMk/>
            <pc:sldMk cId="2423218208" sldId="583"/>
            <ac:spMk id="467" creationId="{7D23279B-9C6E-4ED5-0E30-71953D9629D2}"/>
          </ac:spMkLst>
        </pc:spChg>
        <pc:spChg chg="del">
          <ac:chgData name="Bullinger, Marvin" userId="5b54ce5a-dc89-476f-af33-5abd75d5b1e8" providerId="ADAL" clId="{43B71669-8A80-4333-9349-B258A9296B49}" dt="2024-02-27T17:26:23.469" v="4798" actId="478"/>
          <ac:spMkLst>
            <pc:docMk/>
            <pc:sldMk cId="2423218208" sldId="583"/>
            <ac:spMk id="467" creationId="{D3286BC7-4FBF-791D-6BF4-E8655F6B674E}"/>
          </ac:spMkLst>
        </pc:spChg>
        <pc:spChg chg="del">
          <ac:chgData name="Bullinger, Marvin" userId="5b54ce5a-dc89-476f-af33-5abd75d5b1e8" providerId="ADAL" clId="{43B71669-8A80-4333-9349-B258A9296B49}" dt="2024-02-27T17:26:23.469" v="4797" actId="478"/>
          <ac:spMkLst>
            <pc:docMk/>
            <pc:sldMk cId="2423218208" sldId="583"/>
            <ac:spMk id="468" creationId="{94A9CE0D-895A-28D5-E13E-A825B690C66A}"/>
          </ac:spMkLst>
        </pc:spChg>
        <pc:spChg chg="del">
          <ac:chgData name="Bullinger, Marvin" userId="5b54ce5a-dc89-476f-af33-5abd75d5b1e8" providerId="ADAL" clId="{43B71669-8A80-4333-9349-B258A9296B49}" dt="2024-02-27T17:26:23.467" v="4796" actId="478"/>
          <ac:spMkLst>
            <pc:docMk/>
            <pc:sldMk cId="2423218208" sldId="583"/>
            <ac:spMk id="469" creationId="{720EA7DA-9E41-8AB9-4F47-1BBEB5E5C78F}"/>
          </ac:spMkLst>
        </pc:spChg>
        <pc:spChg chg="del">
          <ac:chgData name="Bullinger, Marvin" userId="5b54ce5a-dc89-476f-af33-5abd75d5b1e8" providerId="ADAL" clId="{43B71669-8A80-4333-9349-B258A9296B49}" dt="2024-02-27T17:26:23.459" v="4788" actId="478"/>
          <ac:spMkLst>
            <pc:docMk/>
            <pc:sldMk cId="2423218208" sldId="583"/>
            <ac:spMk id="470" creationId="{DF584586-55F5-BC81-F9B1-A444CB41EFC1}"/>
          </ac:spMkLst>
        </pc:spChg>
        <pc:spChg chg="del">
          <ac:chgData name="Bullinger, Marvin" userId="5b54ce5a-dc89-476f-af33-5abd75d5b1e8" providerId="ADAL" clId="{43B71669-8A80-4333-9349-B258A9296B49}" dt="2024-02-27T17:26:23.459" v="4781" actId="478"/>
          <ac:spMkLst>
            <pc:docMk/>
            <pc:sldMk cId="2423218208" sldId="583"/>
            <ac:spMk id="471" creationId="{04650981-F254-5827-A7E5-A3620A251826}"/>
          </ac:spMkLst>
        </pc:spChg>
        <pc:spChg chg="del">
          <ac:chgData name="Bullinger, Marvin" userId="5b54ce5a-dc89-476f-af33-5abd75d5b1e8" providerId="ADAL" clId="{43B71669-8A80-4333-9349-B258A9296B49}" dt="2024-02-27T17:26:23.459" v="4789" actId="478"/>
          <ac:spMkLst>
            <pc:docMk/>
            <pc:sldMk cId="2423218208" sldId="583"/>
            <ac:spMk id="472" creationId="{BDCF53A7-3A4F-005C-C812-22A5AA9E4C98}"/>
          </ac:spMkLst>
        </pc:spChg>
        <pc:spChg chg="del">
          <ac:chgData name="Bullinger, Marvin" userId="5b54ce5a-dc89-476f-af33-5abd75d5b1e8" providerId="ADAL" clId="{43B71669-8A80-4333-9349-B258A9296B49}" dt="2024-02-27T17:26:23.459" v="4780" actId="478"/>
          <ac:spMkLst>
            <pc:docMk/>
            <pc:sldMk cId="2423218208" sldId="583"/>
            <ac:spMk id="473" creationId="{7F3500DE-1ADE-11B2-648F-2EF54C885A98}"/>
          </ac:spMkLst>
        </pc:spChg>
        <pc:spChg chg="del">
          <ac:chgData name="Bullinger, Marvin" userId="5b54ce5a-dc89-476f-af33-5abd75d5b1e8" providerId="ADAL" clId="{43B71669-8A80-4333-9349-B258A9296B49}" dt="2024-02-27T17:26:23.457" v="4779" actId="478"/>
          <ac:spMkLst>
            <pc:docMk/>
            <pc:sldMk cId="2423218208" sldId="583"/>
            <ac:spMk id="474" creationId="{AE5D3769-5D83-8C08-10CA-87BE4AD6B48A}"/>
          </ac:spMkLst>
        </pc:spChg>
        <pc:spChg chg="del">
          <ac:chgData name="Bullinger, Marvin" userId="5b54ce5a-dc89-476f-af33-5abd75d5b1e8" providerId="ADAL" clId="{43B71669-8A80-4333-9349-B258A9296B49}" dt="2024-02-27T17:26:23.457" v="4778" actId="478"/>
          <ac:spMkLst>
            <pc:docMk/>
            <pc:sldMk cId="2423218208" sldId="583"/>
            <ac:spMk id="475" creationId="{D02761C6-C92D-A08B-CA0A-E59B5485C4A4}"/>
          </ac:spMkLst>
        </pc:spChg>
        <pc:spChg chg="del">
          <ac:chgData name="Bullinger, Marvin" userId="5b54ce5a-dc89-476f-af33-5abd75d5b1e8" providerId="ADAL" clId="{43B71669-8A80-4333-9349-B258A9296B49}" dt="2024-02-27T17:26:23.457" v="4777" actId="478"/>
          <ac:spMkLst>
            <pc:docMk/>
            <pc:sldMk cId="2423218208" sldId="583"/>
            <ac:spMk id="476" creationId="{78659C31-7668-52B2-D25E-33936DEF19F8}"/>
          </ac:spMkLst>
        </pc:spChg>
        <pc:spChg chg="del">
          <ac:chgData name="Bullinger, Marvin" userId="5b54ce5a-dc89-476f-af33-5abd75d5b1e8" providerId="ADAL" clId="{43B71669-8A80-4333-9349-B258A9296B49}" dt="2024-02-27T17:26:23.448" v="4776" actId="478"/>
          <ac:spMkLst>
            <pc:docMk/>
            <pc:sldMk cId="2423218208" sldId="583"/>
            <ac:spMk id="477" creationId="{EA1F5CFC-6775-A321-B9AA-E4E70595A59C}"/>
          </ac:spMkLst>
        </pc:spChg>
        <pc:spChg chg="del">
          <ac:chgData name="Bullinger, Marvin" userId="5b54ce5a-dc89-476f-af33-5abd75d5b1e8" providerId="ADAL" clId="{43B71669-8A80-4333-9349-B258A9296B49}" dt="2024-02-27T17:26:23.448" v="4775" actId="478"/>
          <ac:spMkLst>
            <pc:docMk/>
            <pc:sldMk cId="2423218208" sldId="583"/>
            <ac:spMk id="478" creationId="{CADF09E4-993A-73F0-E0C5-9864570BBED8}"/>
          </ac:spMkLst>
        </pc:spChg>
        <pc:spChg chg="del">
          <ac:chgData name="Bullinger, Marvin" userId="5b54ce5a-dc89-476f-af33-5abd75d5b1e8" providerId="ADAL" clId="{43B71669-8A80-4333-9349-B258A9296B49}" dt="2024-02-27T17:26:23.448" v="4774" actId="478"/>
          <ac:spMkLst>
            <pc:docMk/>
            <pc:sldMk cId="2423218208" sldId="583"/>
            <ac:spMk id="479" creationId="{A39B0E9F-F9E6-DA00-9AA9-E9097DF81645}"/>
          </ac:spMkLst>
        </pc:spChg>
        <pc:spChg chg="del">
          <ac:chgData name="Bullinger, Marvin" userId="5b54ce5a-dc89-476f-af33-5abd75d5b1e8" providerId="ADAL" clId="{43B71669-8A80-4333-9349-B258A9296B49}" dt="2024-02-27T17:26:23.448" v="4773" actId="478"/>
          <ac:spMkLst>
            <pc:docMk/>
            <pc:sldMk cId="2423218208" sldId="583"/>
            <ac:spMk id="480" creationId="{4C151DFF-48ED-7496-6AA0-93E78B747E08}"/>
          </ac:spMkLst>
        </pc:spChg>
        <pc:spChg chg="del">
          <ac:chgData name="Bullinger, Marvin" userId="5b54ce5a-dc89-476f-af33-5abd75d5b1e8" providerId="ADAL" clId="{43B71669-8A80-4333-9349-B258A9296B49}" dt="2024-02-27T17:26:23.448" v="4772" actId="478"/>
          <ac:spMkLst>
            <pc:docMk/>
            <pc:sldMk cId="2423218208" sldId="583"/>
            <ac:spMk id="481" creationId="{D25D07EA-65AD-7DDF-6254-B6571A65ADA7}"/>
          </ac:spMkLst>
        </pc:spChg>
        <pc:spChg chg="del">
          <ac:chgData name="Bullinger, Marvin" userId="5b54ce5a-dc89-476f-af33-5abd75d5b1e8" providerId="ADAL" clId="{43B71669-8A80-4333-9349-B258A9296B49}" dt="2024-02-27T17:26:23.448" v="4771" actId="478"/>
          <ac:spMkLst>
            <pc:docMk/>
            <pc:sldMk cId="2423218208" sldId="583"/>
            <ac:spMk id="482" creationId="{59234B8E-E092-3E14-47B5-AF07BAFC8224}"/>
          </ac:spMkLst>
        </pc:spChg>
        <pc:spChg chg="del">
          <ac:chgData name="Bullinger, Marvin" userId="5b54ce5a-dc89-476f-af33-5abd75d5b1e8" providerId="ADAL" clId="{43B71669-8A80-4333-9349-B258A9296B49}" dt="2024-02-27T17:26:23.448" v="4770" actId="478"/>
          <ac:spMkLst>
            <pc:docMk/>
            <pc:sldMk cId="2423218208" sldId="583"/>
            <ac:spMk id="483" creationId="{8236F111-C876-D1B0-5EE8-9ED9D373495B}"/>
          </ac:spMkLst>
        </pc:spChg>
        <pc:spChg chg="del">
          <ac:chgData name="Bullinger, Marvin" userId="5b54ce5a-dc89-476f-af33-5abd75d5b1e8" providerId="ADAL" clId="{43B71669-8A80-4333-9349-B258A9296B49}" dt="2024-02-27T17:26:23.448" v="4769" actId="478"/>
          <ac:spMkLst>
            <pc:docMk/>
            <pc:sldMk cId="2423218208" sldId="583"/>
            <ac:spMk id="484" creationId="{C5CF9093-6E9A-A3CF-9550-D6191F118CC4}"/>
          </ac:spMkLst>
        </pc:spChg>
        <pc:spChg chg="del">
          <ac:chgData name="Bullinger, Marvin" userId="5b54ce5a-dc89-476f-af33-5abd75d5b1e8" providerId="ADAL" clId="{43B71669-8A80-4333-9349-B258A9296B49}" dt="2024-02-27T17:26:23.448" v="4768" actId="478"/>
          <ac:spMkLst>
            <pc:docMk/>
            <pc:sldMk cId="2423218208" sldId="583"/>
            <ac:spMk id="485" creationId="{54DA8DE8-CF30-25E4-7D20-FF17CF9A78A2}"/>
          </ac:spMkLst>
        </pc:spChg>
        <pc:spChg chg="del">
          <ac:chgData name="Bullinger, Marvin" userId="5b54ce5a-dc89-476f-af33-5abd75d5b1e8" providerId="ADAL" clId="{43B71669-8A80-4333-9349-B258A9296B49}" dt="2024-02-27T17:26:23.448" v="4767" actId="478"/>
          <ac:spMkLst>
            <pc:docMk/>
            <pc:sldMk cId="2423218208" sldId="583"/>
            <ac:spMk id="486" creationId="{1B6522ED-7858-8C5B-5FB5-5A2A805A155C}"/>
          </ac:spMkLst>
        </pc:spChg>
        <pc:spChg chg="replST">
          <ac:chgData name="Bullinger, Marvin" userId="5b54ce5a-dc89-476f-af33-5abd75d5b1e8" providerId="ADAL" clId="{43B71669-8A80-4333-9349-B258A9296B49}" dt="2024-02-27T17:26:24.951" v="5469"/>
          <ac:spMkLst>
            <pc:docMk/>
            <pc:sldMk cId="2423218208" sldId="583"/>
            <ac:spMk id="487" creationId="{A0E40CF1-2ED9-6910-2794-EA7166484738}"/>
          </ac:spMkLst>
        </pc:spChg>
        <pc:spChg chg="replST">
          <ac:chgData name="Bullinger, Marvin" userId="5b54ce5a-dc89-476f-af33-5abd75d5b1e8" providerId="ADAL" clId="{43B71669-8A80-4333-9349-B258A9296B49}" dt="2024-02-27T17:26:24.959" v="5472"/>
          <ac:spMkLst>
            <pc:docMk/>
            <pc:sldMk cId="2423218208" sldId="583"/>
            <ac:spMk id="488" creationId="{26D06A78-6145-C217-EC84-C4A08D7CEC0E}"/>
          </ac:spMkLst>
        </pc:spChg>
        <pc:spChg chg="replST">
          <ac:chgData name="Bullinger, Marvin" userId="5b54ce5a-dc89-476f-af33-5abd75d5b1e8" providerId="ADAL" clId="{43B71669-8A80-4333-9349-B258A9296B49}" dt="2024-02-27T17:26:24.967" v="5476"/>
          <ac:spMkLst>
            <pc:docMk/>
            <pc:sldMk cId="2423218208" sldId="583"/>
            <ac:spMk id="490" creationId="{7963F418-7445-1BCE-19D7-2E6395E81AE1}"/>
          </ac:spMkLst>
        </pc:spChg>
        <pc:spChg chg="replST">
          <ac:chgData name="Bullinger, Marvin" userId="5b54ce5a-dc89-476f-af33-5abd75d5b1e8" providerId="ADAL" clId="{43B71669-8A80-4333-9349-B258A9296B49}" dt="2024-02-27T17:26:24.967" v="5479"/>
          <ac:spMkLst>
            <pc:docMk/>
            <pc:sldMk cId="2423218208" sldId="583"/>
            <ac:spMk id="491" creationId="{86C02C28-6BD6-BA61-75C2-1C5F434627F4}"/>
          </ac:spMkLst>
        </pc:spChg>
        <pc:spChg chg="replST">
          <ac:chgData name="Bullinger, Marvin" userId="5b54ce5a-dc89-476f-af33-5abd75d5b1e8" providerId="ADAL" clId="{43B71669-8A80-4333-9349-B258A9296B49}" dt="2024-02-27T17:26:24.983" v="5483"/>
          <ac:spMkLst>
            <pc:docMk/>
            <pc:sldMk cId="2423218208" sldId="583"/>
            <ac:spMk id="493" creationId="{AF352D71-F803-7094-31B4-F23026C6F48E}"/>
          </ac:spMkLst>
        </pc:spChg>
        <pc:spChg chg="replST">
          <ac:chgData name="Bullinger, Marvin" userId="5b54ce5a-dc89-476f-af33-5abd75d5b1e8" providerId="ADAL" clId="{43B71669-8A80-4333-9349-B258A9296B49}" dt="2024-02-27T17:26:24.983" v="5486"/>
          <ac:spMkLst>
            <pc:docMk/>
            <pc:sldMk cId="2423218208" sldId="583"/>
            <ac:spMk id="494" creationId="{2A14DE94-3DF9-92A2-F512-8241B865B9B5}"/>
          </ac:spMkLst>
        </pc:spChg>
        <pc:spChg chg="replST">
          <ac:chgData name="Bullinger, Marvin" userId="5b54ce5a-dc89-476f-af33-5abd75d5b1e8" providerId="ADAL" clId="{43B71669-8A80-4333-9349-B258A9296B49}" dt="2024-02-27T17:26:24.999" v="5490"/>
          <ac:spMkLst>
            <pc:docMk/>
            <pc:sldMk cId="2423218208" sldId="583"/>
            <ac:spMk id="496" creationId="{220DE60C-9A6F-6592-9526-EC2F7D573FD2}"/>
          </ac:spMkLst>
        </pc:spChg>
        <pc:spChg chg="replST">
          <ac:chgData name="Bullinger, Marvin" userId="5b54ce5a-dc89-476f-af33-5abd75d5b1e8" providerId="ADAL" clId="{43B71669-8A80-4333-9349-B258A9296B49}" dt="2024-02-27T17:26:25.004" v="5493"/>
          <ac:spMkLst>
            <pc:docMk/>
            <pc:sldMk cId="2423218208" sldId="583"/>
            <ac:spMk id="497" creationId="{96C49498-7B98-E3DE-91FC-907966B5AE17}"/>
          </ac:spMkLst>
        </pc:spChg>
        <pc:spChg chg="replST">
          <ac:chgData name="Bullinger, Marvin" userId="5b54ce5a-dc89-476f-af33-5abd75d5b1e8" providerId="ADAL" clId="{43B71669-8A80-4333-9349-B258A9296B49}" dt="2024-02-27T17:26:25.004" v="5497"/>
          <ac:spMkLst>
            <pc:docMk/>
            <pc:sldMk cId="2423218208" sldId="583"/>
            <ac:spMk id="499" creationId="{B7BB5000-DB0C-1DF3-5E4A-3C0C03A83AB9}"/>
          </ac:spMkLst>
        </pc:spChg>
        <pc:spChg chg="replST">
          <ac:chgData name="Bullinger, Marvin" userId="5b54ce5a-dc89-476f-af33-5abd75d5b1e8" providerId="ADAL" clId="{43B71669-8A80-4333-9349-B258A9296B49}" dt="2024-02-27T17:26:25.020" v="5500"/>
          <ac:spMkLst>
            <pc:docMk/>
            <pc:sldMk cId="2423218208" sldId="583"/>
            <ac:spMk id="500" creationId="{B254B85C-2876-399B-6B60-A25D301ABCD6}"/>
          </ac:spMkLst>
        </pc:spChg>
        <pc:spChg chg="replST">
          <ac:chgData name="Bullinger, Marvin" userId="5b54ce5a-dc89-476f-af33-5abd75d5b1e8" providerId="ADAL" clId="{43B71669-8A80-4333-9349-B258A9296B49}" dt="2024-02-27T17:26:25.020" v="5504"/>
          <ac:spMkLst>
            <pc:docMk/>
            <pc:sldMk cId="2423218208" sldId="583"/>
            <ac:spMk id="502" creationId="{57FC54F6-C9D6-E502-6734-5FCFA497BC04}"/>
          </ac:spMkLst>
        </pc:spChg>
        <pc:spChg chg="replST">
          <ac:chgData name="Bullinger, Marvin" userId="5b54ce5a-dc89-476f-af33-5abd75d5b1e8" providerId="ADAL" clId="{43B71669-8A80-4333-9349-B258A9296B49}" dt="2024-02-27T17:26:25.036" v="5507"/>
          <ac:spMkLst>
            <pc:docMk/>
            <pc:sldMk cId="2423218208" sldId="583"/>
            <ac:spMk id="503" creationId="{4ED06CCF-543B-4D32-3AA6-786C124216F7}"/>
          </ac:spMkLst>
        </pc:spChg>
        <pc:spChg chg="replST">
          <ac:chgData name="Bullinger, Marvin" userId="5b54ce5a-dc89-476f-af33-5abd75d5b1e8" providerId="ADAL" clId="{43B71669-8A80-4333-9349-B258A9296B49}" dt="2024-02-27T17:26:25.036" v="5511"/>
          <ac:spMkLst>
            <pc:docMk/>
            <pc:sldMk cId="2423218208" sldId="583"/>
            <ac:spMk id="505" creationId="{0A2E71F5-C4BC-AEB3-20C4-1DC2F54E3F04}"/>
          </ac:spMkLst>
        </pc:spChg>
        <pc:spChg chg="replST">
          <ac:chgData name="Bullinger, Marvin" userId="5b54ce5a-dc89-476f-af33-5abd75d5b1e8" providerId="ADAL" clId="{43B71669-8A80-4333-9349-B258A9296B49}" dt="2024-02-27T17:26:25.051" v="5514"/>
          <ac:spMkLst>
            <pc:docMk/>
            <pc:sldMk cId="2423218208" sldId="583"/>
            <ac:spMk id="506" creationId="{1FECE10B-F5CC-B941-F1DB-DA701907B1E9}"/>
          </ac:spMkLst>
        </pc:spChg>
        <pc:spChg chg="replST">
          <ac:chgData name="Bullinger, Marvin" userId="5b54ce5a-dc89-476f-af33-5abd75d5b1e8" providerId="ADAL" clId="{43B71669-8A80-4333-9349-B258A9296B49}" dt="2024-02-27T17:26:25.053" v="5518"/>
          <ac:spMkLst>
            <pc:docMk/>
            <pc:sldMk cId="2423218208" sldId="583"/>
            <ac:spMk id="508" creationId="{DFC668B7-7BA2-68F1-5A8E-D0871D69EDDB}"/>
          </ac:spMkLst>
        </pc:spChg>
        <pc:spChg chg="replST">
          <ac:chgData name="Bullinger, Marvin" userId="5b54ce5a-dc89-476f-af33-5abd75d5b1e8" providerId="ADAL" clId="{43B71669-8A80-4333-9349-B258A9296B49}" dt="2024-02-27T17:26:25.063" v="5521"/>
          <ac:spMkLst>
            <pc:docMk/>
            <pc:sldMk cId="2423218208" sldId="583"/>
            <ac:spMk id="509" creationId="{F689C273-81D3-A789-20C2-AB15A189BA62}"/>
          </ac:spMkLst>
        </pc:spChg>
        <pc:spChg chg="del ord replST">
          <ac:chgData name="Bullinger, Marvin" userId="5b54ce5a-dc89-476f-af33-5abd75d5b1e8" providerId="ADAL" clId="{43B71669-8A80-4333-9349-B258A9296B49}" dt="2024-02-27T17:26:59.423" v="6074" actId="478"/>
          <ac:spMkLst>
            <pc:docMk/>
            <pc:sldMk cId="2423218208" sldId="583"/>
            <ac:spMk id="510" creationId="{8E8C55D9-E8C3-B7C5-3993-F19D132F40AD}"/>
          </ac:spMkLst>
        </pc:spChg>
        <pc:spChg chg="replST">
          <ac:chgData name="Bullinger, Marvin" userId="5b54ce5a-dc89-476f-af33-5abd75d5b1e8" providerId="ADAL" clId="{43B71669-8A80-4333-9349-B258A9296B49}" dt="2024-02-27T17:26:25.071" v="5525"/>
          <ac:spMkLst>
            <pc:docMk/>
            <pc:sldMk cId="2423218208" sldId="583"/>
            <ac:spMk id="511" creationId="{7B6579EB-7E0E-08D0-0D5B-377C41296017}"/>
          </ac:spMkLst>
        </pc:spChg>
        <pc:spChg chg="replST">
          <ac:chgData name="Bullinger, Marvin" userId="5b54ce5a-dc89-476f-af33-5abd75d5b1e8" providerId="ADAL" clId="{43B71669-8A80-4333-9349-B258A9296B49}" dt="2024-02-27T17:26:25.071" v="5528"/>
          <ac:spMkLst>
            <pc:docMk/>
            <pc:sldMk cId="2423218208" sldId="583"/>
            <ac:spMk id="512" creationId="{38C4E9AA-EC0A-209F-522E-E94B1FBAA9A1}"/>
          </ac:spMkLst>
        </pc:spChg>
        <pc:spChg chg="add mod">
          <ac:chgData name="Bullinger, Marvin" userId="5b54ce5a-dc89-476f-af33-5abd75d5b1e8" providerId="ADAL" clId="{43B71669-8A80-4333-9349-B258A9296B49}" dt="2024-02-27T17:26:59.413" v="6066" actId="478"/>
          <ac:spMkLst>
            <pc:docMk/>
            <pc:sldMk cId="2423218208" sldId="583"/>
            <ac:spMk id="553" creationId="{F1D64A9D-846A-513F-AA8F-DDDEFA20AD82}"/>
          </ac:spMkLst>
        </pc:spChg>
        <pc:spChg chg="del mod ord replST">
          <ac:chgData name="Bullinger, Marvin" userId="5b54ce5a-dc89-476f-af33-5abd75d5b1e8" providerId="ADAL" clId="{43B71669-8A80-4333-9349-B258A9296B49}" dt="2024-02-27T17:27:37.097" v="7167" actId="478"/>
          <ac:spMkLst>
            <pc:docMk/>
            <pc:sldMk cId="2423218208" sldId="583"/>
            <ac:spMk id="554" creationId="{B5B11720-CCDD-3965-AF86-B858D81A44F2}"/>
          </ac:spMkLst>
        </pc:spChg>
        <pc:spChg chg="del">
          <ac:chgData name="Bullinger, Marvin" userId="5b54ce5a-dc89-476f-af33-5abd75d5b1e8" providerId="ADAL" clId="{43B71669-8A80-4333-9349-B258A9296B49}" dt="2024-02-27T17:26:59.452" v="6105" actId="478"/>
          <ac:spMkLst>
            <pc:docMk/>
            <pc:sldMk cId="2423218208" sldId="583"/>
            <ac:spMk id="555" creationId="{A8EFE539-8434-4A37-6A0E-13017D5C0C78}"/>
          </ac:spMkLst>
        </pc:spChg>
        <pc:spChg chg="del">
          <ac:chgData name="Bullinger, Marvin" userId="5b54ce5a-dc89-476f-af33-5abd75d5b1e8" providerId="ADAL" clId="{43B71669-8A80-4333-9349-B258A9296B49}" dt="2024-02-27T17:26:59.452" v="6104" actId="478"/>
          <ac:spMkLst>
            <pc:docMk/>
            <pc:sldMk cId="2423218208" sldId="583"/>
            <ac:spMk id="556" creationId="{9C7A19AE-3701-5AFF-6D35-7FF305BF7C06}"/>
          </ac:spMkLst>
        </pc:spChg>
        <pc:spChg chg="del">
          <ac:chgData name="Bullinger, Marvin" userId="5b54ce5a-dc89-476f-af33-5abd75d5b1e8" providerId="ADAL" clId="{43B71669-8A80-4333-9349-B258A9296B49}" dt="2024-02-27T17:26:59.452" v="6103" actId="478"/>
          <ac:spMkLst>
            <pc:docMk/>
            <pc:sldMk cId="2423218208" sldId="583"/>
            <ac:spMk id="557" creationId="{75D26B43-8EDB-C078-3BB0-53A8CF2984F7}"/>
          </ac:spMkLst>
        </pc:spChg>
        <pc:spChg chg="del">
          <ac:chgData name="Bullinger, Marvin" userId="5b54ce5a-dc89-476f-af33-5abd75d5b1e8" providerId="ADAL" clId="{43B71669-8A80-4333-9349-B258A9296B49}" dt="2024-02-27T17:26:59.452" v="6102" actId="478"/>
          <ac:spMkLst>
            <pc:docMk/>
            <pc:sldMk cId="2423218208" sldId="583"/>
            <ac:spMk id="558" creationId="{03B42BCA-8587-125A-A7DE-FBF9683C48F1}"/>
          </ac:spMkLst>
        </pc:spChg>
        <pc:spChg chg="del">
          <ac:chgData name="Bullinger, Marvin" userId="5b54ce5a-dc89-476f-af33-5abd75d5b1e8" providerId="ADAL" clId="{43B71669-8A80-4333-9349-B258A9296B49}" dt="2024-02-27T17:26:59.452" v="6101" actId="478"/>
          <ac:spMkLst>
            <pc:docMk/>
            <pc:sldMk cId="2423218208" sldId="583"/>
            <ac:spMk id="559" creationId="{4498FEE8-69A7-689A-A51F-46ACA49C4370}"/>
          </ac:spMkLst>
        </pc:spChg>
        <pc:spChg chg="del">
          <ac:chgData name="Bullinger, Marvin" userId="5b54ce5a-dc89-476f-af33-5abd75d5b1e8" providerId="ADAL" clId="{43B71669-8A80-4333-9349-B258A9296B49}" dt="2024-02-27T17:26:59.452" v="6100" actId="478"/>
          <ac:spMkLst>
            <pc:docMk/>
            <pc:sldMk cId="2423218208" sldId="583"/>
            <ac:spMk id="560" creationId="{E9C33C5A-944F-A58F-3999-ED9D110F55B4}"/>
          </ac:spMkLst>
        </pc:spChg>
        <pc:spChg chg="del">
          <ac:chgData name="Bullinger, Marvin" userId="5b54ce5a-dc89-476f-af33-5abd75d5b1e8" providerId="ADAL" clId="{43B71669-8A80-4333-9349-B258A9296B49}" dt="2024-02-27T17:26:59.452" v="6097" actId="478"/>
          <ac:spMkLst>
            <pc:docMk/>
            <pc:sldMk cId="2423218208" sldId="583"/>
            <ac:spMk id="561" creationId="{F4AF33C8-C94A-5A04-20D1-F071AF779F77}"/>
          </ac:spMkLst>
        </pc:spChg>
        <pc:spChg chg="del">
          <ac:chgData name="Bullinger, Marvin" userId="5b54ce5a-dc89-476f-af33-5abd75d5b1e8" providerId="ADAL" clId="{43B71669-8A80-4333-9349-B258A9296B49}" dt="2024-02-27T17:26:59.452" v="6096" actId="478"/>
          <ac:spMkLst>
            <pc:docMk/>
            <pc:sldMk cId="2423218208" sldId="583"/>
            <ac:spMk id="562" creationId="{1BF438E7-22C8-2272-5C98-AF5F535C42C6}"/>
          </ac:spMkLst>
        </pc:spChg>
        <pc:spChg chg="del">
          <ac:chgData name="Bullinger, Marvin" userId="5b54ce5a-dc89-476f-af33-5abd75d5b1e8" providerId="ADAL" clId="{43B71669-8A80-4333-9349-B258A9296B49}" dt="2024-02-27T17:26:59.452" v="6095" actId="478"/>
          <ac:spMkLst>
            <pc:docMk/>
            <pc:sldMk cId="2423218208" sldId="583"/>
            <ac:spMk id="563" creationId="{0EF45642-A56D-04D7-4AD2-B78F0FCB339A}"/>
          </ac:spMkLst>
        </pc:spChg>
        <pc:spChg chg="del">
          <ac:chgData name="Bullinger, Marvin" userId="5b54ce5a-dc89-476f-af33-5abd75d5b1e8" providerId="ADAL" clId="{43B71669-8A80-4333-9349-B258A9296B49}" dt="2024-02-27T17:26:59.452" v="6094" actId="478"/>
          <ac:spMkLst>
            <pc:docMk/>
            <pc:sldMk cId="2423218208" sldId="583"/>
            <ac:spMk id="564" creationId="{8C2FBA3C-17FD-A78D-1C57-3DC4B6C2A0A6}"/>
          </ac:spMkLst>
        </pc:spChg>
        <pc:spChg chg="del">
          <ac:chgData name="Bullinger, Marvin" userId="5b54ce5a-dc89-476f-af33-5abd75d5b1e8" providerId="ADAL" clId="{43B71669-8A80-4333-9349-B258A9296B49}" dt="2024-02-27T17:26:59.452" v="6093" actId="478"/>
          <ac:spMkLst>
            <pc:docMk/>
            <pc:sldMk cId="2423218208" sldId="583"/>
            <ac:spMk id="565" creationId="{774274E0-AAE6-71E1-6C97-ED7A902FCB2F}"/>
          </ac:spMkLst>
        </pc:spChg>
        <pc:spChg chg="del">
          <ac:chgData name="Bullinger, Marvin" userId="5b54ce5a-dc89-476f-af33-5abd75d5b1e8" providerId="ADAL" clId="{43B71669-8A80-4333-9349-B258A9296B49}" dt="2024-02-27T17:26:59.452" v="6092" actId="478"/>
          <ac:spMkLst>
            <pc:docMk/>
            <pc:sldMk cId="2423218208" sldId="583"/>
            <ac:spMk id="566" creationId="{3022F261-5E19-5845-925F-2E9B3BA127BF}"/>
          </ac:spMkLst>
        </pc:spChg>
        <pc:spChg chg="del">
          <ac:chgData name="Bullinger, Marvin" userId="5b54ce5a-dc89-476f-af33-5abd75d5b1e8" providerId="ADAL" clId="{43B71669-8A80-4333-9349-B258A9296B49}" dt="2024-02-27T17:26:59.463" v="6113" actId="478"/>
          <ac:spMkLst>
            <pc:docMk/>
            <pc:sldMk cId="2423218208" sldId="583"/>
            <ac:spMk id="567" creationId="{322C7847-E35A-7F6D-C714-EBFF5FB6798B}"/>
          </ac:spMkLst>
        </pc:spChg>
        <pc:spChg chg="del">
          <ac:chgData name="Bullinger, Marvin" userId="5b54ce5a-dc89-476f-af33-5abd75d5b1e8" providerId="ADAL" clId="{43B71669-8A80-4333-9349-B258A9296B49}" dt="2024-02-27T17:26:59.463" v="6112" actId="478"/>
          <ac:spMkLst>
            <pc:docMk/>
            <pc:sldMk cId="2423218208" sldId="583"/>
            <ac:spMk id="568" creationId="{A9B9A956-BED5-60D1-E96F-477776479B95}"/>
          </ac:spMkLst>
        </pc:spChg>
        <pc:spChg chg="del">
          <ac:chgData name="Bullinger, Marvin" userId="5b54ce5a-dc89-476f-af33-5abd75d5b1e8" providerId="ADAL" clId="{43B71669-8A80-4333-9349-B258A9296B49}" dt="2024-02-27T17:26:59.463" v="6111" actId="478"/>
          <ac:spMkLst>
            <pc:docMk/>
            <pc:sldMk cId="2423218208" sldId="583"/>
            <ac:spMk id="569" creationId="{69C6E282-A333-F6EF-1D05-7CD488D19FA3}"/>
          </ac:spMkLst>
        </pc:spChg>
        <pc:spChg chg="del">
          <ac:chgData name="Bullinger, Marvin" userId="5b54ce5a-dc89-476f-af33-5abd75d5b1e8" providerId="ADAL" clId="{43B71669-8A80-4333-9349-B258A9296B49}" dt="2024-02-27T17:26:59.462" v="6110" actId="478"/>
          <ac:spMkLst>
            <pc:docMk/>
            <pc:sldMk cId="2423218208" sldId="583"/>
            <ac:spMk id="570" creationId="{AE996B3E-7E5F-5028-A75B-EFA85EDA46C0}"/>
          </ac:spMkLst>
        </pc:spChg>
        <pc:spChg chg="del">
          <ac:chgData name="Bullinger, Marvin" userId="5b54ce5a-dc89-476f-af33-5abd75d5b1e8" providerId="ADAL" clId="{43B71669-8A80-4333-9349-B258A9296B49}" dt="2024-02-27T17:26:59.461" v="6109" actId="478"/>
          <ac:spMkLst>
            <pc:docMk/>
            <pc:sldMk cId="2423218208" sldId="583"/>
            <ac:spMk id="571" creationId="{F0B817F6-F4F4-CC66-59A7-DCE30801169C}"/>
          </ac:spMkLst>
        </pc:spChg>
        <pc:spChg chg="del">
          <ac:chgData name="Bullinger, Marvin" userId="5b54ce5a-dc89-476f-af33-5abd75d5b1e8" providerId="ADAL" clId="{43B71669-8A80-4333-9349-B258A9296B49}" dt="2024-02-27T17:26:59.461" v="6108" actId="478"/>
          <ac:spMkLst>
            <pc:docMk/>
            <pc:sldMk cId="2423218208" sldId="583"/>
            <ac:spMk id="572" creationId="{5DD39EB4-35F8-2B42-906F-FE4ACDBA24F5}"/>
          </ac:spMkLst>
        </pc:spChg>
        <pc:spChg chg="del">
          <ac:chgData name="Bullinger, Marvin" userId="5b54ce5a-dc89-476f-af33-5abd75d5b1e8" providerId="ADAL" clId="{43B71669-8A80-4333-9349-B258A9296B49}" dt="2024-02-27T17:26:59.452" v="6107" actId="478"/>
          <ac:spMkLst>
            <pc:docMk/>
            <pc:sldMk cId="2423218208" sldId="583"/>
            <ac:spMk id="573" creationId="{D5FC92FB-DBD9-4CCD-B302-404DA1A95F8C}"/>
          </ac:spMkLst>
        </pc:spChg>
        <pc:spChg chg="del">
          <ac:chgData name="Bullinger, Marvin" userId="5b54ce5a-dc89-476f-af33-5abd75d5b1e8" providerId="ADAL" clId="{43B71669-8A80-4333-9349-B258A9296B49}" dt="2024-02-27T17:26:59.452" v="6106" actId="478"/>
          <ac:spMkLst>
            <pc:docMk/>
            <pc:sldMk cId="2423218208" sldId="583"/>
            <ac:spMk id="574" creationId="{E6C5D25B-57D0-E8D0-1F48-ED07A02935F4}"/>
          </ac:spMkLst>
        </pc:spChg>
        <pc:spChg chg="del">
          <ac:chgData name="Bullinger, Marvin" userId="5b54ce5a-dc89-476f-af33-5abd75d5b1e8" providerId="ADAL" clId="{43B71669-8A80-4333-9349-B258A9296B49}" dt="2024-02-27T17:26:59.452" v="6098" actId="478"/>
          <ac:spMkLst>
            <pc:docMk/>
            <pc:sldMk cId="2423218208" sldId="583"/>
            <ac:spMk id="575" creationId="{255FD5E8-5ABE-624F-E48D-E13963994A42}"/>
          </ac:spMkLst>
        </pc:spChg>
        <pc:spChg chg="del">
          <ac:chgData name="Bullinger, Marvin" userId="5b54ce5a-dc89-476f-af33-5abd75d5b1e8" providerId="ADAL" clId="{43B71669-8A80-4333-9349-B258A9296B49}" dt="2024-02-27T17:26:59.452" v="6091" actId="478"/>
          <ac:spMkLst>
            <pc:docMk/>
            <pc:sldMk cId="2423218208" sldId="583"/>
            <ac:spMk id="576" creationId="{822C3BB7-A27A-8247-AD66-6B144B23329F}"/>
          </ac:spMkLst>
        </pc:spChg>
        <pc:spChg chg="del">
          <ac:chgData name="Bullinger, Marvin" userId="5b54ce5a-dc89-476f-af33-5abd75d5b1e8" providerId="ADAL" clId="{43B71669-8A80-4333-9349-B258A9296B49}" dt="2024-02-27T17:26:59.452" v="6099" actId="478"/>
          <ac:spMkLst>
            <pc:docMk/>
            <pc:sldMk cId="2423218208" sldId="583"/>
            <ac:spMk id="577" creationId="{8DD506C8-0D52-85CA-142C-DCB8D59DACFE}"/>
          </ac:spMkLst>
        </pc:spChg>
        <pc:spChg chg="del">
          <ac:chgData name="Bullinger, Marvin" userId="5b54ce5a-dc89-476f-af33-5abd75d5b1e8" providerId="ADAL" clId="{43B71669-8A80-4333-9349-B258A9296B49}" dt="2024-02-27T17:26:59.444" v="6090" actId="478"/>
          <ac:spMkLst>
            <pc:docMk/>
            <pc:sldMk cId="2423218208" sldId="583"/>
            <ac:spMk id="578" creationId="{10AD09F3-4F48-27E4-DB54-77B9AEEC6CEE}"/>
          </ac:spMkLst>
        </pc:spChg>
        <pc:spChg chg="del">
          <ac:chgData name="Bullinger, Marvin" userId="5b54ce5a-dc89-476f-af33-5abd75d5b1e8" providerId="ADAL" clId="{43B71669-8A80-4333-9349-B258A9296B49}" dt="2024-02-27T17:26:59.444" v="6089" actId="478"/>
          <ac:spMkLst>
            <pc:docMk/>
            <pc:sldMk cId="2423218208" sldId="583"/>
            <ac:spMk id="579" creationId="{8075F7EB-CF53-E2ED-034C-5EA724D51BC9}"/>
          </ac:spMkLst>
        </pc:spChg>
        <pc:spChg chg="del">
          <ac:chgData name="Bullinger, Marvin" userId="5b54ce5a-dc89-476f-af33-5abd75d5b1e8" providerId="ADAL" clId="{43B71669-8A80-4333-9349-B258A9296B49}" dt="2024-02-27T17:26:59.444" v="6088" actId="478"/>
          <ac:spMkLst>
            <pc:docMk/>
            <pc:sldMk cId="2423218208" sldId="583"/>
            <ac:spMk id="580" creationId="{8BE11BE5-E51F-2CB8-03E8-7F026CF978E9}"/>
          </ac:spMkLst>
        </pc:spChg>
        <pc:spChg chg="del">
          <ac:chgData name="Bullinger, Marvin" userId="5b54ce5a-dc89-476f-af33-5abd75d5b1e8" providerId="ADAL" clId="{43B71669-8A80-4333-9349-B258A9296B49}" dt="2024-02-27T17:26:59.444" v="6087" actId="478"/>
          <ac:spMkLst>
            <pc:docMk/>
            <pc:sldMk cId="2423218208" sldId="583"/>
            <ac:spMk id="581" creationId="{15186816-0024-EDC4-E1FF-2C84DCB7E923}"/>
          </ac:spMkLst>
        </pc:spChg>
        <pc:spChg chg="del">
          <ac:chgData name="Bullinger, Marvin" userId="5b54ce5a-dc89-476f-af33-5abd75d5b1e8" providerId="ADAL" clId="{43B71669-8A80-4333-9349-B258A9296B49}" dt="2024-02-27T17:26:59.444" v="6086" actId="478"/>
          <ac:spMkLst>
            <pc:docMk/>
            <pc:sldMk cId="2423218208" sldId="583"/>
            <ac:spMk id="582" creationId="{5E14DD03-9EB2-6B59-CB7F-30D360183E2D}"/>
          </ac:spMkLst>
        </pc:spChg>
        <pc:spChg chg="del">
          <ac:chgData name="Bullinger, Marvin" userId="5b54ce5a-dc89-476f-af33-5abd75d5b1e8" providerId="ADAL" clId="{43B71669-8A80-4333-9349-B258A9296B49}" dt="2024-02-27T17:26:59.444" v="6085" actId="478"/>
          <ac:spMkLst>
            <pc:docMk/>
            <pc:sldMk cId="2423218208" sldId="583"/>
            <ac:spMk id="583" creationId="{94181688-1FE5-EE68-1033-7065125B9F96}"/>
          </ac:spMkLst>
        </pc:spChg>
        <pc:spChg chg="del">
          <ac:chgData name="Bullinger, Marvin" userId="5b54ce5a-dc89-476f-af33-5abd75d5b1e8" providerId="ADAL" clId="{43B71669-8A80-4333-9349-B258A9296B49}" dt="2024-02-27T17:26:59.444" v="6084" actId="478"/>
          <ac:spMkLst>
            <pc:docMk/>
            <pc:sldMk cId="2423218208" sldId="583"/>
            <ac:spMk id="584" creationId="{83D2966E-C192-80DD-0465-280BD6A21DA3}"/>
          </ac:spMkLst>
        </pc:spChg>
        <pc:spChg chg="del">
          <ac:chgData name="Bullinger, Marvin" userId="5b54ce5a-dc89-476f-af33-5abd75d5b1e8" providerId="ADAL" clId="{43B71669-8A80-4333-9349-B258A9296B49}" dt="2024-02-27T17:26:59.444" v="6083" actId="478"/>
          <ac:spMkLst>
            <pc:docMk/>
            <pc:sldMk cId="2423218208" sldId="583"/>
            <ac:spMk id="585" creationId="{123373A7-0A9C-5FC5-C3EA-A59523EBDD7B}"/>
          </ac:spMkLst>
        </pc:spChg>
        <pc:spChg chg="del">
          <ac:chgData name="Bullinger, Marvin" userId="5b54ce5a-dc89-476f-af33-5abd75d5b1e8" providerId="ADAL" clId="{43B71669-8A80-4333-9349-B258A9296B49}" dt="2024-02-27T17:26:59.444" v="6082" actId="478"/>
          <ac:spMkLst>
            <pc:docMk/>
            <pc:sldMk cId="2423218208" sldId="583"/>
            <ac:spMk id="586" creationId="{C2687154-E2F3-F773-B722-AC2812ECBA87}"/>
          </ac:spMkLst>
        </pc:spChg>
        <pc:spChg chg="del">
          <ac:chgData name="Bullinger, Marvin" userId="5b54ce5a-dc89-476f-af33-5abd75d5b1e8" providerId="ADAL" clId="{43B71669-8A80-4333-9349-B258A9296B49}" dt="2024-02-27T17:26:59.444" v="6081" actId="478"/>
          <ac:spMkLst>
            <pc:docMk/>
            <pc:sldMk cId="2423218208" sldId="583"/>
            <ac:spMk id="587" creationId="{500AFB17-73F8-4301-11EA-3EF8F2873732}"/>
          </ac:spMkLst>
        </pc:spChg>
        <pc:spChg chg="del">
          <ac:chgData name="Bullinger, Marvin" userId="5b54ce5a-dc89-476f-af33-5abd75d5b1e8" providerId="ADAL" clId="{43B71669-8A80-4333-9349-B258A9296B49}" dt="2024-02-27T17:26:59.444" v="6080" actId="478"/>
          <ac:spMkLst>
            <pc:docMk/>
            <pc:sldMk cId="2423218208" sldId="583"/>
            <ac:spMk id="588" creationId="{585ED1A2-9AAB-DB5A-9998-2185C018C846}"/>
          </ac:spMkLst>
        </pc:spChg>
        <pc:spChg chg="del">
          <ac:chgData name="Bullinger, Marvin" userId="5b54ce5a-dc89-476f-af33-5abd75d5b1e8" providerId="ADAL" clId="{43B71669-8A80-4333-9349-B258A9296B49}" dt="2024-02-27T17:26:59.444" v="6079" actId="478"/>
          <ac:spMkLst>
            <pc:docMk/>
            <pc:sldMk cId="2423218208" sldId="583"/>
            <ac:spMk id="589" creationId="{2C152BC1-F022-26EB-6F78-3643DB0C6D13}"/>
          </ac:spMkLst>
        </pc:spChg>
        <pc:spChg chg="del">
          <ac:chgData name="Bullinger, Marvin" userId="5b54ce5a-dc89-476f-af33-5abd75d5b1e8" providerId="ADAL" clId="{43B71669-8A80-4333-9349-B258A9296B49}" dt="2024-02-27T17:26:59.444" v="6078" actId="478"/>
          <ac:spMkLst>
            <pc:docMk/>
            <pc:sldMk cId="2423218208" sldId="583"/>
            <ac:spMk id="590" creationId="{BAB337D1-F6FB-8DE1-8D76-5EA018E66E53}"/>
          </ac:spMkLst>
        </pc:spChg>
        <pc:spChg chg="del">
          <ac:chgData name="Bullinger, Marvin" userId="5b54ce5a-dc89-476f-af33-5abd75d5b1e8" providerId="ADAL" clId="{43B71669-8A80-4333-9349-B258A9296B49}" dt="2024-02-27T17:26:59.442" v="6077" actId="478"/>
          <ac:spMkLst>
            <pc:docMk/>
            <pc:sldMk cId="2423218208" sldId="583"/>
            <ac:spMk id="591" creationId="{F9B529D3-BC63-01AC-F4B6-7D94207153E7}"/>
          </ac:spMkLst>
        </pc:spChg>
        <pc:spChg chg="replST">
          <ac:chgData name="Bullinger, Marvin" userId="5b54ce5a-dc89-476f-af33-5abd75d5b1e8" providerId="ADAL" clId="{43B71669-8A80-4333-9349-B258A9296B49}" dt="2024-02-27T17:27:00.627" v="6648"/>
          <ac:spMkLst>
            <pc:docMk/>
            <pc:sldMk cId="2423218208" sldId="583"/>
            <ac:spMk id="592" creationId="{CEB292A4-AA55-51D6-5512-21E500E5848C}"/>
          </ac:spMkLst>
        </pc:spChg>
        <pc:spChg chg="replST">
          <ac:chgData name="Bullinger, Marvin" userId="5b54ce5a-dc89-476f-af33-5abd75d5b1e8" providerId="ADAL" clId="{43B71669-8A80-4333-9349-B258A9296B49}" dt="2024-02-27T17:27:00.635" v="6651"/>
          <ac:spMkLst>
            <pc:docMk/>
            <pc:sldMk cId="2423218208" sldId="583"/>
            <ac:spMk id="593" creationId="{8450F24E-663B-1428-EE22-0C9E86165ECB}"/>
          </ac:spMkLst>
        </pc:spChg>
        <pc:spChg chg="replST">
          <ac:chgData name="Bullinger, Marvin" userId="5b54ce5a-dc89-476f-af33-5abd75d5b1e8" providerId="ADAL" clId="{43B71669-8A80-4333-9349-B258A9296B49}" dt="2024-02-27T17:27:00.645" v="6655"/>
          <ac:spMkLst>
            <pc:docMk/>
            <pc:sldMk cId="2423218208" sldId="583"/>
            <ac:spMk id="595" creationId="{DE821C9F-5C3F-FA8D-8D13-6F8676BA673A}"/>
          </ac:spMkLst>
        </pc:spChg>
        <pc:spChg chg="replST">
          <ac:chgData name="Bullinger, Marvin" userId="5b54ce5a-dc89-476f-af33-5abd75d5b1e8" providerId="ADAL" clId="{43B71669-8A80-4333-9349-B258A9296B49}" dt="2024-02-27T17:27:00.647" v="6658"/>
          <ac:spMkLst>
            <pc:docMk/>
            <pc:sldMk cId="2423218208" sldId="583"/>
            <ac:spMk id="596" creationId="{971B8F1C-955C-0B3D-09F3-B0CD76E1DC8B}"/>
          </ac:spMkLst>
        </pc:spChg>
        <pc:spChg chg="replST">
          <ac:chgData name="Bullinger, Marvin" userId="5b54ce5a-dc89-476f-af33-5abd75d5b1e8" providerId="ADAL" clId="{43B71669-8A80-4333-9349-B258A9296B49}" dt="2024-02-27T17:27:00.655" v="6662"/>
          <ac:spMkLst>
            <pc:docMk/>
            <pc:sldMk cId="2423218208" sldId="583"/>
            <ac:spMk id="598" creationId="{44CAD0E1-37C4-60F5-BC8B-88B43EC940B9}"/>
          </ac:spMkLst>
        </pc:spChg>
        <pc:spChg chg="replST">
          <ac:chgData name="Bullinger, Marvin" userId="5b54ce5a-dc89-476f-af33-5abd75d5b1e8" providerId="ADAL" clId="{43B71669-8A80-4333-9349-B258A9296B49}" dt="2024-02-27T17:27:00.655" v="6665"/>
          <ac:spMkLst>
            <pc:docMk/>
            <pc:sldMk cId="2423218208" sldId="583"/>
            <ac:spMk id="599" creationId="{6F7F9AA7-DF17-C96F-375C-DC81AF3D6621}"/>
          </ac:spMkLst>
        </pc:spChg>
        <pc:spChg chg="replST">
          <ac:chgData name="Bullinger, Marvin" userId="5b54ce5a-dc89-476f-af33-5abd75d5b1e8" providerId="ADAL" clId="{43B71669-8A80-4333-9349-B258A9296B49}" dt="2024-02-27T17:27:00.665" v="6669"/>
          <ac:spMkLst>
            <pc:docMk/>
            <pc:sldMk cId="2423218208" sldId="583"/>
            <ac:spMk id="601" creationId="{6CC4CE97-75C1-E3AD-E713-259FE8554FFA}"/>
          </ac:spMkLst>
        </pc:spChg>
        <pc:spChg chg="replST">
          <ac:chgData name="Bullinger, Marvin" userId="5b54ce5a-dc89-476f-af33-5abd75d5b1e8" providerId="ADAL" clId="{43B71669-8A80-4333-9349-B258A9296B49}" dt="2024-02-27T17:27:00.665" v="6672"/>
          <ac:spMkLst>
            <pc:docMk/>
            <pc:sldMk cId="2423218208" sldId="583"/>
            <ac:spMk id="602" creationId="{89B6644A-7525-1316-6153-BB0FDDEFA0C5}"/>
          </ac:spMkLst>
        </pc:spChg>
        <pc:spChg chg="replST">
          <ac:chgData name="Bullinger, Marvin" userId="5b54ce5a-dc89-476f-af33-5abd75d5b1e8" providerId="ADAL" clId="{43B71669-8A80-4333-9349-B258A9296B49}" dt="2024-02-27T17:27:00.681" v="6676"/>
          <ac:spMkLst>
            <pc:docMk/>
            <pc:sldMk cId="2423218208" sldId="583"/>
            <ac:spMk id="604" creationId="{E797C136-D757-90CF-EEA8-BE52E9F10BCE}"/>
          </ac:spMkLst>
        </pc:spChg>
        <pc:spChg chg="replST">
          <ac:chgData name="Bullinger, Marvin" userId="5b54ce5a-dc89-476f-af33-5abd75d5b1e8" providerId="ADAL" clId="{43B71669-8A80-4333-9349-B258A9296B49}" dt="2024-02-27T17:27:00.689" v="6679"/>
          <ac:spMkLst>
            <pc:docMk/>
            <pc:sldMk cId="2423218208" sldId="583"/>
            <ac:spMk id="605" creationId="{7C63F1D0-CC8D-44D6-0AD4-7CCFA872B8EE}"/>
          </ac:spMkLst>
        </pc:spChg>
        <pc:spChg chg="replST">
          <ac:chgData name="Bullinger, Marvin" userId="5b54ce5a-dc89-476f-af33-5abd75d5b1e8" providerId="ADAL" clId="{43B71669-8A80-4333-9349-B258A9296B49}" dt="2024-02-27T17:27:00.705" v="6683"/>
          <ac:spMkLst>
            <pc:docMk/>
            <pc:sldMk cId="2423218208" sldId="583"/>
            <ac:spMk id="607" creationId="{5FD14977-9B27-8D32-08A8-705353B78436}"/>
          </ac:spMkLst>
        </pc:spChg>
        <pc:spChg chg="replST">
          <ac:chgData name="Bullinger, Marvin" userId="5b54ce5a-dc89-476f-af33-5abd75d5b1e8" providerId="ADAL" clId="{43B71669-8A80-4333-9349-B258A9296B49}" dt="2024-02-27T17:27:00.714" v="6686"/>
          <ac:spMkLst>
            <pc:docMk/>
            <pc:sldMk cId="2423218208" sldId="583"/>
            <ac:spMk id="608" creationId="{A868438F-F02E-7A4B-CDD0-ED4A5F00AAC5}"/>
          </ac:spMkLst>
        </pc:spChg>
        <pc:spChg chg="replST">
          <ac:chgData name="Bullinger, Marvin" userId="5b54ce5a-dc89-476f-af33-5abd75d5b1e8" providerId="ADAL" clId="{43B71669-8A80-4333-9349-B258A9296B49}" dt="2024-02-27T17:27:00.729" v="6690"/>
          <ac:spMkLst>
            <pc:docMk/>
            <pc:sldMk cId="2423218208" sldId="583"/>
            <ac:spMk id="610" creationId="{C7649657-D0A1-8AF3-D6DF-A82A3A0D4084}"/>
          </ac:spMkLst>
        </pc:spChg>
        <pc:spChg chg="replST">
          <ac:chgData name="Bullinger, Marvin" userId="5b54ce5a-dc89-476f-af33-5abd75d5b1e8" providerId="ADAL" clId="{43B71669-8A80-4333-9349-B258A9296B49}" dt="2024-02-27T17:27:00.729" v="6693"/>
          <ac:spMkLst>
            <pc:docMk/>
            <pc:sldMk cId="2423218208" sldId="583"/>
            <ac:spMk id="611" creationId="{D1B5DA5B-BC5F-20CF-C2C1-943C6B0DF7B7}"/>
          </ac:spMkLst>
        </pc:spChg>
        <pc:spChg chg="del ord replST">
          <ac:chgData name="Bullinger, Marvin" userId="5b54ce5a-dc89-476f-af33-5abd75d5b1e8" providerId="ADAL" clId="{43B71669-8A80-4333-9349-B258A9296B49}" dt="2024-02-27T17:27:37.105" v="7174" actId="478"/>
          <ac:spMkLst>
            <pc:docMk/>
            <pc:sldMk cId="2423218208" sldId="583"/>
            <ac:spMk id="612" creationId="{2177380D-2173-F0B3-A35C-1CD54FE8743D}"/>
          </ac:spMkLst>
        </pc:spChg>
        <pc:spChg chg="replST">
          <ac:chgData name="Bullinger, Marvin" userId="5b54ce5a-dc89-476f-af33-5abd75d5b1e8" providerId="ADAL" clId="{43B71669-8A80-4333-9349-B258A9296B49}" dt="2024-02-27T17:27:00.729" v="6697"/>
          <ac:spMkLst>
            <pc:docMk/>
            <pc:sldMk cId="2423218208" sldId="583"/>
            <ac:spMk id="613" creationId="{610F15E4-1F0A-2393-45B8-A60586107679}"/>
          </ac:spMkLst>
        </pc:spChg>
        <pc:spChg chg="replST">
          <ac:chgData name="Bullinger, Marvin" userId="5b54ce5a-dc89-476f-af33-5abd75d5b1e8" providerId="ADAL" clId="{43B71669-8A80-4333-9349-B258A9296B49}" dt="2024-02-27T17:27:00.745" v="6700"/>
          <ac:spMkLst>
            <pc:docMk/>
            <pc:sldMk cId="2423218208" sldId="583"/>
            <ac:spMk id="614" creationId="{70DDFB93-6162-1E72-FF0F-32E28EDEED53}"/>
          </ac:spMkLst>
        </pc:spChg>
        <pc:spChg chg="add mod">
          <ac:chgData name="Bullinger, Marvin" userId="5b54ce5a-dc89-476f-af33-5abd75d5b1e8" providerId="ADAL" clId="{43B71669-8A80-4333-9349-B258A9296B49}" dt="2024-02-27T17:27:37.097" v="7167" actId="478"/>
          <ac:spMkLst>
            <pc:docMk/>
            <pc:sldMk cId="2423218208" sldId="583"/>
            <ac:spMk id="655" creationId="{F1BFB040-E31D-E81F-2617-7F0F28771F2B}"/>
          </ac:spMkLst>
        </pc:spChg>
        <pc:spChg chg="mod ord replST">
          <ac:chgData name="Bullinger, Marvin" userId="5b54ce5a-dc89-476f-af33-5abd75d5b1e8" providerId="ADAL" clId="{43B71669-8A80-4333-9349-B258A9296B49}" dt="2024-02-27T17:27:38.231" v="7678"/>
          <ac:spMkLst>
            <pc:docMk/>
            <pc:sldMk cId="2423218208" sldId="583"/>
            <ac:spMk id="656" creationId="{D17B326C-160E-27A5-DCB5-794EBF5BB173}"/>
          </ac:spMkLst>
        </pc:spChg>
        <pc:spChg chg="del">
          <ac:chgData name="Bullinger, Marvin" userId="5b54ce5a-dc89-476f-af33-5abd75d5b1e8" providerId="ADAL" clId="{43B71669-8A80-4333-9349-B258A9296B49}" dt="2024-02-27T17:27:37.127" v="7205" actId="478"/>
          <ac:spMkLst>
            <pc:docMk/>
            <pc:sldMk cId="2423218208" sldId="583"/>
            <ac:spMk id="657" creationId="{9E8489B8-8183-B3B7-22D5-959620BA9749}"/>
          </ac:spMkLst>
        </pc:spChg>
        <pc:spChg chg="del">
          <ac:chgData name="Bullinger, Marvin" userId="5b54ce5a-dc89-476f-af33-5abd75d5b1e8" providerId="ADAL" clId="{43B71669-8A80-4333-9349-B258A9296B49}" dt="2024-02-27T17:27:37.127" v="7204" actId="478"/>
          <ac:spMkLst>
            <pc:docMk/>
            <pc:sldMk cId="2423218208" sldId="583"/>
            <ac:spMk id="658" creationId="{196F90CC-C8D7-9203-7D43-F285C9EF26FC}"/>
          </ac:spMkLst>
        </pc:spChg>
        <pc:spChg chg="del">
          <ac:chgData name="Bullinger, Marvin" userId="5b54ce5a-dc89-476f-af33-5abd75d5b1e8" providerId="ADAL" clId="{43B71669-8A80-4333-9349-B258A9296B49}" dt="2024-02-27T17:27:37.127" v="7203" actId="478"/>
          <ac:spMkLst>
            <pc:docMk/>
            <pc:sldMk cId="2423218208" sldId="583"/>
            <ac:spMk id="659" creationId="{858E6385-23D3-7183-8E8C-0AF06372191D}"/>
          </ac:spMkLst>
        </pc:spChg>
        <pc:spChg chg="del">
          <ac:chgData name="Bullinger, Marvin" userId="5b54ce5a-dc89-476f-af33-5abd75d5b1e8" providerId="ADAL" clId="{43B71669-8A80-4333-9349-B258A9296B49}" dt="2024-02-27T17:27:37.127" v="7202" actId="478"/>
          <ac:spMkLst>
            <pc:docMk/>
            <pc:sldMk cId="2423218208" sldId="583"/>
            <ac:spMk id="660" creationId="{298B13B9-E882-E103-02C2-2C2439E25157}"/>
          </ac:spMkLst>
        </pc:spChg>
        <pc:spChg chg="del">
          <ac:chgData name="Bullinger, Marvin" userId="5b54ce5a-dc89-476f-af33-5abd75d5b1e8" providerId="ADAL" clId="{43B71669-8A80-4333-9349-B258A9296B49}" dt="2024-02-27T17:27:37.127" v="7201" actId="478"/>
          <ac:spMkLst>
            <pc:docMk/>
            <pc:sldMk cId="2423218208" sldId="583"/>
            <ac:spMk id="661" creationId="{E61D04C4-1B13-41F0-BB03-D39DE7238F81}"/>
          </ac:spMkLst>
        </pc:spChg>
        <pc:spChg chg="del">
          <ac:chgData name="Bullinger, Marvin" userId="5b54ce5a-dc89-476f-af33-5abd75d5b1e8" providerId="ADAL" clId="{43B71669-8A80-4333-9349-B258A9296B49}" dt="2024-02-27T17:27:37.127" v="7200" actId="478"/>
          <ac:spMkLst>
            <pc:docMk/>
            <pc:sldMk cId="2423218208" sldId="583"/>
            <ac:spMk id="662" creationId="{6014D596-E5D7-5534-C81F-750AA5DF5F09}"/>
          </ac:spMkLst>
        </pc:spChg>
        <pc:spChg chg="del">
          <ac:chgData name="Bullinger, Marvin" userId="5b54ce5a-dc89-476f-af33-5abd75d5b1e8" providerId="ADAL" clId="{43B71669-8A80-4333-9349-B258A9296B49}" dt="2024-02-27T17:27:37.127" v="7197" actId="478"/>
          <ac:spMkLst>
            <pc:docMk/>
            <pc:sldMk cId="2423218208" sldId="583"/>
            <ac:spMk id="663" creationId="{1131936A-CCC7-BD88-5885-9DCD63E120E9}"/>
          </ac:spMkLst>
        </pc:spChg>
        <pc:spChg chg="del">
          <ac:chgData name="Bullinger, Marvin" userId="5b54ce5a-dc89-476f-af33-5abd75d5b1e8" providerId="ADAL" clId="{43B71669-8A80-4333-9349-B258A9296B49}" dt="2024-02-27T17:27:37.127" v="7196" actId="478"/>
          <ac:spMkLst>
            <pc:docMk/>
            <pc:sldMk cId="2423218208" sldId="583"/>
            <ac:spMk id="664" creationId="{C39C8F7F-6BB5-1514-1E4D-A1EC86E6053D}"/>
          </ac:spMkLst>
        </pc:spChg>
        <pc:spChg chg="del">
          <ac:chgData name="Bullinger, Marvin" userId="5b54ce5a-dc89-476f-af33-5abd75d5b1e8" providerId="ADAL" clId="{43B71669-8A80-4333-9349-B258A9296B49}" dt="2024-02-27T17:27:37.127" v="7195" actId="478"/>
          <ac:spMkLst>
            <pc:docMk/>
            <pc:sldMk cId="2423218208" sldId="583"/>
            <ac:spMk id="665" creationId="{EE6D3F2B-3A16-01F5-19EE-CBEC441916E0}"/>
          </ac:spMkLst>
        </pc:spChg>
        <pc:spChg chg="del">
          <ac:chgData name="Bullinger, Marvin" userId="5b54ce5a-dc89-476f-af33-5abd75d5b1e8" providerId="ADAL" clId="{43B71669-8A80-4333-9349-B258A9296B49}" dt="2024-02-27T17:27:37.127" v="7194" actId="478"/>
          <ac:spMkLst>
            <pc:docMk/>
            <pc:sldMk cId="2423218208" sldId="583"/>
            <ac:spMk id="666" creationId="{FF5E4433-AC96-D069-9BA7-01F5E0CFEC9E}"/>
          </ac:spMkLst>
        </pc:spChg>
        <pc:spChg chg="del">
          <ac:chgData name="Bullinger, Marvin" userId="5b54ce5a-dc89-476f-af33-5abd75d5b1e8" providerId="ADAL" clId="{43B71669-8A80-4333-9349-B258A9296B49}" dt="2024-02-27T17:27:37.127" v="7193" actId="478"/>
          <ac:spMkLst>
            <pc:docMk/>
            <pc:sldMk cId="2423218208" sldId="583"/>
            <ac:spMk id="667" creationId="{42FAD59F-627B-5F2E-FE43-DB840427E2CA}"/>
          </ac:spMkLst>
        </pc:spChg>
        <pc:spChg chg="del">
          <ac:chgData name="Bullinger, Marvin" userId="5b54ce5a-dc89-476f-af33-5abd75d5b1e8" providerId="ADAL" clId="{43B71669-8A80-4333-9349-B258A9296B49}" dt="2024-02-27T17:27:37.127" v="7192" actId="478"/>
          <ac:spMkLst>
            <pc:docMk/>
            <pc:sldMk cId="2423218208" sldId="583"/>
            <ac:spMk id="668" creationId="{D3E50DEA-2A38-440A-A253-C8571BE26496}"/>
          </ac:spMkLst>
        </pc:spChg>
        <pc:spChg chg="del">
          <ac:chgData name="Bullinger, Marvin" userId="5b54ce5a-dc89-476f-af33-5abd75d5b1e8" providerId="ADAL" clId="{43B71669-8A80-4333-9349-B258A9296B49}" dt="2024-02-27T17:27:37.137" v="7213" actId="478"/>
          <ac:spMkLst>
            <pc:docMk/>
            <pc:sldMk cId="2423218208" sldId="583"/>
            <ac:spMk id="669" creationId="{410D7108-9274-0330-FF88-2FEE5A0FF7B3}"/>
          </ac:spMkLst>
        </pc:spChg>
        <pc:spChg chg="del">
          <ac:chgData name="Bullinger, Marvin" userId="5b54ce5a-dc89-476f-af33-5abd75d5b1e8" providerId="ADAL" clId="{43B71669-8A80-4333-9349-B258A9296B49}" dt="2024-02-27T17:27:37.137" v="7212" actId="478"/>
          <ac:spMkLst>
            <pc:docMk/>
            <pc:sldMk cId="2423218208" sldId="583"/>
            <ac:spMk id="670" creationId="{CAE0D62F-FC17-590E-12E4-4889E1D689A2}"/>
          </ac:spMkLst>
        </pc:spChg>
        <pc:spChg chg="del">
          <ac:chgData name="Bullinger, Marvin" userId="5b54ce5a-dc89-476f-af33-5abd75d5b1e8" providerId="ADAL" clId="{43B71669-8A80-4333-9349-B258A9296B49}" dt="2024-02-27T17:27:37.137" v="7211" actId="478"/>
          <ac:spMkLst>
            <pc:docMk/>
            <pc:sldMk cId="2423218208" sldId="583"/>
            <ac:spMk id="671" creationId="{72BC0ED2-B3D3-27C1-86AD-D87CA059ABC8}"/>
          </ac:spMkLst>
        </pc:spChg>
        <pc:spChg chg="del">
          <ac:chgData name="Bullinger, Marvin" userId="5b54ce5a-dc89-476f-af33-5abd75d5b1e8" providerId="ADAL" clId="{43B71669-8A80-4333-9349-B258A9296B49}" dt="2024-02-27T17:27:37.137" v="7210" actId="478"/>
          <ac:spMkLst>
            <pc:docMk/>
            <pc:sldMk cId="2423218208" sldId="583"/>
            <ac:spMk id="672" creationId="{7AA8DDD5-45DC-DDF0-9E93-A63A3DB4B8FB}"/>
          </ac:spMkLst>
        </pc:spChg>
        <pc:spChg chg="del">
          <ac:chgData name="Bullinger, Marvin" userId="5b54ce5a-dc89-476f-af33-5abd75d5b1e8" providerId="ADAL" clId="{43B71669-8A80-4333-9349-B258A9296B49}" dt="2024-02-27T17:27:37.137" v="7209" actId="478"/>
          <ac:spMkLst>
            <pc:docMk/>
            <pc:sldMk cId="2423218208" sldId="583"/>
            <ac:spMk id="673" creationId="{5031F82B-A4CE-000F-FCC5-2272D368712D}"/>
          </ac:spMkLst>
        </pc:spChg>
        <pc:spChg chg="del">
          <ac:chgData name="Bullinger, Marvin" userId="5b54ce5a-dc89-476f-af33-5abd75d5b1e8" providerId="ADAL" clId="{43B71669-8A80-4333-9349-B258A9296B49}" dt="2024-02-27T17:27:37.135" v="7208" actId="478"/>
          <ac:spMkLst>
            <pc:docMk/>
            <pc:sldMk cId="2423218208" sldId="583"/>
            <ac:spMk id="674" creationId="{8C98CBA7-D541-FDE9-523C-8569908AB4E9}"/>
          </ac:spMkLst>
        </pc:spChg>
        <pc:spChg chg="del">
          <ac:chgData name="Bullinger, Marvin" userId="5b54ce5a-dc89-476f-af33-5abd75d5b1e8" providerId="ADAL" clId="{43B71669-8A80-4333-9349-B258A9296B49}" dt="2024-02-27T17:27:37.135" v="7207" actId="478"/>
          <ac:spMkLst>
            <pc:docMk/>
            <pc:sldMk cId="2423218208" sldId="583"/>
            <ac:spMk id="675" creationId="{A6FDEA76-ACAA-D65F-0BC6-BBDE8AC5BF9F}"/>
          </ac:spMkLst>
        </pc:spChg>
        <pc:spChg chg="del">
          <ac:chgData name="Bullinger, Marvin" userId="5b54ce5a-dc89-476f-af33-5abd75d5b1e8" providerId="ADAL" clId="{43B71669-8A80-4333-9349-B258A9296B49}" dt="2024-02-27T17:27:37.135" v="7206" actId="478"/>
          <ac:spMkLst>
            <pc:docMk/>
            <pc:sldMk cId="2423218208" sldId="583"/>
            <ac:spMk id="676" creationId="{14EBFFBA-A90A-D35E-CFF3-BC3E39F5FFCE}"/>
          </ac:spMkLst>
        </pc:spChg>
        <pc:spChg chg="del">
          <ac:chgData name="Bullinger, Marvin" userId="5b54ce5a-dc89-476f-af33-5abd75d5b1e8" providerId="ADAL" clId="{43B71669-8A80-4333-9349-B258A9296B49}" dt="2024-02-27T17:27:37.127" v="7198" actId="478"/>
          <ac:spMkLst>
            <pc:docMk/>
            <pc:sldMk cId="2423218208" sldId="583"/>
            <ac:spMk id="677" creationId="{6DB60CB7-E193-9427-113A-83A44237EDC6}"/>
          </ac:spMkLst>
        </pc:spChg>
        <pc:spChg chg="del">
          <ac:chgData name="Bullinger, Marvin" userId="5b54ce5a-dc89-476f-af33-5abd75d5b1e8" providerId="ADAL" clId="{43B71669-8A80-4333-9349-B258A9296B49}" dt="2024-02-27T17:27:37.127" v="7191" actId="478"/>
          <ac:spMkLst>
            <pc:docMk/>
            <pc:sldMk cId="2423218208" sldId="583"/>
            <ac:spMk id="678" creationId="{95108F98-EA55-E97C-D164-DCD3F0A4AD15}"/>
          </ac:spMkLst>
        </pc:spChg>
        <pc:spChg chg="del">
          <ac:chgData name="Bullinger, Marvin" userId="5b54ce5a-dc89-476f-af33-5abd75d5b1e8" providerId="ADAL" clId="{43B71669-8A80-4333-9349-B258A9296B49}" dt="2024-02-27T17:27:37.127" v="7199" actId="478"/>
          <ac:spMkLst>
            <pc:docMk/>
            <pc:sldMk cId="2423218208" sldId="583"/>
            <ac:spMk id="679" creationId="{67261EBA-4189-A1B9-808E-A1A8425ABD21}"/>
          </ac:spMkLst>
        </pc:spChg>
        <pc:spChg chg="del">
          <ac:chgData name="Bullinger, Marvin" userId="5b54ce5a-dc89-476f-af33-5abd75d5b1e8" providerId="ADAL" clId="{43B71669-8A80-4333-9349-B258A9296B49}" dt="2024-02-27T17:27:37.125" v="7190" actId="478"/>
          <ac:spMkLst>
            <pc:docMk/>
            <pc:sldMk cId="2423218208" sldId="583"/>
            <ac:spMk id="680" creationId="{0B71CE27-D834-CDD6-6BD0-B1088F8E64A1}"/>
          </ac:spMkLst>
        </pc:spChg>
        <pc:spChg chg="del">
          <ac:chgData name="Bullinger, Marvin" userId="5b54ce5a-dc89-476f-af33-5abd75d5b1e8" providerId="ADAL" clId="{43B71669-8A80-4333-9349-B258A9296B49}" dt="2024-02-27T17:27:37.125" v="7189" actId="478"/>
          <ac:spMkLst>
            <pc:docMk/>
            <pc:sldMk cId="2423218208" sldId="583"/>
            <ac:spMk id="681" creationId="{3205B8BC-A55C-63E5-FACE-D9AA5C675D35}"/>
          </ac:spMkLst>
        </pc:spChg>
        <pc:spChg chg="del">
          <ac:chgData name="Bullinger, Marvin" userId="5b54ce5a-dc89-476f-af33-5abd75d5b1e8" providerId="ADAL" clId="{43B71669-8A80-4333-9349-B258A9296B49}" dt="2024-02-27T17:27:37.125" v="7188" actId="478"/>
          <ac:spMkLst>
            <pc:docMk/>
            <pc:sldMk cId="2423218208" sldId="583"/>
            <ac:spMk id="682" creationId="{86D9C645-BCD7-0474-B859-4AB73D22EACC}"/>
          </ac:spMkLst>
        </pc:spChg>
        <pc:spChg chg="del">
          <ac:chgData name="Bullinger, Marvin" userId="5b54ce5a-dc89-476f-af33-5abd75d5b1e8" providerId="ADAL" clId="{43B71669-8A80-4333-9349-B258A9296B49}" dt="2024-02-27T17:27:37.125" v="7187" actId="478"/>
          <ac:spMkLst>
            <pc:docMk/>
            <pc:sldMk cId="2423218208" sldId="583"/>
            <ac:spMk id="683" creationId="{D87B2FB5-6CC5-67E0-F130-A410C83A90D8}"/>
          </ac:spMkLst>
        </pc:spChg>
        <pc:spChg chg="del">
          <ac:chgData name="Bullinger, Marvin" userId="5b54ce5a-dc89-476f-af33-5abd75d5b1e8" providerId="ADAL" clId="{43B71669-8A80-4333-9349-B258A9296B49}" dt="2024-02-27T17:27:37.117" v="7186" actId="478"/>
          <ac:spMkLst>
            <pc:docMk/>
            <pc:sldMk cId="2423218208" sldId="583"/>
            <ac:spMk id="684" creationId="{3A01AA11-0172-18CA-1436-51B569CD72AF}"/>
          </ac:spMkLst>
        </pc:spChg>
        <pc:spChg chg="del">
          <ac:chgData name="Bullinger, Marvin" userId="5b54ce5a-dc89-476f-af33-5abd75d5b1e8" providerId="ADAL" clId="{43B71669-8A80-4333-9349-B258A9296B49}" dt="2024-02-27T17:27:37.117" v="7185" actId="478"/>
          <ac:spMkLst>
            <pc:docMk/>
            <pc:sldMk cId="2423218208" sldId="583"/>
            <ac:spMk id="685" creationId="{D0189E3B-27BB-7FC7-652E-FAF4160ADA02}"/>
          </ac:spMkLst>
        </pc:spChg>
        <pc:spChg chg="del">
          <ac:chgData name="Bullinger, Marvin" userId="5b54ce5a-dc89-476f-af33-5abd75d5b1e8" providerId="ADAL" clId="{43B71669-8A80-4333-9349-B258A9296B49}" dt="2024-02-27T17:27:37.117" v="7184" actId="478"/>
          <ac:spMkLst>
            <pc:docMk/>
            <pc:sldMk cId="2423218208" sldId="583"/>
            <ac:spMk id="686" creationId="{DE22CD6B-96D0-527A-7D28-97FDD2D60A58}"/>
          </ac:spMkLst>
        </pc:spChg>
        <pc:spChg chg="del">
          <ac:chgData name="Bullinger, Marvin" userId="5b54ce5a-dc89-476f-af33-5abd75d5b1e8" providerId="ADAL" clId="{43B71669-8A80-4333-9349-B258A9296B49}" dt="2024-02-27T17:27:37.117" v="7183" actId="478"/>
          <ac:spMkLst>
            <pc:docMk/>
            <pc:sldMk cId="2423218208" sldId="583"/>
            <ac:spMk id="687" creationId="{8C15EAFB-A0F0-0FC9-850D-B9FF746974FA}"/>
          </ac:spMkLst>
        </pc:spChg>
        <pc:spChg chg="del">
          <ac:chgData name="Bullinger, Marvin" userId="5b54ce5a-dc89-476f-af33-5abd75d5b1e8" providerId="ADAL" clId="{43B71669-8A80-4333-9349-B258A9296B49}" dt="2024-02-27T17:27:37.117" v="7182" actId="478"/>
          <ac:spMkLst>
            <pc:docMk/>
            <pc:sldMk cId="2423218208" sldId="583"/>
            <ac:spMk id="688" creationId="{A635E2A0-2C57-6A6A-10F3-D9C0FECE4354}"/>
          </ac:spMkLst>
        </pc:spChg>
        <pc:spChg chg="del">
          <ac:chgData name="Bullinger, Marvin" userId="5b54ce5a-dc89-476f-af33-5abd75d5b1e8" providerId="ADAL" clId="{43B71669-8A80-4333-9349-B258A9296B49}" dt="2024-02-27T17:27:37.117" v="7181" actId="478"/>
          <ac:spMkLst>
            <pc:docMk/>
            <pc:sldMk cId="2423218208" sldId="583"/>
            <ac:spMk id="689" creationId="{9FB30C78-0FE6-F1CD-518C-3746800421C4}"/>
          </ac:spMkLst>
        </pc:spChg>
        <pc:spChg chg="del">
          <ac:chgData name="Bullinger, Marvin" userId="5b54ce5a-dc89-476f-af33-5abd75d5b1e8" providerId="ADAL" clId="{43B71669-8A80-4333-9349-B258A9296B49}" dt="2024-02-27T17:27:37.117" v="7180" actId="478"/>
          <ac:spMkLst>
            <pc:docMk/>
            <pc:sldMk cId="2423218208" sldId="583"/>
            <ac:spMk id="690" creationId="{1288AA0A-7EDF-2D2F-63C3-230676538C25}"/>
          </ac:spMkLst>
        </pc:spChg>
        <pc:spChg chg="del">
          <ac:chgData name="Bullinger, Marvin" userId="5b54ce5a-dc89-476f-af33-5abd75d5b1e8" providerId="ADAL" clId="{43B71669-8A80-4333-9349-B258A9296B49}" dt="2024-02-27T17:27:37.117" v="7179" actId="478"/>
          <ac:spMkLst>
            <pc:docMk/>
            <pc:sldMk cId="2423218208" sldId="583"/>
            <ac:spMk id="691" creationId="{E22C075C-8F17-38A7-D3C9-664570A1B3F6}"/>
          </ac:spMkLst>
        </pc:spChg>
        <pc:spChg chg="del">
          <ac:chgData name="Bullinger, Marvin" userId="5b54ce5a-dc89-476f-af33-5abd75d5b1e8" providerId="ADAL" clId="{43B71669-8A80-4333-9349-B258A9296B49}" dt="2024-02-27T17:27:37.117" v="7178" actId="478"/>
          <ac:spMkLst>
            <pc:docMk/>
            <pc:sldMk cId="2423218208" sldId="583"/>
            <ac:spMk id="692" creationId="{4B87066F-D73B-46D6-CBF0-3DE4DD31A9D6}"/>
          </ac:spMkLst>
        </pc:spChg>
        <pc:spChg chg="del">
          <ac:chgData name="Bullinger, Marvin" userId="5b54ce5a-dc89-476f-af33-5abd75d5b1e8" providerId="ADAL" clId="{43B71669-8A80-4333-9349-B258A9296B49}" dt="2024-02-27T17:27:37.117" v="7177" actId="478"/>
          <ac:spMkLst>
            <pc:docMk/>
            <pc:sldMk cId="2423218208" sldId="583"/>
            <ac:spMk id="693" creationId="{DCF12F31-8C7A-005A-F80C-C857034598EB}"/>
          </ac:spMkLst>
        </pc:spChg>
        <pc:spChg chg="replST">
          <ac:chgData name="Bullinger, Marvin" userId="5b54ce5a-dc89-476f-af33-5abd75d5b1e8" providerId="ADAL" clId="{43B71669-8A80-4333-9349-B258A9296B49}" dt="2024-02-27T17:27:38.128" v="7630"/>
          <ac:spMkLst>
            <pc:docMk/>
            <pc:sldMk cId="2423218208" sldId="583"/>
            <ac:spMk id="694" creationId="{95CA636F-1293-14EA-A8C1-CD4476749263}"/>
          </ac:spMkLst>
        </pc:spChg>
        <pc:spChg chg="replST">
          <ac:chgData name="Bullinger, Marvin" userId="5b54ce5a-dc89-476f-af33-5abd75d5b1e8" providerId="ADAL" clId="{43B71669-8A80-4333-9349-B258A9296B49}" dt="2024-02-27T17:27:38.138" v="7633"/>
          <ac:spMkLst>
            <pc:docMk/>
            <pc:sldMk cId="2423218208" sldId="583"/>
            <ac:spMk id="695" creationId="{76FCB427-C9F2-38E2-8B36-018366160017}"/>
          </ac:spMkLst>
        </pc:spChg>
        <pc:spChg chg="replST">
          <ac:chgData name="Bullinger, Marvin" userId="5b54ce5a-dc89-476f-af33-5abd75d5b1e8" providerId="ADAL" clId="{43B71669-8A80-4333-9349-B258A9296B49}" dt="2024-02-27T17:27:38.149" v="7637"/>
          <ac:spMkLst>
            <pc:docMk/>
            <pc:sldMk cId="2423218208" sldId="583"/>
            <ac:spMk id="697" creationId="{442002BD-AC5D-AC04-0F54-34B0CAAFF53A}"/>
          </ac:spMkLst>
        </pc:spChg>
        <pc:spChg chg="replST">
          <ac:chgData name="Bullinger, Marvin" userId="5b54ce5a-dc89-476f-af33-5abd75d5b1e8" providerId="ADAL" clId="{43B71669-8A80-4333-9349-B258A9296B49}" dt="2024-02-27T17:27:38.159" v="7640"/>
          <ac:spMkLst>
            <pc:docMk/>
            <pc:sldMk cId="2423218208" sldId="583"/>
            <ac:spMk id="698" creationId="{47413552-0893-7C7F-0F3E-5E08FF7C8674}"/>
          </ac:spMkLst>
        </pc:spChg>
        <pc:spChg chg="replST">
          <ac:chgData name="Bullinger, Marvin" userId="5b54ce5a-dc89-476f-af33-5abd75d5b1e8" providerId="ADAL" clId="{43B71669-8A80-4333-9349-B258A9296B49}" dt="2024-02-27T17:27:38.159" v="7644"/>
          <ac:spMkLst>
            <pc:docMk/>
            <pc:sldMk cId="2423218208" sldId="583"/>
            <ac:spMk id="700" creationId="{3BBE80D9-85A3-48C9-8E9B-756590158ACC}"/>
          </ac:spMkLst>
        </pc:spChg>
        <pc:spChg chg="replST">
          <ac:chgData name="Bullinger, Marvin" userId="5b54ce5a-dc89-476f-af33-5abd75d5b1e8" providerId="ADAL" clId="{43B71669-8A80-4333-9349-B258A9296B49}" dt="2024-02-27T17:27:38.172" v="7647"/>
          <ac:spMkLst>
            <pc:docMk/>
            <pc:sldMk cId="2423218208" sldId="583"/>
            <ac:spMk id="701" creationId="{D098AA29-A1EE-BD05-AE72-B91B5918B931}"/>
          </ac:spMkLst>
        </pc:spChg>
        <pc:spChg chg="replST">
          <ac:chgData name="Bullinger, Marvin" userId="5b54ce5a-dc89-476f-af33-5abd75d5b1e8" providerId="ADAL" clId="{43B71669-8A80-4333-9349-B258A9296B49}" dt="2024-02-27T17:27:38.180" v="7651"/>
          <ac:spMkLst>
            <pc:docMk/>
            <pc:sldMk cId="2423218208" sldId="583"/>
            <ac:spMk id="703" creationId="{D7274683-B7B2-0330-825D-2FF45E6E4781}"/>
          </ac:spMkLst>
        </pc:spChg>
        <pc:spChg chg="replST">
          <ac:chgData name="Bullinger, Marvin" userId="5b54ce5a-dc89-476f-af33-5abd75d5b1e8" providerId="ADAL" clId="{43B71669-8A80-4333-9349-B258A9296B49}" dt="2024-02-27T17:27:38.188" v="7654"/>
          <ac:spMkLst>
            <pc:docMk/>
            <pc:sldMk cId="2423218208" sldId="583"/>
            <ac:spMk id="704" creationId="{A329816B-4F0A-B630-6211-4A24B5D559DB}"/>
          </ac:spMkLst>
        </pc:spChg>
        <pc:spChg chg="replST">
          <ac:chgData name="Bullinger, Marvin" userId="5b54ce5a-dc89-476f-af33-5abd75d5b1e8" providerId="ADAL" clId="{43B71669-8A80-4333-9349-B258A9296B49}" dt="2024-02-27T17:27:38.199" v="7658"/>
          <ac:spMkLst>
            <pc:docMk/>
            <pc:sldMk cId="2423218208" sldId="583"/>
            <ac:spMk id="706" creationId="{2B20157C-FF80-0F51-CEF4-AB72112ACF5F}"/>
          </ac:spMkLst>
        </pc:spChg>
        <pc:spChg chg="replST">
          <ac:chgData name="Bullinger, Marvin" userId="5b54ce5a-dc89-476f-af33-5abd75d5b1e8" providerId="ADAL" clId="{43B71669-8A80-4333-9349-B258A9296B49}" dt="2024-02-27T17:27:38.201" v="7661"/>
          <ac:spMkLst>
            <pc:docMk/>
            <pc:sldMk cId="2423218208" sldId="583"/>
            <ac:spMk id="707" creationId="{76EADD60-6B52-E38D-F1C0-E803BDB68F67}"/>
          </ac:spMkLst>
        </pc:spChg>
        <pc:spChg chg="replST">
          <ac:chgData name="Bullinger, Marvin" userId="5b54ce5a-dc89-476f-af33-5abd75d5b1e8" providerId="ADAL" clId="{43B71669-8A80-4333-9349-B258A9296B49}" dt="2024-02-27T17:27:38.211" v="7665"/>
          <ac:spMkLst>
            <pc:docMk/>
            <pc:sldMk cId="2423218208" sldId="583"/>
            <ac:spMk id="709" creationId="{94B55A2F-F51A-8D48-453F-D1378FEFC195}"/>
          </ac:spMkLst>
        </pc:spChg>
        <pc:spChg chg="replST">
          <ac:chgData name="Bullinger, Marvin" userId="5b54ce5a-dc89-476f-af33-5abd75d5b1e8" providerId="ADAL" clId="{43B71669-8A80-4333-9349-B258A9296B49}" dt="2024-02-27T17:27:38.211" v="7668"/>
          <ac:spMkLst>
            <pc:docMk/>
            <pc:sldMk cId="2423218208" sldId="583"/>
            <ac:spMk id="710" creationId="{27BA0D6A-D647-2D44-F4A5-C7A8B1EE9800}"/>
          </ac:spMkLst>
        </pc:spChg>
        <pc:spChg chg="ord replST">
          <ac:chgData name="Bullinger, Marvin" userId="5b54ce5a-dc89-476f-af33-5abd75d5b1e8" providerId="ADAL" clId="{43B71669-8A80-4333-9349-B258A9296B49}" dt="2024-02-27T17:27:38.241" v="7684"/>
          <ac:spMkLst>
            <pc:docMk/>
            <pc:sldMk cId="2423218208" sldId="583"/>
            <ac:spMk id="711" creationId="{F48CE795-CF4D-98E7-23E4-60CE762A5D3D}"/>
          </ac:spMkLst>
        </pc:spChg>
        <pc:spChg chg="replST">
          <ac:chgData name="Bullinger, Marvin" userId="5b54ce5a-dc89-476f-af33-5abd75d5b1e8" providerId="ADAL" clId="{43B71669-8A80-4333-9349-B258A9296B49}" dt="2024-02-27T17:27:38.221" v="7672"/>
          <ac:spMkLst>
            <pc:docMk/>
            <pc:sldMk cId="2423218208" sldId="583"/>
            <ac:spMk id="712" creationId="{3E5985FE-6234-FA4F-E5D5-B82670662879}"/>
          </ac:spMkLst>
        </pc:spChg>
        <pc:spChg chg="replST">
          <ac:chgData name="Bullinger, Marvin" userId="5b54ce5a-dc89-476f-af33-5abd75d5b1e8" providerId="ADAL" clId="{43B71669-8A80-4333-9349-B258A9296B49}" dt="2024-02-27T17:27:38.229" v="7675"/>
          <ac:spMkLst>
            <pc:docMk/>
            <pc:sldMk cId="2423218208" sldId="583"/>
            <ac:spMk id="713" creationId="{FAAAB132-D98B-74FB-D4EA-F1477E3DC445}"/>
          </ac:spMkLst>
        </pc:spChg>
        <pc:cxnChg chg="del">
          <ac:chgData name="Bullinger, Marvin" userId="5b54ce5a-dc89-476f-af33-5abd75d5b1e8" providerId="ADAL" clId="{43B71669-8A80-4333-9349-B258A9296B49}" dt="2024-02-27T16:45:50.128" v="564" actId="478"/>
          <ac:cxnSpMkLst>
            <pc:docMk/>
            <pc:sldMk cId="2423218208" sldId="583"/>
            <ac:cxnSpMk id="238" creationId="{E721A7C9-63B5-89A9-1EA7-23CB04BB073B}"/>
          </ac:cxnSpMkLst>
        </pc:cxnChg>
        <pc:cxnChg chg="del">
          <ac:chgData name="Bullinger, Marvin" userId="5b54ce5a-dc89-476f-af33-5abd75d5b1e8" providerId="ADAL" clId="{43B71669-8A80-4333-9349-B258A9296B49}" dt="2024-02-27T16:45:50.128" v="565" actId="478"/>
          <ac:cxnSpMkLst>
            <pc:docMk/>
            <pc:sldMk cId="2423218208" sldId="583"/>
            <ac:cxnSpMk id="241" creationId="{B17B8A4A-3D9E-86CC-7DF6-803EF044780E}"/>
          </ac:cxnSpMkLst>
        </pc:cxnChg>
        <pc:cxnChg chg="del">
          <ac:chgData name="Bullinger, Marvin" userId="5b54ce5a-dc89-476f-af33-5abd75d5b1e8" providerId="ADAL" clId="{43B71669-8A80-4333-9349-B258A9296B49}" dt="2024-02-27T16:45:50.128" v="566" actId="478"/>
          <ac:cxnSpMkLst>
            <pc:docMk/>
            <pc:sldMk cId="2423218208" sldId="583"/>
            <ac:cxnSpMk id="244" creationId="{AFD81AED-8706-B76F-8432-9657FAD5985D}"/>
          </ac:cxnSpMkLst>
        </pc:cxnChg>
        <pc:cxnChg chg="del">
          <ac:chgData name="Bullinger, Marvin" userId="5b54ce5a-dc89-476f-af33-5abd75d5b1e8" providerId="ADAL" clId="{43B71669-8A80-4333-9349-B258A9296B49}" dt="2024-02-27T16:45:50.128" v="567" actId="478"/>
          <ac:cxnSpMkLst>
            <pc:docMk/>
            <pc:sldMk cId="2423218208" sldId="583"/>
            <ac:cxnSpMk id="247" creationId="{D416A9AE-31A0-88D3-2108-F2C1BD7898A5}"/>
          </ac:cxnSpMkLst>
        </pc:cxnChg>
        <pc:cxnChg chg="del">
          <ac:chgData name="Bullinger, Marvin" userId="5b54ce5a-dc89-476f-af33-5abd75d5b1e8" providerId="ADAL" clId="{43B71669-8A80-4333-9349-B258A9296B49}" dt="2024-02-27T16:45:50.128" v="568" actId="478"/>
          <ac:cxnSpMkLst>
            <pc:docMk/>
            <pc:sldMk cId="2423218208" sldId="583"/>
            <ac:cxnSpMk id="250" creationId="{C30C69C7-D91A-6B5D-01AF-B5D834AA3803}"/>
          </ac:cxnSpMkLst>
        </pc:cxnChg>
        <pc:cxnChg chg="del ord replST">
          <ac:chgData name="Bullinger, Marvin" userId="5b54ce5a-dc89-476f-af33-5abd75d5b1e8" providerId="ADAL" clId="{43B71669-8A80-4333-9349-B258A9296B49}" dt="2024-02-27T16:46:20.381" v="1342" actId="478"/>
          <ac:cxnSpMkLst>
            <pc:docMk/>
            <pc:sldMk cId="2423218208" sldId="583"/>
            <ac:cxnSpMk id="262" creationId="{C788B238-86BC-534A-3EA6-F52D6A4E24D0}"/>
          </ac:cxnSpMkLst>
        </pc:cxnChg>
        <pc:cxnChg chg="del ord replST">
          <ac:chgData name="Bullinger, Marvin" userId="5b54ce5a-dc89-476f-af33-5abd75d5b1e8" providerId="ADAL" clId="{43B71669-8A80-4333-9349-B258A9296B49}" dt="2024-02-27T16:46:20.381" v="1343" actId="478"/>
          <ac:cxnSpMkLst>
            <pc:docMk/>
            <pc:sldMk cId="2423218208" sldId="583"/>
            <ac:cxnSpMk id="265" creationId="{E1A43899-515F-8C74-A57D-DC0F69481AD6}"/>
          </ac:cxnSpMkLst>
        </pc:cxnChg>
        <pc:cxnChg chg="del ord replST">
          <ac:chgData name="Bullinger, Marvin" userId="5b54ce5a-dc89-476f-af33-5abd75d5b1e8" providerId="ADAL" clId="{43B71669-8A80-4333-9349-B258A9296B49}" dt="2024-02-27T16:46:20.381" v="1344" actId="478"/>
          <ac:cxnSpMkLst>
            <pc:docMk/>
            <pc:sldMk cId="2423218208" sldId="583"/>
            <ac:cxnSpMk id="268" creationId="{91F0159A-D084-EE72-503F-4B427C9AB140}"/>
          </ac:cxnSpMkLst>
        </pc:cxnChg>
        <pc:cxnChg chg="del ord replST">
          <ac:chgData name="Bullinger, Marvin" userId="5b54ce5a-dc89-476f-af33-5abd75d5b1e8" providerId="ADAL" clId="{43B71669-8A80-4333-9349-B258A9296B49}" dt="2024-02-27T16:46:20.381" v="1345" actId="478"/>
          <ac:cxnSpMkLst>
            <pc:docMk/>
            <pc:sldMk cId="2423218208" sldId="583"/>
            <ac:cxnSpMk id="271" creationId="{93190D8D-C251-37D5-35D4-71099B2EF34B}"/>
          </ac:cxnSpMkLst>
        </pc:cxnChg>
        <pc:cxnChg chg="del ord replST">
          <ac:chgData name="Bullinger, Marvin" userId="5b54ce5a-dc89-476f-af33-5abd75d5b1e8" providerId="ADAL" clId="{43B71669-8A80-4333-9349-B258A9296B49}" dt="2024-02-27T16:46:20.381" v="1346" actId="478"/>
          <ac:cxnSpMkLst>
            <pc:docMk/>
            <pc:sldMk cId="2423218208" sldId="583"/>
            <ac:cxnSpMk id="274" creationId="{5C4AA214-11F6-C7E0-89F3-9EF4AB108CF7}"/>
          </ac:cxnSpMkLst>
        </pc:cxnChg>
        <pc:cxnChg chg="add del ord replST">
          <ac:chgData name="Bullinger, Marvin" userId="5b54ce5a-dc89-476f-af33-5abd75d5b1e8" providerId="ADAL" clId="{43B71669-8A80-4333-9349-B258A9296B49}" dt="2024-02-27T17:21:07.529" v="3719" actId="478"/>
          <ac:cxnSpMkLst>
            <pc:docMk/>
            <pc:sldMk cId="2423218208" sldId="583"/>
            <ac:cxnSpMk id="357" creationId="{B23D11BE-AC76-705C-4879-8C7FEF4A7686}"/>
          </ac:cxnSpMkLst>
        </pc:cxnChg>
        <pc:cxnChg chg="add del ord replST">
          <ac:chgData name="Bullinger, Marvin" userId="5b54ce5a-dc89-476f-af33-5abd75d5b1e8" providerId="ADAL" clId="{43B71669-8A80-4333-9349-B258A9296B49}" dt="2024-02-27T17:21:07.529" v="3720" actId="478"/>
          <ac:cxnSpMkLst>
            <pc:docMk/>
            <pc:sldMk cId="2423218208" sldId="583"/>
            <ac:cxnSpMk id="360" creationId="{E2293454-53BA-1554-3AEA-F5D3AC7CC76F}"/>
          </ac:cxnSpMkLst>
        </pc:cxnChg>
        <pc:cxnChg chg="add del ord replST">
          <ac:chgData name="Bullinger, Marvin" userId="5b54ce5a-dc89-476f-af33-5abd75d5b1e8" providerId="ADAL" clId="{43B71669-8A80-4333-9349-B258A9296B49}" dt="2024-02-27T17:21:07.529" v="3721" actId="478"/>
          <ac:cxnSpMkLst>
            <pc:docMk/>
            <pc:sldMk cId="2423218208" sldId="583"/>
            <ac:cxnSpMk id="363" creationId="{9E67551F-F9B3-4074-1F8A-6EBE329187C3}"/>
          </ac:cxnSpMkLst>
        </pc:cxnChg>
        <pc:cxnChg chg="add del ord replST">
          <ac:chgData name="Bullinger, Marvin" userId="5b54ce5a-dc89-476f-af33-5abd75d5b1e8" providerId="ADAL" clId="{43B71669-8A80-4333-9349-B258A9296B49}" dt="2024-02-27T17:21:07.529" v="3722" actId="478"/>
          <ac:cxnSpMkLst>
            <pc:docMk/>
            <pc:sldMk cId="2423218208" sldId="583"/>
            <ac:cxnSpMk id="366" creationId="{150A68AA-D782-66F0-061D-CBFE2B8AF5E5}"/>
          </ac:cxnSpMkLst>
        </pc:cxnChg>
        <pc:cxnChg chg="add del ord replST">
          <ac:chgData name="Bullinger, Marvin" userId="5b54ce5a-dc89-476f-af33-5abd75d5b1e8" providerId="ADAL" clId="{43B71669-8A80-4333-9349-B258A9296B49}" dt="2024-02-27T17:21:07.529" v="3723" actId="478"/>
          <ac:cxnSpMkLst>
            <pc:docMk/>
            <pc:sldMk cId="2423218208" sldId="583"/>
            <ac:cxnSpMk id="369" creationId="{1A7C1EA2-6238-D54F-E7EA-0565AAA44988}"/>
          </ac:cxnSpMkLst>
        </pc:cxnChg>
        <pc:cxnChg chg="del ord replST">
          <ac:chgData name="Bullinger, Marvin" userId="5b54ce5a-dc89-476f-af33-5abd75d5b1e8" providerId="ADAL" clId="{43B71669-8A80-4333-9349-B258A9296B49}" dt="2024-02-27T17:26:23.428" v="4759" actId="478"/>
          <ac:cxnSpMkLst>
            <pc:docMk/>
            <pc:sldMk cId="2423218208" sldId="583"/>
            <ac:cxnSpMk id="390" creationId="{25AB3DE8-6424-54F7-2214-2C95DE12EA85}"/>
          </ac:cxnSpMkLst>
        </pc:cxnChg>
        <pc:cxnChg chg="del ord replST">
          <ac:chgData name="Bullinger, Marvin" userId="5b54ce5a-dc89-476f-af33-5abd75d5b1e8" providerId="ADAL" clId="{43B71669-8A80-4333-9349-B258A9296B49}" dt="2024-02-27T17:26:23.428" v="4760" actId="478"/>
          <ac:cxnSpMkLst>
            <pc:docMk/>
            <pc:sldMk cId="2423218208" sldId="583"/>
            <ac:cxnSpMk id="393" creationId="{C1AF1A3A-268C-8986-B10A-74B2588B1970}"/>
          </ac:cxnSpMkLst>
        </pc:cxnChg>
        <pc:cxnChg chg="del ord replST">
          <ac:chgData name="Bullinger, Marvin" userId="5b54ce5a-dc89-476f-af33-5abd75d5b1e8" providerId="ADAL" clId="{43B71669-8A80-4333-9349-B258A9296B49}" dt="2024-02-27T17:26:23.428" v="4761" actId="478"/>
          <ac:cxnSpMkLst>
            <pc:docMk/>
            <pc:sldMk cId="2423218208" sldId="583"/>
            <ac:cxnSpMk id="396" creationId="{0AEA1F51-D4A2-ADC7-A4CD-89234D1F8F21}"/>
          </ac:cxnSpMkLst>
        </pc:cxnChg>
        <pc:cxnChg chg="del ord replST">
          <ac:chgData name="Bullinger, Marvin" userId="5b54ce5a-dc89-476f-af33-5abd75d5b1e8" providerId="ADAL" clId="{43B71669-8A80-4333-9349-B258A9296B49}" dt="2024-02-27T17:26:23.428" v="4762" actId="478"/>
          <ac:cxnSpMkLst>
            <pc:docMk/>
            <pc:sldMk cId="2423218208" sldId="583"/>
            <ac:cxnSpMk id="399" creationId="{29312D08-12C8-08D7-B9D4-4DF2F0AACE06}"/>
          </ac:cxnSpMkLst>
        </pc:cxnChg>
        <pc:cxnChg chg="del ord replST">
          <ac:chgData name="Bullinger, Marvin" userId="5b54ce5a-dc89-476f-af33-5abd75d5b1e8" providerId="ADAL" clId="{43B71669-8A80-4333-9349-B258A9296B49}" dt="2024-02-27T17:26:23.428" v="4763" actId="478"/>
          <ac:cxnSpMkLst>
            <pc:docMk/>
            <pc:sldMk cId="2423218208" sldId="583"/>
            <ac:cxnSpMk id="402" creationId="{DDA950E9-5D52-1074-8779-0BAC2228AA78}"/>
          </ac:cxnSpMkLst>
        </pc:cxnChg>
        <pc:cxnChg chg="del ord replST">
          <ac:chgData name="Bullinger, Marvin" userId="5b54ce5a-dc89-476f-af33-5abd75d5b1e8" providerId="ADAL" clId="{43B71669-8A80-4333-9349-B258A9296B49}" dt="2024-02-27T17:26:23.436" v="4765" actId="478"/>
          <ac:cxnSpMkLst>
            <pc:docMk/>
            <pc:sldMk cId="2423218208" sldId="583"/>
            <ac:cxnSpMk id="408" creationId="{8B39C796-DDC9-A648-686F-FFBFF8986925}"/>
          </ac:cxnSpMkLst>
        </pc:cxnChg>
        <pc:cxnChg chg="del ord replST">
          <ac:chgData name="Bullinger, Marvin" userId="5b54ce5a-dc89-476f-af33-5abd75d5b1e8" providerId="ADAL" clId="{43B71669-8A80-4333-9349-B258A9296B49}" dt="2024-02-27T17:26:23.438" v="4766" actId="478"/>
          <ac:cxnSpMkLst>
            <pc:docMk/>
            <pc:sldMk cId="2423218208" sldId="583"/>
            <ac:cxnSpMk id="409" creationId="{3BB8FE41-BB0F-F4CA-E27A-4BC2D4460325}"/>
          </ac:cxnSpMkLst>
        </pc:cxnChg>
        <pc:cxnChg chg="mod ord replST delST">
          <ac:chgData name="Bullinger, Marvin" userId="5b54ce5a-dc89-476f-af33-5abd75d5b1e8" providerId="ADAL" clId="{43B71669-8A80-4333-9349-B258A9296B49}" dt="2024-02-27T16:53:49.050" v="3382"/>
          <ac:cxnSpMkLst>
            <pc:docMk/>
            <pc:sldMk cId="2423218208" sldId="583"/>
            <ac:cxnSpMk id="452" creationId="{36BFC0AB-1B67-51A6-FEA6-8C0877F585D5}"/>
          </ac:cxnSpMkLst>
        </pc:cxnChg>
        <pc:cxnChg chg="mod ord replST delST">
          <ac:chgData name="Bullinger, Marvin" userId="5b54ce5a-dc89-476f-af33-5abd75d5b1e8" providerId="ADAL" clId="{43B71669-8A80-4333-9349-B258A9296B49}" dt="2024-02-27T16:53:49.050" v="3382"/>
          <ac:cxnSpMkLst>
            <pc:docMk/>
            <pc:sldMk cId="2423218208" sldId="583"/>
            <ac:cxnSpMk id="455" creationId="{E81CAC0E-F121-4528-CC52-230D1E3F32B8}"/>
          </ac:cxnSpMkLst>
        </pc:cxnChg>
        <pc:cxnChg chg="mod ord replST delST">
          <ac:chgData name="Bullinger, Marvin" userId="5b54ce5a-dc89-476f-af33-5abd75d5b1e8" providerId="ADAL" clId="{43B71669-8A80-4333-9349-B258A9296B49}" dt="2024-02-27T16:53:49.050" v="3382"/>
          <ac:cxnSpMkLst>
            <pc:docMk/>
            <pc:sldMk cId="2423218208" sldId="583"/>
            <ac:cxnSpMk id="458" creationId="{A81687D9-F5AF-AA18-6159-CD70A35E3895}"/>
          </ac:cxnSpMkLst>
        </pc:cxnChg>
        <pc:cxnChg chg="mod ord replST delST">
          <ac:chgData name="Bullinger, Marvin" userId="5b54ce5a-dc89-476f-af33-5abd75d5b1e8" providerId="ADAL" clId="{43B71669-8A80-4333-9349-B258A9296B49}" dt="2024-02-27T16:53:49.050" v="3382"/>
          <ac:cxnSpMkLst>
            <pc:docMk/>
            <pc:sldMk cId="2423218208" sldId="583"/>
            <ac:cxnSpMk id="461" creationId="{298E9C34-FACF-1288-6FBE-626EFE6A00A6}"/>
          </ac:cxnSpMkLst>
        </pc:cxnChg>
        <pc:cxnChg chg="mod ord replST delST">
          <ac:chgData name="Bullinger, Marvin" userId="5b54ce5a-dc89-476f-af33-5abd75d5b1e8" providerId="ADAL" clId="{43B71669-8A80-4333-9349-B258A9296B49}" dt="2024-02-27T16:53:49.050" v="3382"/>
          <ac:cxnSpMkLst>
            <pc:docMk/>
            <pc:sldMk cId="2423218208" sldId="583"/>
            <ac:cxnSpMk id="464" creationId="{0B9C767B-8D36-1EA2-A2ED-CF9156CCBD88}"/>
          </ac:cxnSpMkLst>
        </pc:cxnChg>
        <pc:cxnChg chg="del ord replST">
          <ac:chgData name="Bullinger, Marvin" userId="5b54ce5a-dc89-476f-af33-5abd75d5b1e8" providerId="ADAL" clId="{43B71669-8A80-4333-9349-B258A9296B49}" dt="2024-02-27T17:26:59.413" v="6067" actId="478"/>
          <ac:cxnSpMkLst>
            <pc:docMk/>
            <pc:sldMk cId="2423218208" sldId="583"/>
            <ac:cxnSpMk id="489" creationId="{094E788B-5EBF-C0E8-AAAF-DCDA13592443}"/>
          </ac:cxnSpMkLst>
        </pc:cxnChg>
        <pc:cxnChg chg="del ord replST">
          <ac:chgData name="Bullinger, Marvin" userId="5b54ce5a-dc89-476f-af33-5abd75d5b1e8" providerId="ADAL" clId="{43B71669-8A80-4333-9349-B258A9296B49}" dt="2024-02-27T17:26:59.421" v="6068" actId="478"/>
          <ac:cxnSpMkLst>
            <pc:docMk/>
            <pc:sldMk cId="2423218208" sldId="583"/>
            <ac:cxnSpMk id="492" creationId="{70F8AA78-5556-F91D-8D25-EAFFFB58D2DC}"/>
          </ac:cxnSpMkLst>
        </pc:cxnChg>
        <pc:cxnChg chg="del ord replST">
          <ac:chgData name="Bullinger, Marvin" userId="5b54ce5a-dc89-476f-af33-5abd75d5b1e8" providerId="ADAL" clId="{43B71669-8A80-4333-9349-B258A9296B49}" dt="2024-02-27T17:26:59.421" v="6069" actId="478"/>
          <ac:cxnSpMkLst>
            <pc:docMk/>
            <pc:sldMk cId="2423218208" sldId="583"/>
            <ac:cxnSpMk id="495" creationId="{071D0BED-6CB8-AA22-62D4-961F3339F910}"/>
          </ac:cxnSpMkLst>
        </pc:cxnChg>
        <pc:cxnChg chg="del ord replST">
          <ac:chgData name="Bullinger, Marvin" userId="5b54ce5a-dc89-476f-af33-5abd75d5b1e8" providerId="ADAL" clId="{43B71669-8A80-4333-9349-B258A9296B49}" dt="2024-02-27T17:26:59.423" v="6070" actId="478"/>
          <ac:cxnSpMkLst>
            <pc:docMk/>
            <pc:sldMk cId="2423218208" sldId="583"/>
            <ac:cxnSpMk id="498" creationId="{68D67D92-949D-8385-88B4-526C19B753D3}"/>
          </ac:cxnSpMkLst>
        </pc:cxnChg>
        <pc:cxnChg chg="del ord replST">
          <ac:chgData name="Bullinger, Marvin" userId="5b54ce5a-dc89-476f-af33-5abd75d5b1e8" providerId="ADAL" clId="{43B71669-8A80-4333-9349-B258A9296B49}" dt="2024-02-27T17:26:59.423" v="6071" actId="478"/>
          <ac:cxnSpMkLst>
            <pc:docMk/>
            <pc:sldMk cId="2423218208" sldId="583"/>
            <ac:cxnSpMk id="501" creationId="{959F246D-1728-B1E9-8675-78B1DACE2C07}"/>
          </ac:cxnSpMkLst>
        </pc:cxnChg>
        <pc:cxnChg chg="del ord replST">
          <ac:chgData name="Bullinger, Marvin" userId="5b54ce5a-dc89-476f-af33-5abd75d5b1e8" providerId="ADAL" clId="{43B71669-8A80-4333-9349-B258A9296B49}" dt="2024-02-27T17:26:59.423" v="6072" actId="478"/>
          <ac:cxnSpMkLst>
            <pc:docMk/>
            <pc:sldMk cId="2423218208" sldId="583"/>
            <ac:cxnSpMk id="504" creationId="{27507208-8FBB-924E-A928-EB9D7F5108F6}"/>
          </ac:cxnSpMkLst>
        </pc:cxnChg>
        <pc:cxnChg chg="del ord replST">
          <ac:chgData name="Bullinger, Marvin" userId="5b54ce5a-dc89-476f-af33-5abd75d5b1e8" providerId="ADAL" clId="{43B71669-8A80-4333-9349-B258A9296B49}" dt="2024-02-27T17:26:59.423" v="6073" actId="478"/>
          <ac:cxnSpMkLst>
            <pc:docMk/>
            <pc:sldMk cId="2423218208" sldId="583"/>
            <ac:cxnSpMk id="507" creationId="{5E0642D8-0619-D884-F2EE-9B7EAD966EB2}"/>
          </ac:cxnSpMkLst>
        </pc:cxnChg>
        <pc:cxnChg chg="del ord replST">
          <ac:chgData name="Bullinger, Marvin" userId="5b54ce5a-dc89-476f-af33-5abd75d5b1e8" providerId="ADAL" clId="{43B71669-8A80-4333-9349-B258A9296B49}" dt="2024-02-27T17:26:59.423" v="6075" actId="478"/>
          <ac:cxnSpMkLst>
            <pc:docMk/>
            <pc:sldMk cId="2423218208" sldId="583"/>
            <ac:cxnSpMk id="513" creationId="{065E5131-4705-5240-961F-ACB0C99758D8}"/>
          </ac:cxnSpMkLst>
        </pc:cxnChg>
        <pc:cxnChg chg="del ord replST">
          <ac:chgData name="Bullinger, Marvin" userId="5b54ce5a-dc89-476f-af33-5abd75d5b1e8" providerId="ADAL" clId="{43B71669-8A80-4333-9349-B258A9296B49}" dt="2024-02-27T17:26:59.423" v="6076" actId="478"/>
          <ac:cxnSpMkLst>
            <pc:docMk/>
            <pc:sldMk cId="2423218208" sldId="583"/>
            <ac:cxnSpMk id="514" creationId="{3299ABAF-88BF-30C8-C4A9-AB5EF8CDDF1E}"/>
          </ac:cxnSpMkLst>
        </pc:cxnChg>
        <pc:cxnChg chg="del ord replST">
          <ac:chgData name="Bullinger, Marvin" userId="5b54ce5a-dc89-476f-af33-5abd75d5b1e8" providerId="ADAL" clId="{43B71669-8A80-4333-9349-B258A9296B49}" dt="2024-02-27T17:27:37.097" v="7168" actId="478"/>
          <ac:cxnSpMkLst>
            <pc:docMk/>
            <pc:sldMk cId="2423218208" sldId="583"/>
            <ac:cxnSpMk id="594" creationId="{2990BDAF-061E-0DF7-F9B9-D53AB5C701B5}"/>
          </ac:cxnSpMkLst>
        </pc:cxnChg>
        <pc:cxnChg chg="del ord replST">
          <ac:chgData name="Bullinger, Marvin" userId="5b54ce5a-dc89-476f-af33-5abd75d5b1e8" providerId="ADAL" clId="{43B71669-8A80-4333-9349-B258A9296B49}" dt="2024-02-27T17:27:37.097" v="7169" actId="478"/>
          <ac:cxnSpMkLst>
            <pc:docMk/>
            <pc:sldMk cId="2423218208" sldId="583"/>
            <ac:cxnSpMk id="597" creationId="{25740710-82D4-7B35-B321-7C0F14280CD9}"/>
          </ac:cxnSpMkLst>
        </pc:cxnChg>
        <pc:cxnChg chg="del ord replST">
          <ac:chgData name="Bullinger, Marvin" userId="5b54ce5a-dc89-476f-af33-5abd75d5b1e8" providerId="ADAL" clId="{43B71669-8A80-4333-9349-B258A9296B49}" dt="2024-02-27T17:27:37.097" v="7170" actId="478"/>
          <ac:cxnSpMkLst>
            <pc:docMk/>
            <pc:sldMk cId="2423218208" sldId="583"/>
            <ac:cxnSpMk id="600" creationId="{A243BFDB-48A0-AABB-0616-B253E5A85917}"/>
          </ac:cxnSpMkLst>
        </pc:cxnChg>
        <pc:cxnChg chg="del ord replST">
          <ac:chgData name="Bullinger, Marvin" userId="5b54ce5a-dc89-476f-af33-5abd75d5b1e8" providerId="ADAL" clId="{43B71669-8A80-4333-9349-B258A9296B49}" dt="2024-02-27T17:27:37.097" v="7171" actId="478"/>
          <ac:cxnSpMkLst>
            <pc:docMk/>
            <pc:sldMk cId="2423218208" sldId="583"/>
            <ac:cxnSpMk id="603" creationId="{C64B32D2-6AE5-E9C2-DD10-7A1372CCC0C6}"/>
          </ac:cxnSpMkLst>
        </pc:cxnChg>
        <pc:cxnChg chg="del ord replST">
          <ac:chgData name="Bullinger, Marvin" userId="5b54ce5a-dc89-476f-af33-5abd75d5b1e8" providerId="ADAL" clId="{43B71669-8A80-4333-9349-B258A9296B49}" dt="2024-02-27T17:27:37.097" v="7172" actId="478"/>
          <ac:cxnSpMkLst>
            <pc:docMk/>
            <pc:sldMk cId="2423218208" sldId="583"/>
            <ac:cxnSpMk id="606" creationId="{3A0A8B77-5703-B7D4-51CA-08AFB4EF8396}"/>
          </ac:cxnSpMkLst>
        </pc:cxnChg>
        <pc:cxnChg chg="del ord replST">
          <ac:chgData name="Bullinger, Marvin" userId="5b54ce5a-dc89-476f-af33-5abd75d5b1e8" providerId="ADAL" clId="{43B71669-8A80-4333-9349-B258A9296B49}" dt="2024-02-27T17:27:37.105" v="7173" actId="478"/>
          <ac:cxnSpMkLst>
            <pc:docMk/>
            <pc:sldMk cId="2423218208" sldId="583"/>
            <ac:cxnSpMk id="609" creationId="{6C31B6EE-A47D-AD88-AAD1-96AFFF818951}"/>
          </ac:cxnSpMkLst>
        </pc:cxnChg>
        <pc:cxnChg chg="del ord replST">
          <ac:chgData name="Bullinger, Marvin" userId="5b54ce5a-dc89-476f-af33-5abd75d5b1e8" providerId="ADAL" clId="{43B71669-8A80-4333-9349-B258A9296B49}" dt="2024-02-27T17:27:37.107" v="7175" actId="478"/>
          <ac:cxnSpMkLst>
            <pc:docMk/>
            <pc:sldMk cId="2423218208" sldId="583"/>
            <ac:cxnSpMk id="615" creationId="{7C1A5462-0E54-F28D-93E8-76BD9D852F1D}"/>
          </ac:cxnSpMkLst>
        </pc:cxnChg>
        <pc:cxnChg chg="del ord replST">
          <ac:chgData name="Bullinger, Marvin" userId="5b54ce5a-dc89-476f-af33-5abd75d5b1e8" providerId="ADAL" clId="{43B71669-8A80-4333-9349-B258A9296B49}" dt="2024-02-27T17:27:37.107" v="7176" actId="478"/>
          <ac:cxnSpMkLst>
            <pc:docMk/>
            <pc:sldMk cId="2423218208" sldId="583"/>
            <ac:cxnSpMk id="616" creationId="{20347BED-6E48-9AA4-2CC7-4430209C10F7}"/>
          </ac:cxnSpMkLst>
        </pc:cxnChg>
        <pc:cxnChg chg="ord replST">
          <ac:chgData name="Bullinger, Marvin" userId="5b54ce5a-dc89-476f-af33-5abd75d5b1e8" providerId="ADAL" clId="{43B71669-8A80-4333-9349-B258A9296B49}" dt="2024-02-27T17:27:38.239" v="7679"/>
          <ac:cxnSpMkLst>
            <pc:docMk/>
            <pc:sldMk cId="2423218208" sldId="583"/>
            <ac:cxnSpMk id="696" creationId="{763449B1-C9C9-14E7-76AC-00B41EEC1666}"/>
          </ac:cxnSpMkLst>
        </pc:cxnChg>
        <pc:cxnChg chg="ord replST">
          <ac:chgData name="Bullinger, Marvin" userId="5b54ce5a-dc89-476f-af33-5abd75d5b1e8" providerId="ADAL" clId="{43B71669-8A80-4333-9349-B258A9296B49}" dt="2024-02-27T17:27:38.239" v="7680"/>
          <ac:cxnSpMkLst>
            <pc:docMk/>
            <pc:sldMk cId="2423218208" sldId="583"/>
            <ac:cxnSpMk id="699" creationId="{8D9A4646-1647-7326-D147-100110EA3A97}"/>
          </ac:cxnSpMkLst>
        </pc:cxnChg>
        <pc:cxnChg chg="ord replST">
          <ac:chgData name="Bullinger, Marvin" userId="5b54ce5a-dc89-476f-af33-5abd75d5b1e8" providerId="ADAL" clId="{43B71669-8A80-4333-9349-B258A9296B49}" dt="2024-02-27T17:27:38.241" v="7681"/>
          <ac:cxnSpMkLst>
            <pc:docMk/>
            <pc:sldMk cId="2423218208" sldId="583"/>
            <ac:cxnSpMk id="702" creationId="{4A398CCE-48B4-511B-1AFF-8A27DC3484E5}"/>
          </ac:cxnSpMkLst>
        </pc:cxnChg>
        <pc:cxnChg chg="ord replST">
          <ac:chgData name="Bullinger, Marvin" userId="5b54ce5a-dc89-476f-af33-5abd75d5b1e8" providerId="ADAL" clId="{43B71669-8A80-4333-9349-B258A9296B49}" dt="2024-02-27T17:27:38.241" v="7682"/>
          <ac:cxnSpMkLst>
            <pc:docMk/>
            <pc:sldMk cId="2423218208" sldId="583"/>
            <ac:cxnSpMk id="705" creationId="{89777E1B-055D-B308-E3F4-834872C2C677}"/>
          </ac:cxnSpMkLst>
        </pc:cxnChg>
        <pc:cxnChg chg="ord replST">
          <ac:chgData name="Bullinger, Marvin" userId="5b54ce5a-dc89-476f-af33-5abd75d5b1e8" providerId="ADAL" clId="{43B71669-8A80-4333-9349-B258A9296B49}" dt="2024-02-27T17:27:38.241" v="7683"/>
          <ac:cxnSpMkLst>
            <pc:docMk/>
            <pc:sldMk cId="2423218208" sldId="583"/>
            <ac:cxnSpMk id="708" creationId="{459121BA-952D-6952-2D9A-55BD677910D8}"/>
          </ac:cxnSpMkLst>
        </pc:cxnChg>
        <pc:cxnChg chg="ord replST">
          <ac:chgData name="Bullinger, Marvin" userId="5b54ce5a-dc89-476f-af33-5abd75d5b1e8" providerId="ADAL" clId="{43B71669-8A80-4333-9349-B258A9296B49}" dt="2024-02-27T17:27:38.241" v="7685"/>
          <ac:cxnSpMkLst>
            <pc:docMk/>
            <pc:sldMk cId="2423218208" sldId="583"/>
            <ac:cxnSpMk id="714" creationId="{ECB126E3-6BFD-1FFB-3611-9B6DDD24E00B}"/>
          </ac:cxnSpMkLst>
        </pc:cxnChg>
        <pc:cxnChg chg="ord replST">
          <ac:chgData name="Bullinger, Marvin" userId="5b54ce5a-dc89-476f-af33-5abd75d5b1e8" providerId="ADAL" clId="{43B71669-8A80-4333-9349-B258A9296B49}" dt="2024-02-27T17:27:38.241" v="7686"/>
          <ac:cxnSpMkLst>
            <pc:docMk/>
            <pc:sldMk cId="2423218208" sldId="583"/>
            <ac:cxnSpMk id="715" creationId="{CE4F2228-6BED-AB1E-E257-5C53F8111117}"/>
          </ac:cxnSpMkLst>
        </pc:cxnChg>
      </pc:sldChg>
      <pc:sldChg chg="addSp delSp modSp add del mod ord">
        <pc:chgData name="Bullinger, Marvin" userId="5b54ce5a-dc89-476f-af33-5abd75d5b1e8" providerId="ADAL" clId="{43B71669-8A80-4333-9349-B258A9296B49}" dt="2024-02-27T17:30:37.635" v="7806" actId="478"/>
        <pc:sldMkLst>
          <pc:docMk/>
          <pc:sldMk cId="1339647628" sldId="586"/>
        </pc:sldMkLst>
        <pc:spChg chg="del mod">
          <ac:chgData name="Bullinger, Marvin" userId="5b54ce5a-dc89-476f-af33-5abd75d5b1e8" providerId="ADAL" clId="{43B71669-8A80-4333-9349-B258A9296B49}" dt="2024-02-27T17:30:37.635" v="7806" actId="478"/>
          <ac:spMkLst>
            <pc:docMk/>
            <pc:sldMk cId="1339647628" sldId="586"/>
            <ac:spMk id="26" creationId="{00B8A300-60DB-267D-19C1-BDD4F67EF58F}"/>
          </ac:spMkLst>
        </pc:spChg>
        <pc:spChg chg="mod">
          <ac:chgData name="Bullinger, Marvin" userId="5b54ce5a-dc89-476f-af33-5abd75d5b1e8" providerId="ADAL" clId="{43B71669-8A80-4333-9349-B258A9296B49}" dt="2024-02-27T16:53:49.050" v="3382"/>
          <ac:spMkLst>
            <pc:docMk/>
            <pc:sldMk cId="1339647628" sldId="586"/>
            <ac:spMk id="27" creationId="{3BB66AA5-4B7C-2F44-5823-118EA5A5E1CD}"/>
          </ac:spMkLst>
        </pc:spChg>
        <pc:spChg chg="del">
          <ac:chgData name="Bullinger, Marvin" userId="5b54ce5a-dc89-476f-af33-5abd75d5b1e8" providerId="ADAL" clId="{43B71669-8A80-4333-9349-B258A9296B49}" dt="2024-02-27T16:45:49.905" v="293" actId="478"/>
          <ac:spMkLst>
            <pc:docMk/>
            <pc:sldMk cId="1339647628" sldId="586"/>
            <ac:spMk id="162" creationId="{F2CDBE2A-8B8E-0CB6-32F5-E496964FEFD8}"/>
          </ac:spMkLst>
        </pc:spChg>
        <pc:spChg chg="add mod">
          <ac:chgData name="Bullinger, Marvin" userId="5b54ce5a-dc89-476f-af33-5abd75d5b1e8" providerId="ADAL" clId="{43B71669-8A80-4333-9349-B258A9296B49}" dt="2024-02-27T16:45:49.905" v="293" actId="478"/>
          <ac:spMkLst>
            <pc:docMk/>
            <pc:sldMk cId="1339647628" sldId="586"/>
            <ac:spMk id="171" creationId="{897100AC-7BAC-D199-740C-065322300D60}"/>
          </ac:spMkLst>
        </pc:spChg>
        <pc:spChg chg="del mod ord replST">
          <ac:chgData name="Bullinger, Marvin" userId="5b54ce5a-dc89-476f-af33-5abd75d5b1e8" providerId="ADAL" clId="{43B71669-8A80-4333-9349-B258A9296B49}" dt="2024-02-27T16:46:20.172" v="1071" actId="478"/>
          <ac:spMkLst>
            <pc:docMk/>
            <pc:sldMk cId="1339647628" sldId="586"/>
            <ac:spMk id="172" creationId="{69C1BEC5-DAD5-FE6F-9A89-E18F99139421}"/>
          </ac:spMkLst>
        </pc:spChg>
        <pc:spChg chg="del">
          <ac:chgData name="Bullinger, Marvin" userId="5b54ce5a-dc89-476f-af33-5abd75d5b1e8" providerId="ADAL" clId="{43B71669-8A80-4333-9349-B258A9296B49}" dt="2024-02-27T16:45:49.944" v="329" actId="478"/>
          <ac:spMkLst>
            <pc:docMk/>
            <pc:sldMk cId="1339647628" sldId="586"/>
            <ac:spMk id="173" creationId="{E72333E7-CDC4-C98F-517C-B753BA6262A4}"/>
          </ac:spMkLst>
        </pc:spChg>
        <pc:spChg chg="del">
          <ac:chgData name="Bullinger, Marvin" userId="5b54ce5a-dc89-476f-af33-5abd75d5b1e8" providerId="ADAL" clId="{43B71669-8A80-4333-9349-B258A9296B49}" dt="2024-02-27T16:45:49.943" v="328" actId="478"/>
          <ac:spMkLst>
            <pc:docMk/>
            <pc:sldMk cId="1339647628" sldId="586"/>
            <ac:spMk id="174" creationId="{EFA31BF7-6373-2128-DB3C-853F2230D9A4}"/>
          </ac:spMkLst>
        </pc:spChg>
        <pc:spChg chg="del">
          <ac:chgData name="Bullinger, Marvin" userId="5b54ce5a-dc89-476f-af33-5abd75d5b1e8" providerId="ADAL" clId="{43B71669-8A80-4333-9349-B258A9296B49}" dt="2024-02-27T16:45:49.943" v="327" actId="478"/>
          <ac:spMkLst>
            <pc:docMk/>
            <pc:sldMk cId="1339647628" sldId="586"/>
            <ac:spMk id="175" creationId="{575AF5CA-F4C9-3551-300A-743A195C8905}"/>
          </ac:spMkLst>
        </pc:spChg>
        <pc:spChg chg="del">
          <ac:chgData name="Bullinger, Marvin" userId="5b54ce5a-dc89-476f-af33-5abd75d5b1e8" providerId="ADAL" clId="{43B71669-8A80-4333-9349-B258A9296B49}" dt="2024-02-27T16:45:49.943" v="326" actId="478"/>
          <ac:spMkLst>
            <pc:docMk/>
            <pc:sldMk cId="1339647628" sldId="586"/>
            <ac:spMk id="176" creationId="{F4E4205F-B9CB-48FA-C802-2888B04ED82B}"/>
          </ac:spMkLst>
        </pc:spChg>
        <pc:spChg chg="del">
          <ac:chgData name="Bullinger, Marvin" userId="5b54ce5a-dc89-476f-af33-5abd75d5b1e8" providerId="ADAL" clId="{43B71669-8A80-4333-9349-B258A9296B49}" dt="2024-02-27T16:45:49.942" v="325" actId="478"/>
          <ac:spMkLst>
            <pc:docMk/>
            <pc:sldMk cId="1339647628" sldId="586"/>
            <ac:spMk id="177" creationId="{A4045DF9-B34A-E8C5-22FE-CB1067E2BA7B}"/>
          </ac:spMkLst>
        </pc:spChg>
        <pc:spChg chg="del">
          <ac:chgData name="Bullinger, Marvin" userId="5b54ce5a-dc89-476f-af33-5abd75d5b1e8" providerId="ADAL" clId="{43B71669-8A80-4333-9349-B258A9296B49}" dt="2024-02-27T16:45:49.942" v="324" actId="478"/>
          <ac:spMkLst>
            <pc:docMk/>
            <pc:sldMk cId="1339647628" sldId="586"/>
            <ac:spMk id="178" creationId="{DB0AE28D-E339-CE0B-3D81-EB5052438D46}"/>
          </ac:spMkLst>
        </pc:spChg>
        <pc:spChg chg="del">
          <ac:chgData name="Bullinger, Marvin" userId="5b54ce5a-dc89-476f-af33-5abd75d5b1e8" providerId="ADAL" clId="{43B71669-8A80-4333-9349-B258A9296B49}" dt="2024-02-27T16:45:49.941" v="321" actId="478"/>
          <ac:spMkLst>
            <pc:docMk/>
            <pc:sldMk cId="1339647628" sldId="586"/>
            <ac:spMk id="179" creationId="{E1693E0F-BFA6-A278-6184-FACB2B8CFD18}"/>
          </ac:spMkLst>
        </pc:spChg>
        <pc:spChg chg="del">
          <ac:chgData name="Bullinger, Marvin" userId="5b54ce5a-dc89-476f-af33-5abd75d5b1e8" providerId="ADAL" clId="{43B71669-8A80-4333-9349-B258A9296B49}" dt="2024-02-27T16:45:49.940" v="320" actId="478"/>
          <ac:spMkLst>
            <pc:docMk/>
            <pc:sldMk cId="1339647628" sldId="586"/>
            <ac:spMk id="180" creationId="{5EC77182-FA99-1BE3-59DF-67F4AD32FBC0}"/>
          </ac:spMkLst>
        </pc:spChg>
        <pc:spChg chg="del">
          <ac:chgData name="Bullinger, Marvin" userId="5b54ce5a-dc89-476f-af33-5abd75d5b1e8" providerId="ADAL" clId="{43B71669-8A80-4333-9349-B258A9296B49}" dt="2024-02-27T16:45:49.940" v="319" actId="478"/>
          <ac:spMkLst>
            <pc:docMk/>
            <pc:sldMk cId="1339647628" sldId="586"/>
            <ac:spMk id="181" creationId="{156E07D9-1135-309A-2DBC-F095DDF683CB}"/>
          </ac:spMkLst>
        </pc:spChg>
        <pc:spChg chg="del">
          <ac:chgData name="Bullinger, Marvin" userId="5b54ce5a-dc89-476f-af33-5abd75d5b1e8" providerId="ADAL" clId="{43B71669-8A80-4333-9349-B258A9296B49}" dt="2024-02-27T16:45:49.939" v="318" actId="478"/>
          <ac:spMkLst>
            <pc:docMk/>
            <pc:sldMk cId="1339647628" sldId="586"/>
            <ac:spMk id="182" creationId="{98C5BD56-44D0-BB2E-01EF-51F68C5F054F}"/>
          </ac:spMkLst>
        </pc:spChg>
        <pc:spChg chg="del">
          <ac:chgData name="Bullinger, Marvin" userId="5b54ce5a-dc89-476f-af33-5abd75d5b1e8" providerId="ADAL" clId="{43B71669-8A80-4333-9349-B258A9296B49}" dt="2024-02-27T16:45:49.939" v="317" actId="478"/>
          <ac:spMkLst>
            <pc:docMk/>
            <pc:sldMk cId="1339647628" sldId="586"/>
            <ac:spMk id="183" creationId="{FEA1F68D-A8A1-88F9-555F-2DCC46CD9F34}"/>
          </ac:spMkLst>
        </pc:spChg>
        <pc:spChg chg="del">
          <ac:chgData name="Bullinger, Marvin" userId="5b54ce5a-dc89-476f-af33-5abd75d5b1e8" providerId="ADAL" clId="{43B71669-8A80-4333-9349-B258A9296B49}" dt="2024-02-27T16:45:49.939" v="316" actId="478"/>
          <ac:spMkLst>
            <pc:docMk/>
            <pc:sldMk cId="1339647628" sldId="586"/>
            <ac:spMk id="184" creationId="{8DACA430-4C97-FDE0-F029-808E92942CC5}"/>
          </ac:spMkLst>
        </pc:spChg>
        <pc:spChg chg="del">
          <ac:chgData name="Bullinger, Marvin" userId="5b54ce5a-dc89-476f-af33-5abd75d5b1e8" providerId="ADAL" clId="{43B71669-8A80-4333-9349-B258A9296B49}" dt="2024-02-27T16:45:49.947" v="337" actId="478"/>
          <ac:spMkLst>
            <pc:docMk/>
            <pc:sldMk cId="1339647628" sldId="586"/>
            <ac:spMk id="185" creationId="{4545F277-9E09-267E-89B1-ADE177E3C39D}"/>
          </ac:spMkLst>
        </pc:spChg>
        <pc:spChg chg="del">
          <ac:chgData name="Bullinger, Marvin" userId="5b54ce5a-dc89-476f-af33-5abd75d5b1e8" providerId="ADAL" clId="{43B71669-8A80-4333-9349-B258A9296B49}" dt="2024-02-27T16:45:49.947" v="336" actId="478"/>
          <ac:spMkLst>
            <pc:docMk/>
            <pc:sldMk cId="1339647628" sldId="586"/>
            <ac:spMk id="186" creationId="{20F2FF23-3B28-B4A6-5464-C5F090BA1F94}"/>
          </ac:spMkLst>
        </pc:spChg>
        <pc:spChg chg="del">
          <ac:chgData name="Bullinger, Marvin" userId="5b54ce5a-dc89-476f-af33-5abd75d5b1e8" providerId="ADAL" clId="{43B71669-8A80-4333-9349-B258A9296B49}" dt="2024-02-27T16:45:49.946" v="335" actId="478"/>
          <ac:spMkLst>
            <pc:docMk/>
            <pc:sldMk cId="1339647628" sldId="586"/>
            <ac:spMk id="187" creationId="{BEA5FD98-3C25-8618-000B-EA055E5BC707}"/>
          </ac:spMkLst>
        </pc:spChg>
        <pc:spChg chg="del">
          <ac:chgData name="Bullinger, Marvin" userId="5b54ce5a-dc89-476f-af33-5abd75d5b1e8" providerId="ADAL" clId="{43B71669-8A80-4333-9349-B258A9296B49}" dt="2024-02-27T16:45:49.946" v="334" actId="478"/>
          <ac:spMkLst>
            <pc:docMk/>
            <pc:sldMk cId="1339647628" sldId="586"/>
            <ac:spMk id="188" creationId="{F473B97A-A4C9-7658-8F7C-FD9B732F13AD}"/>
          </ac:spMkLst>
        </pc:spChg>
        <pc:spChg chg="del">
          <ac:chgData name="Bullinger, Marvin" userId="5b54ce5a-dc89-476f-af33-5abd75d5b1e8" providerId="ADAL" clId="{43B71669-8A80-4333-9349-B258A9296B49}" dt="2024-02-27T16:45:49.945" v="333" actId="478"/>
          <ac:spMkLst>
            <pc:docMk/>
            <pc:sldMk cId="1339647628" sldId="586"/>
            <ac:spMk id="189" creationId="{84084E0F-76FE-4D5B-816A-F3283AB3E758}"/>
          </ac:spMkLst>
        </pc:spChg>
        <pc:spChg chg="del">
          <ac:chgData name="Bullinger, Marvin" userId="5b54ce5a-dc89-476f-af33-5abd75d5b1e8" providerId="ADAL" clId="{43B71669-8A80-4333-9349-B258A9296B49}" dt="2024-02-27T16:45:49.945" v="332" actId="478"/>
          <ac:spMkLst>
            <pc:docMk/>
            <pc:sldMk cId="1339647628" sldId="586"/>
            <ac:spMk id="190" creationId="{13047BD9-21AB-8FB0-02A2-D799AADB4A65}"/>
          </ac:spMkLst>
        </pc:spChg>
        <pc:spChg chg="del">
          <ac:chgData name="Bullinger, Marvin" userId="5b54ce5a-dc89-476f-af33-5abd75d5b1e8" providerId="ADAL" clId="{43B71669-8A80-4333-9349-B258A9296B49}" dt="2024-02-27T16:45:49.945" v="331" actId="478"/>
          <ac:spMkLst>
            <pc:docMk/>
            <pc:sldMk cId="1339647628" sldId="586"/>
            <ac:spMk id="191" creationId="{436B1DA6-FC3F-4503-49F5-DC62B6AD099F}"/>
          </ac:spMkLst>
        </pc:spChg>
        <pc:spChg chg="del">
          <ac:chgData name="Bullinger, Marvin" userId="5b54ce5a-dc89-476f-af33-5abd75d5b1e8" providerId="ADAL" clId="{43B71669-8A80-4333-9349-B258A9296B49}" dt="2024-02-27T16:45:49.944" v="330" actId="478"/>
          <ac:spMkLst>
            <pc:docMk/>
            <pc:sldMk cId="1339647628" sldId="586"/>
            <ac:spMk id="192" creationId="{5BC05F97-736F-C3B3-6EA3-BD64C299EB80}"/>
          </ac:spMkLst>
        </pc:spChg>
        <pc:spChg chg="del">
          <ac:chgData name="Bullinger, Marvin" userId="5b54ce5a-dc89-476f-af33-5abd75d5b1e8" providerId="ADAL" clId="{43B71669-8A80-4333-9349-B258A9296B49}" dt="2024-02-27T16:45:49.941" v="322" actId="478"/>
          <ac:spMkLst>
            <pc:docMk/>
            <pc:sldMk cId="1339647628" sldId="586"/>
            <ac:spMk id="193" creationId="{60A59186-CEB5-E237-E82A-74859A492E5A}"/>
          </ac:spMkLst>
        </pc:spChg>
        <pc:spChg chg="del">
          <ac:chgData name="Bullinger, Marvin" userId="5b54ce5a-dc89-476f-af33-5abd75d5b1e8" providerId="ADAL" clId="{43B71669-8A80-4333-9349-B258A9296B49}" dt="2024-02-27T16:45:49.938" v="315" actId="478"/>
          <ac:spMkLst>
            <pc:docMk/>
            <pc:sldMk cId="1339647628" sldId="586"/>
            <ac:spMk id="194" creationId="{91D19F5F-8C53-533F-B739-4C60C1DF3BD6}"/>
          </ac:spMkLst>
        </pc:spChg>
        <pc:spChg chg="del">
          <ac:chgData name="Bullinger, Marvin" userId="5b54ce5a-dc89-476f-af33-5abd75d5b1e8" providerId="ADAL" clId="{43B71669-8A80-4333-9349-B258A9296B49}" dt="2024-02-27T16:45:49.941" v="323" actId="478"/>
          <ac:spMkLst>
            <pc:docMk/>
            <pc:sldMk cId="1339647628" sldId="586"/>
            <ac:spMk id="195" creationId="{772DF570-E29C-CEAC-6553-C4FF69E3483E}"/>
          </ac:spMkLst>
        </pc:spChg>
        <pc:spChg chg="del">
          <ac:chgData name="Bullinger, Marvin" userId="5b54ce5a-dc89-476f-af33-5abd75d5b1e8" providerId="ADAL" clId="{43B71669-8A80-4333-9349-B258A9296B49}" dt="2024-02-27T16:45:49.938" v="314" actId="478"/>
          <ac:spMkLst>
            <pc:docMk/>
            <pc:sldMk cId="1339647628" sldId="586"/>
            <ac:spMk id="196" creationId="{7CA518BB-F055-F0BD-25BB-485241D1DA12}"/>
          </ac:spMkLst>
        </pc:spChg>
        <pc:spChg chg="del">
          <ac:chgData name="Bullinger, Marvin" userId="5b54ce5a-dc89-476f-af33-5abd75d5b1e8" providerId="ADAL" clId="{43B71669-8A80-4333-9349-B258A9296B49}" dt="2024-02-27T16:45:49.937" v="313" actId="478"/>
          <ac:spMkLst>
            <pc:docMk/>
            <pc:sldMk cId="1339647628" sldId="586"/>
            <ac:spMk id="197" creationId="{30BD5420-A063-9973-5258-60B38F786225}"/>
          </ac:spMkLst>
        </pc:spChg>
        <pc:spChg chg="del">
          <ac:chgData name="Bullinger, Marvin" userId="5b54ce5a-dc89-476f-af33-5abd75d5b1e8" providerId="ADAL" clId="{43B71669-8A80-4333-9349-B258A9296B49}" dt="2024-02-27T16:45:49.937" v="312" actId="478"/>
          <ac:spMkLst>
            <pc:docMk/>
            <pc:sldMk cId="1339647628" sldId="586"/>
            <ac:spMk id="198" creationId="{205B60B6-3FEA-F896-53CA-83A47701ABD0}"/>
          </ac:spMkLst>
        </pc:spChg>
        <pc:spChg chg="del">
          <ac:chgData name="Bullinger, Marvin" userId="5b54ce5a-dc89-476f-af33-5abd75d5b1e8" providerId="ADAL" clId="{43B71669-8A80-4333-9349-B258A9296B49}" dt="2024-02-27T16:45:49.936" v="311" actId="478"/>
          <ac:spMkLst>
            <pc:docMk/>
            <pc:sldMk cId="1339647628" sldId="586"/>
            <ac:spMk id="199" creationId="{96AC8887-E3B9-6647-53AA-0FBDA36E3AB7}"/>
          </ac:spMkLst>
        </pc:spChg>
        <pc:spChg chg="del">
          <ac:chgData name="Bullinger, Marvin" userId="5b54ce5a-dc89-476f-af33-5abd75d5b1e8" providerId="ADAL" clId="{43B71669-8A80-4333-9349-B258A9296B49}" dt="2024-02-27T16:45:49.936" v="310" actId="478"/>
          <ac:spMkLst>
            <pc:docMk/>
            <pc:sldMk cId="1339647628" sldId="586"/>
            <ac:spMk id="219" creationId="{F508E784-93E6-435F-4163-D8D1BB9C0051}"/>
          </ac:spMkLst>
        </pc:spChg>
        <pc:spChg chg="del">
          <ac:chgData name="Bullinger, Marvin" userId="5b54ce5a-dc89-476f-af33-5abd75d5b1e8" providerId="ADAL" clId="{43B71669-8A80-4333-9349-B258A9296B49}" dt="2024-02-27T16:45:49.935" v="309" actId="478"/>
          <ac:spMkLst>
            <pc:docMk/>
            <pc:sldMk cId="1339647628" sldId="586"/>
            <ac:spMk id="220" creationId="{E0A5994E-C4A9-AA43-9E3F-90C14E1BE0F1}"/>
          </ac:spMkLst>
        </pc:spChg>
        <pc:spChg chg="del">
          <ac:chgData name="Bullinger, Marvin" userId="5b54ce5a-dc89-476f-af33-5abd75d5b1e8" providerId="ADAL" clId="{43B71669-8A80-4333-9349-B258A9296B49}" dt="2024-02-27T16:45:49.935" v="308" actId="478"/>
          <ac:spMkLst>
            <pc:docMk/>
            <pc:sldMk cId="1339647628" sldId="586"/>
            <ac:spMk id="221" creationId="{F91FD8A4-FEEC-6807-806F-D83B97CF68B0}"/>
          </ac:spMkLst>
        </pc:spChg>
        <pc:spChg chg="del">
          <ac:chgData name="Bullinger, Marvin" userId="5b54ce5a-dc89-476f-af33-5abd75d5b1e8" providerId="ADAL" clId="{43B71669-8A80-4333-9349-B258A9296B49}" dt="2024-02-27T16:45:49.935" v="307" actId="478"/>
          <ac:spMkLst>
            <pc:docMk/>
            <pc:sldMk cId="1339647628" sldId="586"/>
            <ac:spMk id="222" creationId="{09744B4C-90C0-0676-828A-18AE8CECA74F}"/>
          </ac:spMkLst>
        </pc:spChg>
        <pc:spChg chg="del">
          <ac:chgData name="Bullinger, Marvin" userId="5b54ce5a-dc89-476f-af33-5abd75d5b1e8" providerId="ADAL" clId="{43B71669-8A80-4333-9349-B258A9296B49}" dt="2024-02-27T16:45:49.934" v="306" actId="478"/>
          <ac:spMkLst>
            <pc:docMk/>
            <pc:sldMk cId="1339647628" sldId="586"/>
            <ac:spMk id="223" creationId="{4BBABFE1-1E90-8404-7AA0-92CA4EFEDB63}"/>
          </ac:spMkLst>
        </pc:spChg>
        <pc:spChg chg="del">
          <ac:chgData name="Bullinger, Marvin" userId="5b54ce5a-dc89-476f-af33-5abd75d5b1e8" providerId="ADAL" clId="{43B71669-8A80-4333-9349-B258A9296B49}" dt="2024-02-27T16:45:49.934" v="305" actId="478"/>
          <ac:spMkLst>
            <pc:docMk/>
            <pc:sldMk cId="1339647628" sldId="586"/>
            <ac:spMk id="224" creationId="{301F586D-F31E-0C34-6A99-5808954346E2}"/>
          </ac:spMkLst>
        </pc:spChg>
        <pc:spChg chg="del">
          <ac:chgData name="Bullinger, Marvin" userId="5b54ce5a-dc89-476f-af33-5abd75d5b1e8" providerId="ADAL" clId="{43B71669-8A80-4333-9349-B258A9296B49}" dt="2024-02-27T16:45:49.934" v="304" actId="478"/>
          <ac:spMkLst>
            <pc:docMk/>
            <pc:sldMk cId="1339647628" sldId="586"/>
            <ac:spMk id="225" creationId="{3FF94FC0-21B4-EB24-09D9-9102B537C5EA}"/>
          </ac:spMkLst>
        </pc:spChg>
        <pc:spChg chg="del">
          <ac:chgData name="Bullinger, Marvin" userId="5b54ce5a-dc89-476f-af33-5abd75d5b1e8" providerId="ADAL" clId="{43B71669-8A80-4333-9349-B258A9296B49}" dt="2024-02-27T16:45:49.932" v="303" actId="478"/>
          <ac:spMkLst>
            <pc:docMk/>
            <pc:sldMk cId="1339647628" sldId="586"/>
            <ac:spMk id="226" creationId="{E1D6A4AF-0981-9554-73F1-2F9645E6CD50}"/>
          </ac:spMkLst>
        </pc:spChg>
        <pc:spChg chg="del">
          <ac:chgData name="Bullinger, Marvin" userId="5b54ce5a-dc89-476f-af33-5abd75d5b1e8" providerId="ADAL" clId="{43B71669-8A80-4333-9349-B258A9296B49}" dt="2024-02-27T16:45:49.932" v="302" actId="478"/>
          <ac:spMkLst>
            <pc:docMk/>
            <pc:sldMk cId="1339647628" sldId="586"/>
            <ac:spMk id="227" creationId="{0C57C021-4CBD-B02F-87CC-16751FF6451D}"/>
          </ac:spMkLst>
        </pc:spChg>
        <pc:spChg chg="del">
          <ac:chgData name="Bullinger, Marvin" userId="5b54ce5a-dc89-476f-af33-5abd75d5b1e8" providerId="ADAL" clId="{43B71669-8A80-4333-9349-B258A9296B49}" dt="2024-02-27T16:45:49.931" v="301" actId="478"/>
          <ac:spMkLst>
            <pc:docMk/>
            <pc:sldMk cId="1339647628" sldId="586"/>
            <ac:spMk id="228" creationId="{8B77BC2D-70E4-A89C-FEEC-14543D65DA63}"/>
          </ac:spMkLst>
        </pc:spChg>
        <pc:spChg chg="replST">
          <ac:chgData name="Bullinger, Marvin" userId="5b54ce5a-dc89-476f-af33-5abd75d5b1e8" providerId="ADAL" clId="{43B71669-8A80-4333-9349-B258A9296B49}" dt="2024-02-27T16:45:50.175" v="611"/>
          <ac:spMkLst>
            <pc:docMk/>
            <pc:sldMk cId="1339647628" sldId="586"/>
            <ac:spMk id="229" creationId="{E6D1DA9B-0282-9E3B-28DA-C29BFD0F194C}"/>
          </ac:spMkLst>
        </pc:spChg>
        <pc:spChg chg="replST">
          <ac:chgData name="Bullinger, Marvin" userId="5b54ce5a-dc89-476f-af33-5abd75d5b1e8" providerId="ADAL" clId="{43B71669-8A80-4333-9349-B258A9296B49}" dt="2024-02-27T16:45:50.175" v="614"/>
          <ac:spMkLst>
            <pc:docMk/>
            <pc:sldMk cId="1339647628" sldId="586"/>
            <ac:spMk id="230" creationId="{7216A524-4162-63DF-F96A-40D95A6B626F}"/>
          </ac:spMkLst>
        </pc:spChg>
        <pc:spChg chg="replST">
          <ac:chgData name="Bullinger, Marvin" userId="5b54ce5a-dc89-476f-af33-5abd75d5b1e8" providerId="ADAL" clId="{43B71669-8A80-4333-9349-B258A9296B49}" dt="2024-02-27T16:45:50.190" v="618"/>
          <ac:spMkLst>
            <pc:docMk/>
            <pc:sldMk cId="1339647628" sldId="586"/>
            <ac:spMk id="232" creationId="{26A1840A-FDD0-AEBC-5DA4-D6E70CF5BC50}"/>
          </ac:spMkLst>
        </pc:spChg>
        <pc:spChg chg="replST">
          <ac:chgData name="Bullinger, Marvin" userId="5b54ce5a-dc89-476f-af33-5abd75d5b1e8" providerId="ADAL" clId="{43B71669-8A80-4333-9349-B258A9296B49}" dt="2024-02-27T16:45:50.190" v="621"/>
          <ac:spMkLst>
            <pc:docMk/>
            <pc:sldMk cId="1339647628" sldId="586"/>
            <ac:spMk id="233" creationId="{DBC0BFC5-64CD-B7E2-89D9-4ED3C90A9386}"/>
          </ac:spMkLst>
        </pc:spChg>
        <pc:spChg chg="replST">
          <ac:chgData name="Bullinger, Marvin" userId="5b54ce5a-dc89-476f-af33-5abd75d5b1e8" providerId="ADAL" clId="{43B71669-8A80-4333-9349-B258A9296B49}" dt="2024-02-27T16:45:50.190" v="625"/>
          <ac:spMkLst>
            <pc:docMk/>
            <pc:sldMk cId="1339647628" sldId="586"/>
            <ac:spMk id="235" creationId="{276EE81D-7406-37A5-50E5-28E5DD530C84}"/>
          </ac:spMkLst>
        </pc:spChg>
        <pc:spChg chg="replST">
          <ac:chgData name="Bullinger, Marvin" userId="5b54ce5a-dc89-476f-af33-5abd75d5b1e8" providerId="ADAL" clId="{43B71669-8A80-4333-9349-B258A9296B49}" dt="2024-02-27T16:45:50.190" v="628"/>
          <ac:spMkLst>
            <pc:docMk/>
            <pc:sldMk cId="1339647628" sldId="586"/>
            <ac:spMk id="236" creationId="{092F0BF3-CE1D-B8F4-2F58-D957230EAB4E}"/>
          </ac:spMkLst>
        </pc:spChg>
        <pc:spChg chg="replST">
          <ac:chgData name="Bullinger, Marvin" userId="5b54ce5a-dc89-476f-af33-5abd75d5b1e8" providerId="ADAL" clId="{43B71669-8A80-4333-9349-B258A9296B49}" dt="2024-02-27T16:45:50.206" v="632"/>
          <ac:spMkLst>
            <pc:docMk/>
            <pc:sldMk cId="1339647628" sldId="586"/>
            <ac:spMk id="238" creationId="{051CE7CF-61CC-2669-8076-C79DC7F13C7E}"/>
          </ac:spMkLst>
        </pc:spChg>
        <pc:spChg chg="replST">
          <ac:chgData name="Bullinger, Marvin" userId="5b54ce5a-dc89-476f-af33-5abd75d5b1e8" providerId="ADAL" clId="{43B71669-8A80-4333-9349-B258A9296B49}" dt="2024-02-27T16:45:50.206" v="635"/>
          <ac:spMkLst>
            <pc:docMk/>
            <pc:sldMk cId="1339647628" sldId="586"/>
            <ac:spMk id="239" creationId="{505E800F-37D2-2982-C930-26C36E083C5F}"/>
          </ac:spMkLst>
        </pc:spChg>
        <pc:spChg chg="replST">
          <ac:chgData name="Bullinger, Marvin" userId="5b54ce5a-dc89-476f-af33-5abd75d5b1e8" providerId="ADAL" clId="{43B71669-8A80-4333-9349-B258A9296B49}" dt="2024-02-27T16:45:50.206" v="639"/>
          <ac:spMkLst>
            <pc:docMk/>
            <pc:sldMk cId="1339647628" sldId="586"/>
            <ac:spMk id="241" creationId="{D7308654-EA6E-0B3F-1C30-FDCE9ABF6E8E}"/>
          </ac:spMkLst>
        </pc:spChg>
        <pc:spChg chg="replST">
          <ac:chgData name="Bullinger, Marvin" userId="5b54ce5a-dc89-476f-af33-5abd75d5b1e8" providerId="ADAL" clId="{43B71669-8A80-4333-9349-B258A9296B49}" dt="2024-02-27T16:45:50.206" v="642"/>
          <ac:spMkLst>
            <pc:docMk/>
            <pc:sldMk cId="1339647628" sldId="586"/>
            <ac:spMk id="242" creationId="{BA3BCB17-8B4E-4D33-1139-39D49011AE79}"/>
          </ac:spMkLst>
        </pc:spChg>
        <pc:spChg chg="replST">
          <ac:chgData name="Bullinger, Marvin" userId="5b54ce5a-dc89-476f-af33-5abd75d5b1e8" providerId="ADAL" clId="{43B71669-8A80-4333-9349-B258A9296B49}" dt="2024-02-27T16:45:50.222" v="646"/>
          <ac:spMkLst>
            <pc:docMk/>
            <pc:sldMk cId="1339647628" sldId="586"/>
            <ac:spMk id="244" creationId="{0474E02C-BB69-F17F-C74C-EF4BA63AC438}"/>
          </ac:spMkLst>
        </pc:spChg>
        <pc:spChg chg="replST">
          <ac:chgData name="Bullinger, Marvin" userId="5b54ce5a-dc89-476f-af33-5abd75d5b1e8" providerId="ADAL" clId="{43B71669-8A80-4333-9349-B258A9296B49}" dt="2024-02-27T16:45:50.228" v="649"/>
          <ac:spMkLst>
            <pc:docMk/>
            <pc:sldMk cId="1339647628" sldId="586"/>
            <ac:spMk id="245" creationId="{93750316-D671-B68D-48AB-7C3DB606EA16}"/>
          </ac:spMkLst>
        </pc:spChg>
        <pc:spChg chg="add mod">
          <ac:chgData name="Bullinger, Marvin" userId="5b54ce5a-dc89-476f-af33-5abd75d5b1e8" providerId="ADAL" clId="{43B71669-8A80-4333-9349-B258A9296B49}" dt="2024-02-27T17:21:07.126" v="3448" actId="478"/>
          <ac:spMkLst>
            <pc:docMk/>
            <pc:sldMk cId="1339647628" sldId="586"/>
            <ac:spMk id="266" creationId="{FCBF8689-35E9-4E8A-B2A7-99C1379366B3}"/>
          </ac:spMkLst>
        </pc:spChg>
        <pc:spChg chg="del mod ord replST">
          <ac:chgData name="Bullinger, Marvin" userId="5b54ce5a-dc89-476f-af33-5abd75d5b1e8" providerId="ADAL" clId="{43B71669-8A80-4333-9349-B258A9296B49}" dt="2024-02-27T17:26:23.005" v="4406" actId="478"/>
          <ac:spMkLst>
            <pc:docMk/>
            <pc:sldMk cId="1339647628" sldId="586"/>
            <ac:spMk id="267" creationId="{D7D89F18-4132-01CC-49F3-B4B7CDE80942}"/>
          </ac:spMkLst>
        </pc:spChg>
        <pc:spChg chg="del">
          <ac:chgData name="Bullinger, Marvin" userId="5b54ce5a-dc89-476f-af33-5abd75d5b1e8" providerId="ADAL" clId="{43B71669-8A80-4333-9349-B258A9296B49}" dt="2024-02-27T17:21:07.177" v="3484" actId="478"/>
          <ac:spMkLst>
            <pc:docMk/>
            <pc:sldMk cId="1339647628" sldId="586"/>
            <ac:spMk id="268" creationId="{B2AD3A40-F98D-9691-72D5-BF0F29C59137}"/>
          </ac:spMkLst>
        </pc:spChg>
        <pc:spChg chg="del">
          <ac:chgData name="Bullinger, Marvin" userId="5b54ce5a-dc89-476f-af33-5abd75d5b1e8" providerId="ADAL" clId="{43B71669-8A80-4333-9349-B258A9296B49}" dt="2024-02-27T17:21:07.177" v="3483" actId="478"/>
          <ac:spMkLst>
            <pc:docMk/>
            <pc:sldMk cId="1339647628" sldId="586"/>
            <ac:spMk id="269" creationId="{F838B504-85BC-19B6-9259-95C3C239B127}"/>
          </ac:spMkLst>
        </pc:spChg>
        <pc:spChg chg="del">
          <ac:chgData name="Bullinger, Marvin" userId="5b54ce5a-dc89-476f-af33-5abd75d5b1e8" providerId="ADAL" clId="{43B71669-8A80-4333-9349-B258A9296B49}" dt="2024-02-27T17:21:07.177" v="3482" actId="478"/>
          <ac:spMkLst>
            <pc:docMk/>
            <pc:sldMk cId="1339647628" sldId="586"/>
            <ac:spMk id="270" creationId="{9DE7EE2C-60AE-0C46-AF48-302924A2DBA1}"/>
          </ac:spMkLst>
        </pc:spChg>
        <pc:spChg chg="del">
          <ac:chgData name="Bullinger, Marvin" userId="5b54ce5a-dc89-476f-af33-5abd75d5b1e8" providerId="ADAL" clId="{43B71669-8A80-4333-9349-B258A9296B49}" dt="2024-02-27T17:21:07.177" v="3481" actId="478"/>
          <ac:spMkLst>
            <pc:docMk/>
            <pc:sldMk cId="1339647628" sldId="586"/>
            <ac:spMk id="271" creationId="{E093EEB8-418A-6A8D-E4DA-F2CCB1ECE51E}"/>
          </ac:spMkLst>
        </pc:spChg>
        <pc:spChg chg="del">
          <ac:chgData name="Bullinger, Marvin" userId="5b54ce5a-dc89-476f-af33-5abd75d5b1e8" providerId="ADAL" clId="{43B71669-8A80-4333-9349-B258A9296B49}" dt="2024-02-27T17:21:07.177" v="3480" actId="478"/>
          <ac:spMkLst>
            <pc:docMk/>
            <pc:sldMk cId="1339647628" sldId="586"/>
            <ac:spMk id="272" creationId="{DE0436F3-53FB-6C3D-17C2-FEA0186EA71E}"/>
          </ac:spMkLst>
        </pc:spChg>
        <pc:spChg chg="del">
          <ac:chgData name="Bullinger, Marvin" userId="5b54ce5a-dc89-476f-af33-5abd75d5b1e8" providerId="ADAL" clId="{43B71669-8A80-4333-9349-B258A9296B49}" dt="2024-02-27T17:21:07.177" v="3479" actId="478"/>
          <ac:spMkLst>
            <pc:docMk/>
            <pc:sldMk cId="1339647628" sldId="586"/>
            <ac:spMk id="273" creationId="{AD8344F5-4CD6-F19A-96A2-338B856481E9}"/>
          </ac:spMkLst>
        </pc:spChg>
        <pc:spChg chg="del">
          <ac:chgData name="Bullinger, Marvin" userId="5b54ce5a-dc89-476f-af33-5abd75d5b1e8" providerId="ADAL" clId="{43B71669-8A80-4333-9349-B258A9296B49}" dt="2024-02-27T17:21:07.177" v="3476" actId="478"/>
          <ac:spMkLst>
            <pc:docMk/>
            <pc:sldMk cId="1339647628" sldId="586"/>
            <ac:spMk id="274" creationId="{1577E1F3-DA6D-C774-F778-4A51DFCD573A}"/>
          </ac:spMkLst>
        </pc:spChg>
        <pc:spChg chg="del">
          <ac:chgData name="Bullinger, Marvin" userId="5b54ce5a-dc89-476f-af33-5abd75d5b1e8" providerId="ADAL" clId="{43B71669-8A80-4333-9349-B258A9296B49}" dt="2024-02-27T17:21:07.177" v="3475" actId="478"/>
          <ac:spMkLst>
            <pc:docMk/>
            <pc:sldMk cId="1339647628" sldId="586"/>
            <ac:spMk id="275" creationId="{E4C7EADC-620F-E6E6-6888-F7821FD1EB61}"/>
          </ac:spMkLst>
        </pc:spChg>
        <pc:spChg chg="del">
          <ac:chgData name="Bullinger, Marvin" userId="5b54ce5a-dc89-476f-af33-5abd75d5b1e8" providerId="ADAL" clId="{43B71669-8A80-4333-9349-B258A9296B49}" dt="2024-02-27T17:21:07.177" v="3474" actId="478"/>
          <ac:spMkLst>
            <pc:docMk/>
            <pc:sldMk cId="1339647628" sldId="586"/>
            <ac:spMk id="276" creationId="{A20C5A88-CA74-C134-F28E-A303CD687E4D}"/>
          </ac:spMkLst>
        </pc:spChg>
        <pc:spChg chg="del">
          <ac:chgData name="Bullinger, Marvin" userId="5b54ce5a-dc89-476f-af33-5abd75d5b1e8" providerId="ADAL" clId="{43B71669-8A80-4333-9349-B258A9296B49}" dt="2024-02-27T17:21:07.177" v="3473" actId="478"/>
          <ac:spMkLst>
            <pc:docMk/>
            <pc:sldMk cId="1339647628" sldId="586"/>
            <ac:spMk id="277" creationId="{547E9858-5694-A90B-9943-4CE6CFFD9054}"/>
          </ac:spMkLst>
        </pc:spChg>
        <pc:spChg chg="del">
          <ac:chgData name="Bullinger, Marvin" userId="5b54ce5a-dc89-476f-af33-5abd75d5b1e8" providerId="ADAL" clId="{43B71669-8A80-4333-9349-B258A9296B49}" dt="2024-02-27T17:21:07.177" v="3472" actId="478"/>
          <ac:spMkLst>
            <pc:docMk/>
            <pc:sldMk cId="1339647628" sldId="586"/>
            <ac:spMk id="278" creationId="{8C5F6B7A-30CD-A80B-E5F2-5D51109BEDC5}"/>
          </ac:spMkLst>
        </pc:spChg>
        <pc:spChg chg="del">
          <ac:chgData name="Bullinger, Marvin" userId="5b54ce5a-dc89-476f-af33-5abd75d5b1e8" providerId="ADAL" clId="{43B71669-8A80-4333-9349-B258A9296B49}" dt="2024-02-27T17:21:07.177" v="3471" actId="478"/>
          <ac:spMkLst>
            <pc:docMk/>
            <pc:sldMk cId="1339647628" sldId="586"/>
            <ac:spMk id="279" creationId="{B28CE5B8-500E-7D3E-AA0F-CD141F55A69B}"/>
          </ac:spMkLst>
        </pc:spChg>
        <pc:spChg chg="del">
          <ac:chgData name="Bullinger, Marvin" userId="5b54ce5a-dc89-476f-af33-5abd75d5b1e8" providerId="ADAL" clId="{43B71669-8A80-4333-9349-B258A9296B49}" dt="2024-02-27T17:21:07.177" v="3492" actId="478"/>
          <ac:spMkLst>
            <pc:docMk/>
            <pc:sldMk cId="1339647628" sldId="586"/>
            <ac:spMk id="280" creationId="{4E30E1CB-1A92-0C77-D390-4BA81DC4FFD2}"/>
          </ac:spMkLst>
        </pc:spChg>
        <pc:spChg chg="del">
          <ac:chgData name="Bullinger, Marvin" userId="5b54ce5a-dc89-476f-af33-5abd75d5b1e8" providerId="ADAL" clId="{43B71669-8A80-4333-9349-B258A9296B49}" dt="2024-02-27T17:21:07.177" v="3491" actId="478"/>
          <ac:spMkLst>
            <pc:docMk/>
            <pc:sldMk cId="1339647628" sldId="586"/>
            <ac:spMk id="281" creationId="{9A0EBD8A-E979-1D00-35F0-48BE8E16E602}"/>
          </ac:spMkLst>
        </pc:spChg>
        <pc:spChg chg="del">
          <ac:chgData name="Bullinger, Marvin" userId="5b54ce5a-dc89-476f-af33-5abd75d5b1e8" providerId="ADAL" clId="{43B71669-8A80-4333-9349-B258A9296B49}" dt="2024-02-27T17:21:07.177" v="3490" actId="478"/>
          <ac:spMkLst>
            <pc:docMk/>
            <pc:sldMk cId="1339647628" sldId="586"/>
            <ac:spMk id="282" creationId="{77F462E4-D9C4-BA13-6031-E41F1BDFA604}"/>
          </ac:spMkLst>
        </pc:spChg>
        <pc:spChg chg="del">
          <ac:chgData name="Bullinger, Marvin" userId="5b54ce5a-dc89-476f-af33-5abd75d5b1e8" providerId="ADAL" clId="{43B71669-8A80-4333-9349-B258A9296B49}" dt="2024-02-27T17:21:07.177" v="3489" actId="478"/>
          <ac:spMkLst>
            <pc:docMk/>
            <pc:sldMk cId="1339647628" sldId="586"/>
            <ac:spMk id="283" creationId="{062F2C2C-340C-145C-770E-DE24AF93DE54}"/>
          </ac:spMkLst>
        </pc:spChg>
        <pc:spChg chg="del">
          <ac:chgData name="Bullinger, Marvin" userId="5b54ce5a-dc89-476f-af33-5abd75d5b1e8" providerId="ADAL" clId="{43B71669-8A80-4333-9349-B258A9296B49}" dt="2024-02-27T17:21:07.177" v="3488" actId="478"/>
          <ac:spMkLst>
            <pc:docMk/>
            <pc:sldMk cId="1339647628" sldId="586"/>
            <ac:spMk id="284" creationId="{BB5736AA-8F96-F584-80C8-ADA98706BFEF}"/>
          </ac:spMkLst>
        </pc:spChg>
        <pc:spChg chg="del">
          <ac:chgData name="Bullinger, Marvin" userId="5b54ce5a-dc89-476f-af33-5abd75d5b1e8" providerId="ADAL" clId="{43B71669-8A80-4333-9349-B258A9296B49}" dt="2024-02-27T17:21:07.177" v="3487" actId="478"/>
          <ac:spMkLst>
            <pc:docMk/>
            <pc:sldMk cId="1339647628" sldId="586"/>
            <ac:spMk id="285" creationId="{B2E1C2F9-2805-6683-FF68-CE6EB603FBAC}"/>
          </ac:spMkLst>
        </pc:spChg>
        <pc:spChg chg="add mod">
          <ac:chgData name="Bullinger, Marvin" userId="5b54ce5a-dc89-476f-af33-5abd75d5b1e8" providerId="ADAL" clId="{43B71669-8A80-4333-9349-B258A9296B49}" dt="2024-02-27T16:46:20.172" v="1071" actId="478"/>
          <ac:spMkLst>
            <pc:docMk/>
            <pc:sldMk cId="1339647628" sldId="586"/>
            <ac:spMk id="286" creationId="{59EBEB46-5605-45A4-FBB3-AB8E14FB8450}"/>
          </ac:spMkLst>
        </pc:spChg>
        <pc:spChg chg="del">
          <ac:chgData name="Bullinger, Marvin" userId="5b54ce5a-dc89-476f-af33-5abd75d5b1e8" providerId="ADAL" clId="{43B71669-8A80-4333-9349-B258A9296B49}" dt="2024-02-27T17:21:07.177" v="3486" actId="478"/>
          <ac:spMkLst>
            <pc:docMk/>
            <pc:sldMk cId="1339647628" sldId="586"/>
            <ac:spMk id="286" creationId="{71A7E564-7767-80AF-CD10-4A96B36DC634}"/>
          </ac:spMkLst>
        </pc:spChg>
        <pc:spChg chg="add del mod ord replST">
          <ac:chgData name="Bullinger, Marvin" userId="5b54ce5a-dc89-476f-af33-5abd75d5b1e8" providerId="ADAL" clId="{43B71669-8A80-4333-9349-B258A9296B49}" dt="2024-02-27T17:21:07.126" v="3448" actId="478"/>
          <ac:spMkLst>
            <pc:docMk/>
            <pc:sldMk cId="1339647628" sldId="586"/>
            <ac:spMk id="287" creationId="{91983DAC-5BBF-E123-553C-9BB5373845E4}"/>
          </ac:spMkLst>
        </pc:spChg>
        <pc:spChg chg="del">
          <ac:chgData name="Bullinger, Marvin" userId="5b54ce5a-dc89-476f-af33-5abd75d5b1e8" providerId="ADAL" clId="{43B71669-8A80-4333-9349-B258A9296B49}" dt="2024-02-27T16:46:20.198" v="1107" actId="478"/>
          <ac:spMkLst>
            <pc:docMk/>
            <pc:sldMk cId="1339647628" sldId="586"/>
            <ac:spMk id="288" creationId="{B4ECC714-2B44-92E2-96FB-7E3E612DCF4C}"/>
          </ac:spMkLst>
        </pc:spChg>
        <pc:spChg chg="del">
          <ac:chgData name="Bullinger, Marvin" userId="5b54ce5a-dc89-476f-af33-5abd75d5b1e8" providerId="ADAL" clId="{43B71669-8A80-4333-9349-B258A9296B49}" dt="2024-02-27T16:46:20.198" v="1106" actId="478"/>
          <ac:spMkLst>
            <pc:docMk/>
            <pc:sldMk cId="1339647628" sldId="586"/>
            <ac:spMk id="289" creationId="{CE826977-D090-B91B-3BB7-5855FAD18DE3}"/>
          </ac:spMkLst>
        </pc:spChg>
        <pc:spChg chg="del">
          <ac:chgData name="Bullinger, Marvin" userId="5b54ce5a-dc89-476f-af33-5abd75d5b1e8" providerId="ADAL" clId="{43B71669-8A80-4333-9349-B258A9296B49}" dt="2024-02-27T16:46:20.198" v="1105" actId="478"/>
          <ac:spMkLst>
            <pc:docMk/>
            <pc:sldMk cId="1339647628" sldId="586"/>
            <ac:spMk id="290" creationId="{06D3C4C1-6ABE-8BCC-01E2-074639843834}"/>
          </ac:spMkLst>
        </pc:spChg>
        <pc:spChg chg="del">
          <ac:chgData name="Bullinger, Marvin" userId="5b54ce5a-dc89-476f-af33-5abd75d5b1e8" providerId="ADAL" clId="{43B71669-8A80-4333-9349-B258A9296B49}" dt="2024-02-27T16:46:20.198" v="1104" actId="478"/>
          <ac:spMkLst>
            <pc:docMk/>
            <pc:sldMk cId="1339647628" sldId="586"/>
            <ac:spMk id="291" creationId="{6B950B3C-DC6E-5BFF-2AF4-9DFC51A6B1BD}"/>
          </ac:spMkLst>
        </pc:spChg>
        <pc:spChg chg="del">
          <ac:chgData name="Bullinger, Marvin" userId="5b54ce5a-dc89-476f-af33-5abd75d5b1e8" providerId="ADAL" clId="{43B71669-8A80-4333-9349-B258A9296B49}" dt="2024-02-27T16:46:20.198" v="1103" actId="478"/>
          <ac:spMkLst>
            <pc:docMk/>
            <pc:sldMk cId="1339647628" sldId="586"/>
            <ac:spMk id="292" creationId="{91165523-B1E0-3588-93EF-CD98755B6B8F}"/>
          </ac:spMkLst>
        </pc:spChg>
        <pc:spChg chg="del">
          <ac:chgData name="Bullinger, Marvin" userId="5b54ce5a-dc89-476f-af33-5abd75d5b1e8" providerId="ADAL" clId="{43B71669-8A80-4333-9349-B258A9296B49}" dt="2024-02-27T16:46:20.198" v="1102" actId="478"/>
          <ac:spMkLst>
            <pc:docMk/>
            <pc:sldMk cId="1339647628" sldId="586"/>
            <ac:spMk id="293" creationId="{5F4F423E-A753-DBBA-9E30-0830E333D649}"/>
          </ac:spMkLst>
        </pc:spChg>
        <pc:spChg chg="del">
          <ac:chgData name="Bullinger, Marvin" userId="5b54ce5a-dc89-476f-af33-5abd75d5b1e8" providerId="ADAL" clId="{43B71669-8A80-4333-9349-B258A9296B49}" dt="2024-02-27T16:46:20.197" v="1099" actId="478"/>
          <ac:spMkLst>
            <pc:docMk/>
            <pc:sldMk cId="1339647628" sldId="586"/>
            <ac:spMk id="294" creationId="{E342C0D2-46C7-AFEE-F32A-5DDA08FB7008}"/>
          </ac:spMkLst>
        </pc:spChg>
        <pc:spChg chg="del">
          <ac:chgData name="Bullinger, Marvin" userId="5b54ce5a-dc89-476f-af33-5abd75d5b1e8" providerId="ADAL" clId="{43B71669-8A80-4333-9349-B258A9296B49}" dt="2024-02-27T16:46:20.197" v="1098" actId="478"/>
          <ac:spMkLst>
            <pc:docMk/>
            <pc:sldMk cId="1339647628" sldId="586"/>
            <ac:spMk id="295" creationId="{658E5283-BF72-B1F7-BBB3-561631A460BE}"/>
          </ac:spMkLst>
        </pc:spChg>
        <pc:spChg chg="del">
          <ac:chgData name="Bullinger, Marvin" userId="5b54ce5a-dc89-476f-af33-5abd75d5b1e8" providerId="ADAL" clId="{43B71669-8A80-4333-9349-B258A9296B49}" dt="2024-02-27T16:46:20.197" v="1097" actId="478"/>
          <ac:spMkLst>
            <pc:docMk/>
            <pc:sldMk cId="1339647628" sldId="586"/>
            <ac:spMk id="296" creationId="{D04B49A6-5C14-CBDB-A98B-4227B81A990B}"/>
          </ac:spMkLst>
        </pc:spChg>
        <pc:spChg chg="del">
          <ac:chgData name="Bullinger, Marvin" userId="5b54ce5a-dc89-476f-af33-5abd75d5b1e8" providerId="ADAL" clId="{43B71669-8A80-4333-9349-B258A9296B49}" dt="2024-02-27T16:46:20.196" v="1096" actId="478"/>
          <ac:spMkLst>
            <pc:docMk/>
            <pc:sldMk cId="1339647628" sldId="586"/>
            <ac:spMk id="297" creationId="{7D842029-196A-98DC-99A1-6F1AE7D68D8A}"/>
          </ac:spMkLst>
        </pc:spChg>
        <pc:spChg chg="del">
          <ac:chgData name="Bullinger, Marvin" userId="5b54ce5a-dc89-476f-af33-5abd75d5b1e8" providerId="ADAL" clId="{43B71669-8A80-4333-9349-B258A9296B49}" dt="2024-02-27T16:46:20.196" v="1095" actId="478"/>
          <ac:spMkLst>
            <pc:docMk/>
            <pc:sldMk cId="1339647628" sldId="586"/>
            <ac:spMk id="298" creationId="{DE16995C-D4A7-0F50-600F-2F853204676A}"/>
          </ac:spMkLst>
        </pc:spChg>
        <pc:spChg chg="del">
          <ac:chgData name="Bullinger, Marvin" userId="5b54ce5a-dc89-476f-af33-5abd75d5b1e8" providerId="ADAL" clId="{43B71669-8A80-4333-9349-B258A9296B49}" dt="2024-02-27T16:46:20.195" v="1094" actId="478"/>
          <ac:spMkLst>
            <pc:docMk/>
            <pc:sldMk cId="1339647628" sldId="586"/>
            <ac:spMk id="299" creationId="{2991677C-33C5-014F-5D54-AE5DE326C428}"/>
          </ac:spMkLst>
        </pc:spChg>
        <pc:spChg chg="del">
          <ac:chgData name="Bullinger, Marvin" userId="5b54ce5a-dc89-476f-af33-5abd75d5b1e8" providerId="ADAL" clId="{43B71669-8A80-4333-9349-B258A9296B49}" dt="2024-02-27T16:46:20.198" v="1115" actId="478"/>
          <ac:spMkLst>
            <pc:docMk/>
            <pc:sldMk cId="1339647628" sldId="586"/>
            <ac:spMk id="300" creationId="{8F0D995F-03C6-FE8B-A492-A797ECF77551}"/>
          </ac:spMkLst>
        </pc:spChg>
        <pc:spChg chg="del">
          <ac:chgData name="Bullinger, Marvin" userId="5b54ce5a-dc89-476f-af33-5abd75d5b1e8" providerId="ADAL" clId="{43B71669-8A80-4333-9349-B258A9296B49}" dt="2024-02-27T16:46:20.198" v="1114" actId="478"/>
          <ac:spMkLst>
            <pc:docMk/>
            <pc:sldMk cId="1339647628" sldId="586"/>
            <ac:spMk id="301" creationId="{9F366E51-8150-D372-879C-72F282A6785F}"/>
          </ac:spMkLst>
        </pc:spChg>
        <pc:spChg chg="del">
          <ac:chgData name="Bullinger, Marvin" userId="5b54ce5a-dc89-476f-af33-5abd75d5b1e8" providerId="ADAL" clId="{43B71669-8A80-4333-9349-B258A9296B49}" dt="2024-02-27T16:46:20.198" v="1113" actId="478"/>
          <ac:spMkLst>
            <pc:docMk/>
            <pc:sldMk cId="1339647628" sldId="586"/>
            <ac:spMk id="302" creationId="{195E7E2A-D120-9C61-D272-925AACFC3137}"/>
          </ac:spMkLst>
        </pc:spChg>
        <pc:spChg chg="del">
          <ac:chgData name="Bullinger, Marvin" userId="5b54ce5a-dc89-476f-af33-5abd75d5b1e8" providerId="ADAL" clId="{43B71669-8A80-4333-9349-B258A9296B49}" dt="2024-02-27T16:46:20.198" v="1112" actId="478"/>
          <ac:spMkLst>
            <pc:docMk/>
            <pc:sldMk cId="1339647628" sldId="586"/>
            <ac:spMk id="303" creationId="{B3B6D0CA-DB15-4454-D492-91FAB95E1E0A}"/>
          </ac:spMkLst>
        </pc:spChg>
        <pc:spChg chg="del">
          <ac:chgData name="Bullinger, Marvin" userId="5b54ce5a-dc89-476f-af33-5abd75d5b1e8" providerId="ADAL" clId="{43B71669-8A80-4333-9349-B258A9296B49}" dt="2024-02-27T16:46:20.198" v="1111" actId="478"/>
          <ac:spMkLst>
            <pc:docMk/>
            <pc:sldMk cId="1339647628" sldId="586"/>
            <ac:spMk id="304" creationId="{982C5FC5-A028-95D2-726F-3CAB9496E094}"/>
          </ac:spMkLst>
        </pc:spChg>
        <pc:spChg chg="del">
          <ac:chgData name="Bullinger, Marvin" userId="5b54ce5a-dc89-476f-af33-5abd75d5b1e8" providerId="ADAL" clId="{43B71669-8A80-4333-9349-B258A9296B49}" dt="2024-02-27T16:46:20.198" v="1110" actId="478"/>
          <ac:spMkLst>
            <pc:docMk/>
            <pc:sldMk cId="1339647628" sldId="586"/>
            <ac:spMk id="305" creationId="{80D00714-94FD-F19F-0AD9-650EBE7FC307}"/>
          </ac:spMkLst>
        </pc:spChg>
        <pc:spChg chg="del">
          <ac:chgData name="Bullinger, Marvin" userId="5b54ce5a-dc89-476f-af33-5abd75d5b1e8" providerId="ADAL" clId="{43B71669-8A80-4333-9349-B258A9296B49}" dt="2024-02-27T16:46:20.198" v="1109" actId="478"/>
          <ac:spMkLst>
            <pc:docMk/>
            <pc:sldMk cId="1339647628" sldId="586"/>
            <ac:spMk id="306" creationId="{1484EEE1-5163-3D7C-8277-A35617797597}"/>
          </ac:spMkLst>
        </pc:spChg>
        <pc:spChg chg="del">
          <ac:chgData name="Bullinger, Marvin" userId="5b54ce5a-dc89-476f-af33-5abd75d5b1e8" providerId="ADAL" clId="{43B71669-8A80-4333-9349-B258A9296B49}" dt="2024-02-27T16:46:20.198" v="1108" actId="478"/>
          <ac:spMkLst>
            <pc:docMk/>
            <pc:sldMk cId="1339647628" sldId="586"/>
            <ac:spMk id="307" creationId="{F0FB60FB-AF47-410B-0BBC-E39FEB78018E}"/>
          </ac:spMkLst>
        </pc:spChg>
        <pc:spChg chg="del">
          <ac:chgData name="Bullinger, Marvin" userId="5b54ce5a-dc89-476f-af33-5abd75d5b1e8" providerId="ADAL" clId="{43B71669-8A80-4333-9349-B258A9296B49}" dt="2024-02-27T16:46:20.198" v="1100" actId="478"/>
          <ac:spMkLst>
            <pc:docMk/>
            <pc:sldMk cId="1339647628" sldId="586"/>
            <ac:spMk id="308" creationId="{0BF4C828-BBB0-FC56-1493-8DFDD2ABF459}"/>
          </ac:spMkLst>
        </pc:spChg>
        <pc:spChg chg="del">
          <ac:chgData name="Bullinger, Marvin" userId="5b54ce5a-dc89-476f-af33-5abd75d5b1e8" providerId="ADAL" clId="{43B71669-8A80-4333-9349-B258A9296B49}" dt="2024-02-27T16:46:20.195" v="1093" actId="478"/>
          <ac:spMkLst>
            <pc:docMk/>
            <pc:sldMk cId="1339647628" sldId="586"/>
            <ac:spMk id="309" creationId="{F373600A-DC9A-7AD8-6CAF-7D48BCD0D881}"/>
          </ac:spMkLst>
        </pc:spChg>
        <pc:spChg chg="del">
          <ac:chgData name="Bullinger, Marvin" userId="5b54ce5a-dc89-476f-af33-5abd75d5b1e8" providerId="ADAL" clId="{43B71669-8A80-4333-9349-B258A9296B49}" dt="2024-02-27T16:46:20.198" v="1101" actId="478"/>
          <ac:spMkLst>
            <pc:docMk/>
            <pc:sldMk cId="1339647628" sldId="586"/>
            <ac:spMk id="310" creationId="{92B5812C-69C7-FE7D-D5A9-153AD463AE67}"/>
          </ac:spMkLst>
        </pc:spChg>
        <pc:spChg chg="del">
          <ac:chgData name="Bullinger, Marvin" userId="5b54ce5a-dc89-476f-af33-5abd75d5b1e8" providerId="ADAL" clId="{43B71669-8A80-4333-9349-B258A9296B49}" dt="2024-02-27T16:46:20.195" v="1092" actId="478"/>
          <ac:spMkLst>
            <pc:docMk/>
            <pc:sldMk cId="1339647628" sldId="586"/>
            <ac:spMk id="311" creationId="{73C90CD0-A5CD-9525-DFC6-FE2A7D156F59}"/>
          </ac:spMkLst>
        </pc:spChg>
        <pc:spChg chg="del">
          <ac:chgData name="Bullinger, Marvin" userId="5b54ce5a-dc89-476f-af33-5abd75d5b1e8" providerId="ADAL" clId="{43B71669-8A80-4333-9349-B258A9296B49}" dt="2024-02-27T16:46:20.194" v="1091" actId="478"/>
          <ac:spMkLst>
            <pc:docMk/>
            <pc:sldMk cId="1339647628" sldId="586"/>
            <ac:spMk id="312" creationId="{C3251364-F4A8-60F1-9276-0D10B4EA1AE7}"/>
          </ac:spMkLst>
        </pc:spChg>
        <pc:spChg chg="del">
          <ac:chgData name="Bullinger, Marvin" userId="5b54ce5a-dc89-476f-af33-5abd75d5b1e8" providerId="ADAL" clId="{43B71669-8A80-4333-9349-B258A9296B49}" dt="2024-02-27T16:46:20.194" v="1090" actId="478"/>
          <ac:spMkLst>
            <pc:docMk/>
            <pc:sldMk cId="1339647628" sldId="586"/>
            <ac:spMk id="313" creationId="{1DE4AE70-09FA-C6B2-90C0-4459EB029907}"/>
          </ac:spMkLst>
        </pc:spChg>
        <pc:spChg chg="del">
          <ac:chgData name="Bullinger, Marvin" userId="5b54ce5a-dc89-476f-af33-5abd75d5b1e8" providerId="ADAL" clId="{43B71669-8A80-4333-9349-B258A9296B49}" dt="2024-02-27T16:46:20.193" v="1089" actId="478"/>
          <ac:spMkLst>
            <pc:docMk/>
            <pc:sldMk cId="1339647628" sldId="586"/>
            <ac:spMk id="314" creationId="{C8C858FF-57D2-B847-B95C-099B61AFE9CD}"/>
          </ac:spMkLst>
        </pc:spChg>
        <pc:spChg chg="del">
          <ac:chgData name="Bullinger, Marvin" userId="5b54ce5a-dc89-476f-af33-5abd75d5b1e8" providerId="ADAL" clId="{43B71669-8A80-4333-9349-B258A9296B49}" dt="2024-02-27T16:46:20.193" v="1088" actId="478"/>
          <ac:spMkLst>
            <pc:docMk/>
            <pc:sldMk cId="1339647628" sldId="586"/>
            <ac:spMk id="315" creationId="{EF6D6F91-40EB-B575-3273-C739A35E792F}"/>
          </ac:spMkLst>
        </pc:spChg>
        <pc:spChg chg="del">
          <ac:chgData name="Bullinger, Marvin" userId="5b54ce5a-dc89-476f-af33-5abd75d5b1e8" providerId="ADAL" clId="{43B71669-8A80-4333-9349-B258A9296B49}" dt="2024-02-27T16:46:20.193" v="1087" actId="478"/>
          <ac:spMkLst>
            <pc:docMk/>
            <pc:sldMk cId="1339647628" sldId="586"/>
            <ac:spMk id="316" creationId="{CA1C5748-A135-3272-7D23-205E2BDF8597}"/>
          </ac:spMkLst>
        </pc:spChg>
        <pc:spChg chg="del">
          <ac:chgData name="Bullinger, Marvin" userId="5b54ce5a-dc89-476f-af33-5abd75d5b1e8" providerId="ADAL" clId="{43B71669-8A80-4333-9349-B258A9296B49}" dt="2024-02-27T16:46:20.192" v="1086" actId="478"/>
          <ac:spMkLst>
            <pc:docMk/>
            <pc:sldMk cId="1339647628" sldId="586"/>
            <ac:spMk id="317" creationId="{6159E0E4-81CC-189D-64F8-8C4329E58356}"/>
          </ac:spMkLst>
        </pc:spChg>
        <pc:spChg chg="del">
          <ac:chgData name="Bullinger, Marvin" userId="5b54ce5a-dc89-476f-af33-5abd75d5b1e8" providerId="ADAL" clId="{43B71669-8A80-4333-9349-B258A9296B49}" dt="2024-02-27T16:46:20.192" v="1085" actId="478"/>
          <ac:spMkLst>
            <pc:docMk/>
            <pc:sldMk cId="1339647628" sldId="586"/>
            <ac:spMk id="318" creationId="{22CF3CB5-7329-D38A-9A21-EF36FEBF504A}"/>
          </ac:spMkLst>
        </pc:spChg>
        <pc:spChg chg="del">
          <ac:chgData name="Bullinger, Marvin" userId="5b54ce5a-dc89-476f-af33-5abd75d5b1e8" providerId="ADAL" clId="{43B71669-8A80-4333-9349-B258A9296B49}" dt="2024-02-27T16:46:20.191" v="1084" actId="478"/>
          <ac:spMkLst>
            <pc:docMk/>
            <pc:sldMk cId="1339647628" sldId="586"/>
            <ac:spMk id="319" creationId="{9AF6A060-4EF8-5542-0031-BAB251206F12}"/>
          </ac:spMkLst>
        </pc:spChg>
        <pc:spChg chg="del">
          <ac:chgData name="Bullinger, Marvin" userId="5b54ce5a-dc89-476f-af33-5abd75d5b1e8" providerId="ADAL" clId="{43B71669-8A80-4333-9349-B258A9296B49}" dt="2024-02-27T17:21:07.177" v="3485" actId="478"/>
          <ac:spMkLst>
            <pc:docMk/>
            <pc:sldMk cId="1339647628" sldId="586"/>
            <ac:spMk id="320" creationId="{6F5C29F9-4E48-B8A4-4E33-B32E26147B9A}"/>
          </ac:spMkLst>
        </pc:spChg>
        <pc:spChg chg="del">
          <ac:chgData name="Bullinger, Marvin" userId="5b54ce5a-dc89-476f-af33-5abd75d5b1e8" providerId="ADAL" clId="{43B71669-8A80-4333-9349-B258A9296B49}" dt="2024-02-27T16:46:20.191" v="1083" actId="478"/>
          <ac:spMkLst>
            <pc:docMk/>
            <pc:sldMk cId="1339647628" sldId="586"/>
            <ac:spMk id="320" creationId="{D116047F-5B65-A920-0553-334A74C53FDE}"/>
          </ac:spMkLst>
        </pc:spChg>
        <pc:spChg chg="del">
          <ac:chgData name="Bullinger, Marvin" userId="5b54ce5a-dc89-476f-af33-5abd75d5b1e8" providerId="ADAL" clId="{43B71669-8A80-4333-9349-B258A9296B49}" dt="2024-02-27T16:46:20.191" v="1082" actId="478"/>
          <ac:spMkLst>
            <pc:docMk/>
            <pc:sldMk cId="1339647628" sldId="586"/>
            <ac:spMk id="321" creationId="{6D49EED6-0839-2585-75B2-9B776F5F25B6}"/>
          </ac:spMkLst>
        </pc:spChg>
        <pc:spChg chg="del">
          <ac:chgData name="Bullinger, Marvin" userId="5b54ce5a-dc89-476f-af33-5abd75d5b1e8" providerId="ADAL" clId="{43B71669-8A80-4333-9349-B258A9296B49}" dt="2024-02-27T17:21:07.177" v="3477" actId="478"/>
          <ac:spMkLst>
            <pc:docMk/>
            <pc:sldMk cId="1339647628" sldId="586"/>
            <ac:spMk id="321" creationId="{E85B3DFC-FC65-29F5-CCDB-C36A3D012400}"/>
          </ac:spMkLst>
        </pc:spChg>
        <pc:spChg chg="del">
          <ac:chgData name="Bullinger, Marvin" userId="5b54ce5a-dc89-476f-af33-5abd75d5b1e8" providerId="ADAL" clId="{43B71669-8A80-4333-9349-B258A9296B49}" dt="2024-02-27T17:21:07.177" v="3470" actId="478"/>
          <ac:spMkLst>
            <pc:docMk/>
            <pc:sldMk cId="1339647628" sldId="586"/>
            <ac:spMk id="322" creationId="{909C496A-87F1-7784-931E-638900077A6B}"/>
          </ac:spMkLst>
        </pc:spChg>
        <pc:spChg chg="del">
          <ac:chgData name="Bullinger, Marvin" userId="5b54ce5a-dc89-476f-af33-5abd75d5b1e8" providerId="ADAL" clId="{43B71669-8A80-4333-9349-B258A9296B49}" dt="2024-02-27T16:46:20.190" v="1081" actId="478"/>
          <ac:spMkLst>
            <pc:docMk/>
            <pc:sldMk cId="1339647628" sldId="586"/>
            <ac:spMk id="322" creationId="{C945657E-5A79-3C6A-BF28-9628FCC4DBE8}"/>
          </ac:spMkLst>
        </pc:spChg>
        <pc:spChg chg="del">
          <ac:chgData name="Bullinger, Marvin" userId="5b54ce5a-dc89-476f-af33-5abd75d5b1e8" providerId="ADAL" clId="{43B71669-8A80-4333-9349-B258A9296B49}" dt="2024-02-27T17:21:07.177" v="3478" actId="478"/>
          <ac:spMkLst>
            <pc:docMk/>
            <pc:sldMk cId="1339647628" sldId="586"/>
            <ac:spMk id="323" creationId="{B75028F4-7DE0-F029-847F-0B96A41D42BF}"/>
          </ac:spMkLst>
        </pc:spChg>
        <pc:spChg chg="del">
          <ac:chgData name="Bullinger, Marvin" userId="5b54ce5a-dc89-476f-af33-5abd75d5b1e8" providerId="ADAL" clId="{43B71669-8A80-4333-9349-B258A9296B49}" dt="2024-02-27T16:46:20.190" v="1080" actId="478"/>
          <ac:spMkLst>
            <pc:docMk/>
            <pc:sldMk cId="1339647628" sldId="586"/>
            <ac:spMk id="323" creationId="{BDBFAD6B-1D16-04CF-D2D4-B2F52D508333}"/>
          </ac:spMkLst>
        </pc:spChg>
        <pc:spChg chg="del">
          <ac:chgData name="Bullinger, Marvin" userId="5b54ce5a-dc89-476f-af33-5abd75d5b1e8" providerId="ADAL" clId="{43B71669-8A80-4333-9349-B258A9296B49}" dt="2024-02-27T16:46:20.189" v="1079" actId="478"/>
          <ac:spMkLst>
            <pc:docMk/>
            <pc:sldMk cId="1339647628" sldId="586"/>
            <ac:spMk id="324" creationId="{3EC97220-7254-81B9-1982-D2DBE7AE00BC}"/>
          </ac:spMkLst>
        </pc:spChg>
        <pc:spChg chg="del">
          <ac:chgData name="Bullinger, Marvin" userId="5b54ce5a-dc89-476f-af33-5abd75d5b1e8" providerId="ADAL" clId="{43B71669-8A80-4333-9349-B258A9296B49}" dt="2024-02-27T17:21:07.177" v="3469" actId="478"/>
          <ac:spMkLst>
            <pc:docMk/>
            <pc:sldMk cId="1339647628" sldId="586"/>
            <ac:spMk id="324" creationId="{92E6C698-ADE7-AC59-02BE-278F7640BA2D}"/>
          </ac:spMkLst>
        </pc:spChg>
        <pc:spChg chg="add mod replST">
          <ac:chgData name="Bullinger, Marvin" userId="5b54ce5a-dc89-476f-af33-5abd75d5b1e8" providerId="ADAL" clId="{43B71669-8A80-4333-9349-B258A9296B49}" dt="2024-02-27T16:53:49.050" v="3382"/>
          <ac:spMkLst>
            <pc:docMk/>
            <pc:sldMk cId="1339647628" sldId="586"/>
            <ac:spMk id="325" creationId="{0EA1BD43-0305-CBCF-5802-067B190B3F54}"/>
          </ac:spMkLst>
        </pc:spChg>
        <pc:spChg chg="add replST">
          <ac:chgData name="Bullinger, Marvin" userId="5b54ce5a-dc89-476f-af33-5abd75d5b1e8" providerId="ADAL" clId="{43B71669-8A80-4333-9349-B258A9296B49}" dt="2024-02-27T16:53:49.050" v="3382"/>
          <ac:spMkLst>
            <pc:docMk/>
            <pc:sldMk cId="1339647628" sldId="586"/>
            <ac:spMk id="326" creationId="{D693A723-43AD-5C0E-3B10-A3D6F96639FB}"/>
          </ac:spMkLst>
        </pc:spChg>
        <pc:spChg chg="add mod replST">
          <ac:chgData name="Bullinger, Marvin" userId="5b54ce5a-dc89-476f-af33-5abd75d5b1e8" providerId="ADAL" clId="{43B71669-8A80-4333-9349-B258A9296B49}" dt="2024-02-27T16:53:49.050" v="3382"/>
          <ac:spMkLst>
            <pc:docMk/>
            <pc:sldMk cId="1339647628" sldId="586"/>
            <ac:spMk id="328" creationId="{680912F8-469E-165C-911B-522664C12E4B}"/>
          </ac:spMkLst>
        </pc:spChg>
        <pc:spChg chg="add replST">
          <ac:chgData name="Bullinger, Marvin" userId="5b54ce5a-dc89-476f-af33-5abd75d5b1e8" providerId="ADAL" clId="{43B71669-8A80-4333-9349-B258A9296B49}" dt="2024-02-27T16:53:49.050" v="3382"/>
          <ac:spMkLst>
            <pc:docMk/>
            <pc:sldMk cId="1339647628" sldId="586"/>
            <ac:spMk id="329" creationId="{FFCF2AE3-387E-248F-8F6E-5D52F27FBF5C}"/>
          </ac:spMkLst>
        </pc:spChg>
        <pc:spChg chg="add mod replST">
          <ac:chgData name="Bullinger, Marvin" userId="5b54ce5a-dc89-476f-af33-5abd75d5b1e8" providerId="ADAL" clId="{43B71669-8A80-4333-9349-B258A9296B49}" dt="2024-02-27T16:53:49.050" v="3382"/>
          <ac:spMkLst>
            <pc:docMk/>
            <pc:sldMk cId="1339647628" sldId="586"/>
            <ac:spMk id="331" creationId="{6ABF33AB-0014-FB9C-FB01-A209A2A982A4}"/>
          </ac:spMkLst>
        </pc:spChg>
        <pc:spChg chg="add replST">
          <ac:chgData name="Bullinger, Marvin" userId="5b54ce5a-dc89-476f-af33-5abd75d5b1e8" providerId="ADAL" clId="{43B71669-8A80-4333-9349-B258A9296B49}" dt="2024-02-27T16:53:49.050" v="3382"/>
          <ac:spMkLst>
            <pc:docMk/>
            <pc:sldMk cId="1339647628" sldId="586"/>
            <ac:spMk id="332" creationId="{ADAE1A2E-71A8-D22F-348C-0CE3DA16EC77}"/>
          </ac:spMkLst>
        </pc:spChg>
        <pc:spChg chg="add mod replST">
          <ac:chgData name="Bullinger, Marvin" userId="5b54ce5a-dc89-476f-af33-5abd75d5b1e8" providerId="ADAL" clId="{43B71669-8A80-4333-9349-B258A9296B49}" dt="2024-02-27T16:53:49.050" v="3382"/>
          <ac:spMkLst>
            <pc:docMk/>
            <pc:sldMk cId="1339647628" sldId="586"/>
            <ac:spMk id="334" creationId="{09321F5C-B263-2802-06AD-372C804626F2}"/>
          </ac:spMkLst>
        </pc:spChg>
        <pc:spChg chg="add replST">
          <ac:chgData name="Bullinger, Marvin" userId="5b54ce5a-dc89-476f-af33-5abd75d5b1e8" providerId="ADAL" clId="{43B71669-8A80-4333-9349-B258A9296B49}" dt="2024-02-27T16:53:49.050" v="3382"/>
          <ac:spMkLst>
            <pc:docMk/>
            <pc:sldMk cId="1339647628" sldId="586"/>
            <ac:spMk id="335" creationId="{7D1AB6BA-76F2-E8A1-E156-AAEBD46B91D8}"/>
          </ac:spMkLst>
        </pc:spChg>
        <pc:spChg chg="add mod replST">
          <ac:chgData name="Bullinger, Marvin" userId="5b54ce5a-dc89-476f-af33-5abd75d5b1e8" providerId="ADAL" clId="{43B71669-8A80-4333-9349-B258A9296B49}" dt="2024-02-27T16:53:49.050" v="3382"/>
          <ac:spMkLst>
            <pc:docMk/>
            <pc:sldMk cId="1339647628" sldId="586"/>
            <ac:spMk id="337" creationId="{1C7DC5DB-3AB1-9BBD-A8E5-0826A5567758}"/>
          </ac:spMkLst>
        </pc:spChg>
        <pc:spChg chg="add replST">
          <ac:chgData name="Bullinger, Marvin" userId="5b54ce5a-dc89-476f-af33-5abd75d5b1e8" providerId="ADAL" clId="{43B71669-8A80-4333-9349-B258A9296B49}" dt="2024-02-27T16:53:49.050" v="3382"/>
          <ac:spMkLst>
            <pc:docMk/>
            <pc:sldMk cId="1339647628" sldId="586"/>
            <ac:spMk id="338" creationId="{6CC27649-8275-92AC-8387-9C5CC2AD6ECE}"/>
          </ac:spMkLst>
        </pc:spChg>
        <pc:spChg chg="add mod replST">
          <ac:chgData name="Bullinger, Marvin" userId="5b54ce5a-dc89-476f-af33-5abd75d5b1e8" providerId="ADAL" clId="{43B71669-8A80-4333-9349-B258A9296B49}" dt="2024-02-27T16:53:49.050" v="3382"/>
          <ac:spMkLst>
            <pc:docMk/>
            <pc:sldMk cId="1339647628" sldId="586"/>
            <ac:spMk id="340" creationId="{D1642ECD-5B3D-8083-B56D-8F2EFBF2CB60}"/>
          </ac:spMkLst>
        </pc:spChg>
        <pc:spChg chg="add replST">
          <ac:chgData name="Bullinger, Marvin" userId="5b54ce5a-dc89-476f-af33-5abd75d5b1e8" providerId="ADAL" clId="{43B71669-8A80-4333-9349-B258A9296B49}" dt="2024-02-27T16:53:49.050" v="3382"/>
          <ac:spMkLst>
            <pc:docMk/>
            <pc:sldMk cId="1339647628" sldId="586"/>
            <ac:spMk id="341" creationId="{40DA833A-5361-E479-9294-645DFEB68D73}"/>
          </ac:spMkLst>
        </pc:spChg>
        <pc:spChg chg="add">
          <ac:chgData name="Bullinger, Marvin" userId="5b54ce5a-dc89-476f-af33-5abd75d5b1e8" providerId="ADAL" clId="{43B71669-8A80-4333-9349-B258A9296B49}" dt="2024-02-27T16:53:49.050" v="3382"/>
          <ac:spMkLst>
            <pc:docMk/>
            <pc:sldMk cId="1339647628" sldId="586"/>
            <ac:spMk id="344" creationId="{69D0B2E0-4C69-0F10-CF4E-B8F16E5819BC}"/>
          </ac:spMkLst>
        </pc:spChg>
        <pc:spChg chg="del">
          <ac:chgData name="Bullinger, Marvin" userId="5b54ce5a-dc89-476f-af33-5abd75d5b1e8" providerId="ADAL" clId="{43B71669-8A80-4333-9349-B258A9296B49}" dt="2024-02-27T17:21:07.177" v="3468" actId="478"/>
          <ac:spMkLst>
            <pc:docMk/>
            <pc:sldMk cId="1339647628" sldId="586"/>
            <ac:spMk id="344" creationId="{B9D01441-5C8E-E961-46B7-66765F9BBDC0}"/>
          </ac:spMkLst>
        </pc:spChg>
        <pc:spChg chg="del">
          <ac:chgData name="Bullinger, Marvin" userId="5b54ce5a-dc89-476f-af33-5abd75d5b1e8" providerId="ADAL" clId="{43B71669-8A80-4333-9349-B258A9296B49}" dt="2024-02-27T17:21:07.173" v="3467" actId="478"/>
          <ac:spMkLst>
            <pc:docMk/>
            <pc:sldMk cId="1339647628" sldId="586"/>
            <ac:spMk id="345" creationId="{262A5821-F12F-4AA3-9FCA-8F886B0A0AFF}"/>
          </ac:spMkLst>
        </pc:spChg>
        <pc:spChg chg="add">
          <ac:chgData name="Bullinger, Marvin" userId="5b54ce5a-dc89-476f-af33-5abd75d5b1e8" providerId="ADAL" clId="{43B71669-8A80-4333-9349-B258A9296B49}" dt="2024-02-27T16:53:49.050" v="3382"/>
          <ac:spMkLst>
            <pc:docMk/>
            <pc:sldMk cId="1339647628" sldId="586"/>
            <ac:spMk id="345" creationId="{CF9812C8-7F6C-D4A8-AD7A-324759949E23}"/>
          </ac:spMkLst>
        </pc:spChg>
        <pc:spChg chg="add">
          <ac:chgData name="Bullinger, Marvin" userId="5b54ce5a-dc89-476f-af33-5abd75d5b1e8" providerId="ADAL" clId="{43B71669-8A80-4333-9349-B258A9296B49}" dt="2024-02-27T16:53:49.050" v="3382"/>
          <ac:spMkLst>
            <pc:docMk/>
            <pc:sldMk cId="1339647628" sldId="586"/>
            <ac:spMk id="346" creationId="{0225A68A-D996-2381-0842-83D0995A7125}"/>
          </ac:spMkLst>
        </pc:spChg>
        <pc:spChg chg="del">
          <ac:chgData name="Bullinger, Marvin" userId="5b54ce5a-dc89-476f-af33-5abd75d5b1e8" providerId="ADAL" clId="{43B71669-8A80-4333-9349-B258A9296B49}" dt="2024-02-27T17:21:07.173" v="3466" actId="478"/>
          <ac:spMkLst>
            <pc:docMk/>
            <pc:sldMk cId="1339647628" sldId="586"/>
            <ac:spMk id="346" creationId="{D1FBC106-9151-A17C-3030-B7AA98922D6D}"/>
          </ac:spMkLst>
        </pc:spChg>
        <pc:spChg chg="add">
          <ac:chgData name="Bullinger, Marvin" userId="5b54ce5a-dc89-476f-af33-5abd75d5b1e8" providerId="ADAL" clId="{43B71669-8A80-4333-9349-B258A9296B49}" dt="2024-02-27T16:53:49.050" v="3382"/>
          <ac:spMkLst>
            <pc:docMk/>
            <pc:sldMk cId="1339647628" sldId="586"/>
            <ac:spMk id="347" creationId="{A5122286-D4FE-32A3-0F09-CD66E9EF3368}"/>
          </ac:spMkLst>
        </pc:spChg>
        <pc:spChg chg="del">
          <ac:chgData name="Bullinger, Marvin" userId="5b54ce5a-dc89-476f-af33-5abd75d5b1e8" providerId="ADAL" clId="{43B71669-8A80-4333-9349-B258A9296B49}" dt="2024-02-27T17:21:07.173" v="3465" actId="478"/>
          <ac:spMkLst>
            <pc:docMk/>
            <pc:sldMk cId="1339647628" sldId="586"/>
            <ac:spMk id="347" creationId="{B4AF98F4-D069-DBCD-A04F-550706D5B3D1}"/>
          </ac:spMkLst>
        </pc:spChg>
        <pc:spChg chg="add">
          <ac:chgData name="Bullinger, Marvin" userId="5b54ce5a-dc89-476f-af33-5abd75d5b1e8" providerId="ADAL" clId="{43B71669-8A80-4333-9349-B258A9296B49}" dt="2024-02-27T16:53:49.050" v="3382"/>
          <ac:spMkLst>
            <pc:docMk/>
            <pc:sldMk cId="1339647628" sldId="586"/>
            <ac:spMk id="348" creationId="{46798530-DE81-7208-C11B-2D721D54A98C}"/>
          </ac:spMkLst>
        </pc:spChg>
        <pc:spChg chg="del">
          <ac:chgData name="Bullinger, Marvin" userId="5b54ce5a-dc89-476f-af33-5abd75d5b1e8" providerId="ADAL" clId="{43B71669-8A80-4333-9349-B258A9296B49}" dt="2024-02-27T17:21:07.173" v="3464" actId="478"/>
          <ac:spMkLst>
            <pc:docMk/>
            <pc:sldMk cId="1339647628" sldId="586"/>
            <ac:spMk id="348" creationId="{E1ADAFEA-6780-75FB-06E7-F292A54E5F5D}"/>
          </ac:spMkLst>
        </pc:spChg>
        <pc:spChg chg="del">
          <ac:chgData name="Bullinger, Marvin" userId="5b54ce5a-dc89-476f-af33-5abd75d5b1e8" providerId="ADAL" clId="{43B71669-8A80-4333-9349-B258A9296B49}" dt="2024-02-27T17:21:07.173" v="3463" actId="478"/>
          <ac:spMkLst>
            <pc:docMk/>
            <pc:sldMk cId="1339647628" sldId="586"/>
            <ac:spMk id="349" creationId="{0A21915D-D7A1-4703-007F-315C84050984}"/>
          </ac:spMkLst>
        </pc:spChg>
        <pc:spChg chg="add">
          <ac:chgData name="Bullinger, Marvin" userId="5b54ce5a-dc89-476f-af33-5abd75d5b1e8" providerId="ADAL" clId="{43B71669-8A80-4333-9349-B258A9296B49}" dt="2024-02-27T16:53:49.050" v="3382"/>
          <ac:spMkLst>
            <pc:docMk/>
            <pc:sldMk cId="1339647628" sldId="586"/>
            <ac:spMk id="349" creationId="{C3E44F5A-76BF-17EB-BDC9-FCD4456F8FD5}"/>
          </ac:spMkLst>
        </pc:spChg>
        <pc:spChg chg="del">
          <ac:chgData name="Bullinger, Marvin" userId="5b54ce5a-dc89-476f-af33-5abd75d5b1e8" providerId="ADAL" clId="{43B71669-8A80-4333-9349-B258A9296B49}" dt="2024-02-27T17:21:07.173" v="3462" actId="478"/>
          <ac:spMkLst>
            <pc:docMk/>
            <pc:sldMk cId="1339647628" sldId="586"/>
            <ac:spMk id="350" creationId="{B5E8A8FC-BF5B-79F3-584E-48153855C43E}"/>
          </ac:spMkLst>
        </pc:spChg>
        <pc:spChg chg="add">
          <ac:chgData name="Bullinger, Marvin" userId="5b54ce5a-dc89-476f-af33-5abd75d5b1e8" providerId="ADAL" clId="{43B71669-8A80-4333-9349-B258A9296B49}" dt="2024-02-27T16:53:49.050" v="3382"/>
          <ac:spMkLst>
            <pc:docMk/>
            <pc:sldMk cId="1339647628" sldId="586"/>
            <ac:spMk id="350" creationId="{F605379B-D93B-B516-5513-D7A3DD206008}"/>
          </ac:spMkLst>
        </pc:spChg>
        <pc:spChg chg="add">
          <ac:chgData name="Bullinger, Marvin" userId="5b54ce5a-dc89-476f-af33-5abd75d5b1e8" providerId="ADAL" clId="{43B71669-8A80-4333-9349-B258A9296B49}" dt="2024-02-27T16:53:49.050" v="3382"/>
          <ac:spMkLst>
            <pc:docMk/>
            <pc:sldMk cId="1339647628" sldId="586"/>
            <ac:spMk id="351" creationId="{29D73F41-74D4-9FE3-C937-A164CC77AA7D}"/>
          </ac:spMkLst>
        </pc:spChg>
        <pc:spChg chg="del">
          <ac:chgData name="Bullinger, Marvin" userId="5b54ce5a-dc89-476f-af33-5abd75d5b1e8" providerId="ADAL" clId="{43B71669-8A80-4333-9349-B258A9296B49}" dt="2024-02-27T17:21:07.173" v="3461" actId="478"/>
          <ac:spMkLst>
            <pc:docMk/>
            <pc:sldMk cId="1339647628" sldId="586"/>
            <ac:spMk id="351" creationId="{83B6ABF8-7818-A405-8DF2-909CDFC0AC2F}"/>
          </ac:spMkLst>
        </pc:spChg>
        <pc:spChg chg="del">
          <ac:chgData name="Bullinger, Marvin" userId="5b54ce5a-dc89-476f-af33-5abd75d5b1e8" providerId="ADAL" clId="{43B71669-8A80-4333-9349-B258A9296B49}" dt="2024-02-27T17:21:07.173" v="3460" actId="478"/>
          <ac:spMkLst>
            <pc:docMk/>
            <pc:sldMk cId="1339647628" sldId="586"/>
            <ac:spMk id="352" creationId="{7C3371EC-0C5C-FD32-A648-6087DE7BAD7C}"/>
          </ac:spMkLst>
        </pc:spChg>
        <pc:spChg chg="add">
          <ac:chgData name="Bullinger, Marvin" userId="5b54ce5a-dc89-476f-af33-5abd75d5b1e8" providerId="ADAL" clId="{43B71669-8A80-4333-9349-B258A9296B49}" dt="2024-02-27T16:53:49.050" v="3382"/>
          <ac:spMkLst>
            <pc:docMk/>
            <pc:sldMk cId="1339647628" sldId="586"/>
            <ac:spMk id="352" creationId="{B1A3A9C9-A7C4-4B78-A272-9E530058EBD8}"/>
          </ac:spMkLst>
        </pc:spChg>
        <pc:spChg chg="del">
          <ac:chgData name="Bullinger, Marvin" userId="5b54ce5a-dc89-476f-af33-5abd75d5b1e8" providerId="ADAL" clId="{43B71669-8A80-4333-9349-B258A9296B49}" dt="2024-02-27T17:21:07.173" v="3459" actId="478"/>
          <ac:spMkLst>
            <pc:docMk/>
            <pc:sldMk cId="1339647628" sldId="586"/>
            <ac:spMk id="353" creationId="{530C222A-91C0-DE27-F894-F7C78D87838D}"/>
          </ac:spMkLst>
        </pc:spChg>
        <pc:spChg chg="add">
          <ac:chgData name="Bullinger, Marvin" userId="5b54ce5a-dc89-476f-af33-5abd75d5b1e8" providerId="ADAL" clId="{43B71669-8A80-4333-9349-B258A9296B49}" dt="2024-02-27T16:53:49.050" v="3382"/>
          <ac:spMkLst>
            <pc:docMk/>
            <pc:sldMk cId="1339647628" sldId="586"/>
            <ac:spMk id="353" creationId="{5F0BC240-6F53-A5A4-2AC2-A5396622EA72}"/>
          </ac:spMkLst>
        </pc:spChg>
        <pc:spChg chg="add">
          <ac:chgData name="Bullinger, Marvin" userId="5b54ce5a-dc89-476f-af33-5abd75d5b1e8" providerId="ADAL" clId="{43B71669-8A80-4333-9349-B258A9296B49}" dt="2024-02-27T16:53:49.050" v="3382"/>
          <ac:spMkLst>
            <pc:docMk/>
            <pc:sldMk cId="1339647628" sldId="586"/>
            <ac:spMk id="354" creationId="{4D282BCB-12F5-1D08-463B-CA5321451DB1}"/>
          </ac:spMkLst>
        </pc:spChg>
        <pc:spChg chg="del">
          <ac:chgData name="Bullinger, Marvin" userId="5b54ce5a-dc89-476f-af33-5abd75d5b1e8" providerId="ADAL" clId="{43B71669-8A80-4333-9349-B258A9296B49}" dt="2024-02-27T17:21:07.157" v="3458" actId="478"/>
          <ac:spMkLst>
            <pc:docMk/>
            <pc:sldMk cId="1339647628" sldId="586"/>
            <ac:spMk id="354" creationId="{5AF95440-F37E-FA7F-A6F5-BB604C66A38B}"/>
          </ac:spMkLst>
        </pc:spChg>
        <pc:spChg chg="del">
          <ac:chgData name="Bullinger, Marvin" userId="5b54ce5a-dc89-476f-af33-5abd75d5b1e8" providerId="ADAL" clId="{43B71669-8A80-4333-9349-B258A9296B49}" dt="2024-02-27T17:21:07.157" v="3457" actId="478"/>
          <ac:spMkLst>
            <pc:docMk/>
            <pc:sldMk cId="1339647628" sldId="586"/>
            <ac:spMk id="355" creationId="{43AAF108-B61C-C49E-9037-4B9A0C9FEE0F}"/>
          </ac:spMkLst>
        </pc:spChg>
        <pc:spChg chg="add">
          <ac:chgData name="Bullinger, Marvin" userId="5b54ce5a-dc89-476f-af33-5abd75d5b1e8" providerId="ADAL" clId="{43B71669-8A80-4333-9349-B258A9296B49}" dt="2024-02-27T16:53:49.050" v="3382"/>
          <ac:spMkLst>
            <pc:docMk/>
            <pc:sldMk cId="1339647628" sldId="586"/>
            <ac:spMk id="355" creationId="{DAE66C0A-C4AB-EE3F-70D4-9CB6E1BCAE2B}"/>
          </ac:spMkLst>
        </pc:spChg>
        <pc:spChg chg="del">
          <ac:chgData name="Bullinger, Marvin" userId="5b54ce5a-dc89-476f-af33-5abd75d5b1e8" providerId="ADAL" clId="{43B71669-8A80-4333-9349-B258A9296B49}" dt="2024-02-27T17:21:07.157" v="3456" actId="478"/>
          <ac:spMkLst>
            <pc:docMk/>
            <pc:sldMk cId="1339647628" sldId="586"/>
            <ac:spMk id="356" creationId="{0E96A127-0417-8DE4-6873-AD7E823C9028}"/>
          </ac:spMkLst>
        </pc:spChg>
        <pc:spChg chg="add">
          <ac:chgData name="Bullinger, Marvin" userId="5b54ce5a-dc89-476f-af33-5abd75d5b1e8" providerId="ADAL" clId="{43B71669-8A80-4333-9349-B258A9296B49}" dt="2024-02-27T16:53:49.050" v="3382"/>
          <ac:spMkLst>
            <pc:docMk/>
            <pc:sldMk cId="1339647628" sldId="586"/>
            <ac:spMk id="356" creationId="{E5C58884-6665-AEF1-1022-3FD5D86C95A6}"/>
          </ac:spMkLst>
        </pc:spChg>
        <pc:spChg chg="add">
          <ac:chgData name="Bullinger, Marvin" userId="5b54ce5a-dc89-476f-af33-5abd75d5b1e8" providerId="ADAL" clId="{43B71669-8A80-4333-9349-B258A9296B49}" dt="2024-02-27T16:53:49.050" v="3382"/>
          <ac:spMkLst>
            <pc:docMk/>
            <pc:sldMk cId="1339647628" sldId="586"/>
            <ac:spMk id="357" creationId="{64866139-1CAD-56F8-3D22-C00980EA0A6F}"/>
          </ac:spMkLst>
        </pc:spChg>
        <pc:spChg chg="replST">
          <ac:chgData name="Bullinger, Marvin" userId="5b54ce5a-dc89-476f-af33-5abd75d5b1e8" providerId="ADAL" clId="{43B71669-8A80-4333-9349-B258A9296B49}" dt="2024-02-27T17:21:07.644" v="3804"/>
          <ac:spMkLst>
            <pc:docMk/>
            <pc:sldMk cId="1339647628" sldId="586"/>
            <ac:spMk id="357" creationId="{7FB06213-42BD-E5FE-284D-E88F9A73922F}"/>
          </ac:spMkLst>
        </pc:spChg>
        <pc:spChg chg="add">
          <ac:chgData name="Bullinger, Marvin" userId="5b54ce5a-dc89-476f-af33-5abd75d5b1e8" providerId="ADAL" clId="{43B71669-8A80-4333-9349-B258A9296B49}" dt="2024-02-27T16:53:49.050" v="3382"/>
          <ac:spMkLst>
            <pc:docMk/>
            <pc:sldMk cId="1339647628" sldId="586"/>
            <ac:spMk id="358" creationId="{247F7648-BACD-81CC-FAD5-158704D381A1}"/>
          </ac:spMkLst>
        </pc:spChg>
        <pc:spChg chg="replST">
          <ac:chgData name="Bullinger, Marvin" userId="5b54ce5a-dc89-476f-af33-5abd75d5b1e8" providerId="ADAL" clId="{43B71669-8A80-4333-9349-B258A9296B49}" dt="2024-02-27T17:21:07.644" v="3807"/>
          <ac:spMkLst>
            <pc:docMk/>
            <pc:sldMk cId="1339647628" sldId="586"/>
            <ac:spMk id="358" creationId="{5F234E16-3DCC-0F0F-485F-05380BC27C24}"/>
          </ac:spMkLst>
        </pc:spChg>
        <pc:spChg chg="add">
          <ac:chgData name="Bullinger, Marvin" userId="5b54ce5a-dc89-476f-af33-5abd75d5b1e8" providerId="ADAL" clId="{43B71669-8A80-4333-9349-B258A9296B49}" dt="2024-02-27T16:53:49.050" v="3382"/>
          <ac:spMkLst>
            <pc:docMk/>
            <pc:sldMk cId="1339647628" sldId="586"/>
            <ac:spMk id="359" creationId="{4F33CA0B-E022-B70D-BCC5-AC1ED388FC88}"/>
          </ac:spMkLst>
        </pc:spChg>
        <pc:spChg chg="replST">
          <ac:chgData name="Bullinger, Marvin" userId="5b54ce5a-dc89-476f-af33-5abd75d5b1e8" providerId="ADAL" clId="{43B71669-8A80-4333-9349-B258A9296B49}" dt="2024-02-27T17:21:07.644" v="3811"/>
          <ac:spMkLst>
            <pc:docMk/>
            <pc:sldMk cId="1339647628" sldId="586"/>
            <ac:spMk id="360" creationId="{EBBCE383-249A-E3E4-7269-9680D53957A3}"/>
          </ac:spMkLst>
        </pc:spChg>
        <pc:spChg chg="add">
          <ac:chgData name="Bullinger, Marvin" userId="5b54ce5a-dc89-476f-af33-5abd75d5b1e8" providerId="ADAL" clId="{43B71669-8A80-4333-9349-B258A9296B49}" dt="2024-02-27T16:53:49.050" v="3382"/>
          <ac:spMkLst>
            <pc:docMk/>
            <pc:sldMk cId="1339647628" sldId="586"/>
            <ac:spMk id="360" creationId="{F13A48F4-1DFC-8151-4A56-466356EC1D4E}"/>
          </ac:spMkLst>
        </pc:spChg>
        <pc:spChg chg="replST">
          <ac:chgData name="Bullinger, Marvin" userId="5b54ce5a-dc89-476f-af33-5abd75d5b1e8" providerId="ADAL" clId="{43B71669-8A80-4333-9349-B258A9296B49}" dt="2024-02-27T17:21:07.664" v="3814"/>
          <ac:spMkLst>
            <pc:docMk/>
            <pc:sldMk cId="1339647628" sldId="586"/>
            <ac:spMk id="361" creationId="{2594F1A0-FA17-F75F-AB57-8C76F0849708}"/>
          </ac:spMkLst>
        </pc:spChg>
        <pc:spChg chg="add">
          <ac:chgData name="Bullinger, Marvin" userId="5b54ce5a-dc89-476f-af33-5abd75d5b1e8" providerId="ADAL" clId="{43B71669-8A80-4333-9349-B258A9296B49}" dt="2024-02-27T16:53:49.050" v="3382"/>
          <ac:spMkLst>
            <pc:docMk/>
            <pc:sldMk cId="1339647628" sldId="586"/>
            <ac:spMk id="361" creationId="{C26AD03C-C260-B5CA-09EB-1F6FE5840485}"/>
          </ac:spMkLst>
        </pc:spChg>
        <pc:spChg chg="add">
          <ac:chgData name="Bullinger, Marvin" userId="5b54ce5a-dc89-476f-af33-5abd75d5b1e8" providerId="ADAL" clId="{43B71669-8A80-4333-9349-B258A9296B49}" dt="2024-02-27T16:53:49.050" v="3382"/>
          <ac:spMkLst>
            <pc:docMk/>
            <pc:sldMk cId="1339647628" sldId="586"/>
            <ac:spMk id="362" creationId="{B0377DE6-E776-C882-3811-067F832D4ED5}"/>
          </ac:spMkLst>
        </pc:spChg>
        <pc:spChg chg="replST">
          <ac:chgData name="Bullinger, Marvin" userId="5b54ce5a-dc89-476f-af33-5abd75d5b1e8" providerId="ADAL" clId="{43B71669-8A80-4333-9349-B258A9296B49}" dt="2024-02-27T17:21:07.664" v="3818"/>
          <ac:spMkLst>
            <pc:docMk/>
            <pc:sldMk cId="1339647628" sldId="586"/>
            <ac:spMk id="363" creationId="{3A0ADE94-6C81-3AFB-ABB2-C8E9C7C236D7}"/>
          </ac:spMkLst>
        </pc:spChg>
        <pc:spChg chg="add">
          <ac:chgData name="Bullinger, Marvin" userId="5b54ce5a-dc89-476f-af33-5abd75d5b1e8" providerId="ADAL" clId="{43B71669-8A80-4333-9349-B258A9296B49}" dt="2024-02-27T16:53:49.050" v="3382"/>
          <ac:spMkLst>
            <pc:docMk/>
            <pc:sldMk cId="1339647628" sldId="586"/>
            <ac:spMk id="363" creationId="{44AFBD93-6039-1FDE-21E5-04D0F92EE240}"/>
          </ac:spMkLst>
        </pc:spChg>
        <pc:spChg chg="replST">
          <ac:chgData name="Bullinger, Marvin" userId="5b54ce5a-dc89-476f-af33-5abd75d5b1e8" providerId="ADAL" clId="{43B71669-8A80-4333-9349-B258A9296B49}" dt="2024-02-27T17:21:07.672" v="3821"/>
          <ac:spMkLst>
            <pc:docMk/>
            <pc:sldMk cId="1339647628" sldId="586"/>
            <ac:spMk id="364" creationId="{98826628-16A1-29B2-4A60-D7DCB8900697}"/>
          </ac:spMkLst>
        </pc:spChg>
        <pc:spChg chg="add">
          <ac:chgData name="Bullinger, Marvin" userId="5b54ce5a-dc89-476f-af33-5abd75d5b1e8" providerId="ADAL" clId="{43B71669-8A80-4333-9349-B258A9296B49}" dt="2024-02-27T16:53:49.050" v="3382"/>
          <ac:spMkLst>
            <pc:docMk/>
            <pc:sldMk cId="1339647628" sldId="586"/>
            <ac:spMk id="364" creationId="{AFD13FE9-C24F-C4F3-4FD7-C00B4619DDF8}"/>
          </ac:spMkLst>
        </pc:spChg>
        <pc:spChg chg="add">
          <ac:chgData name="Bullinger, Marvin" userId="5b54ce5a-dc89-476f-af33-5abd75d5b1e8" providerId="ADAL" clId="{43B71669-8A80-4333-9349-B258A9296B49}" dt="2024-02-27T16:53:49.050" v="3382"/>
          <ac:spMkLst>
            <pc:docMk/>
            <pc:sldMk cId="1339647628" sldId="586"/>
            <ac:spMk id="365" creationId="{291AC95B-FB52-1FEC-A2F4-9A0D507A510A}"/>
          </ac:spMkLst>
        </pc:spChg>
        <pc:spChg chg="replST">
          <ac:chgData name="Bullinger, Marvin" userId="5b54ce5a-dc89-476f-af33-5abd75d5b1e8" providerId="ADAL" clId="{43B71669-8A80-4333-9349-B258A9296B49}" dt="2024-02-27T17:21:07.680" v="3825"/>
          <ac:spMkLst>
            <pc:docMk/>
            <pc:sldMk cId="1339647628" sldId="586"/>
            <ac:spMk id="366" creationId="{55AAEA7A-AB00-8C60-EDA9-BF349C03859C}"/>
          </ac:spMkLst>
        </pc:spChg>
        <pc:spChg chg="add">
          <ac:chgData name="Bullinger, Marvin" userId="5b54ce5a-dc89-476f-af33-5abd75d5b1e8" providerId="ADAL" clId="{43B71669-8A80-4333-9349-B258A9296B49}" dt="2024-02-27T16:53:49.050" v="3382"/>
          <ac:spMkLst>
            <pc:docMk/>
            <pc:sldMk cId="1339647628" sldId="586"/>
            <ac:spMk id="366" creationId="{B7BD32C8-E505-A59C-9D17-84D64DF82D50}"/>
          </ac:spMkLst>
        </pc:spChg>
        <pc:spChg chg="replST">
          <ac:chgData name="Bullinger, Marvin" userId="5b54ce5a-dc89-476f-af33-5abd75d5b1e8" providerId="ADAL" clId="{43B71669-8A80-4333-9349-B258A9296B49}" dt="2024-02-27T17:21:07.680" v="3828"/>
          <ac:spMkLst>
            <pc:docMk/>
            <pc:sldMk cId="1339647628" sldId="586"/>
            <ac:spMk id="367" creationId="{B3BA377C-3043-0CC3-4E84-5C4F9B9AE6D3}"/>
          </ac:spMkLst>
        </pc:spChg>
        <pc:spChg chg="add">
          <ac:chgData name="Bullinger, Marvin" userId="5b54ce5a-dc89-476f-af33-5abd75d5b1e8" providerId="ADAL" clId="{43B71669-8A80-4333-9349-B258A9296B49}" dt="2024-02-27T16:53:49.050" v="3382"/>
          <ac:spMkLst>
            <pc:docMk/>
            <pc:sldMk cId="1339647628" sldId="586"/>
            <ac:spMk id="367" creationId="{C22B3520-567A-C854-B51C-24E27A07CFDF}"/>
          </ac:spMkLst>
        </pc:spChg>
        <pc:spChg chg="add">
          <ac:chgData name="Bullinger, Marvin" userId="5b54ce5a-dc89-476f-af33-5abd75d5b1e8" providerId="ADAL" clId="{43B71669-8A80-4333-9349-B258A9296B49}" dt="2024-02-27T16:53:49.050" v="3382"/>
          <ac:spMkLst>
            <pc:docMk/>
            <pc:sldMk cId="1339647628" sldId="586"/>
            <ac:spMk id="368" creationId="{FB40E6DA-4FAF-EC81-B778-F964AC8CCD4D}"/>
          </ac:spMkLst>
        </pc:spChg>
        <pc:spChg chg="replST">
          <ac:chgData name="Bullinger, Marvin" userId="5b54ce5a-dc89-476f-af33-5abd75d5b1e8" providerId="ADAL" clId="{43B71669-8A80-4333-9349-B258A9296B49}" dt="2024-02-27T17:21:07.689" v="3832"/>
          <ac:spMkLst>
            <pc:docMk/>
            <pc:sldMk cId="1339647628" sldId="586"/>
            <ac:spMk id="369" creationId="{24C6659A-8EFE-4966-0C1C-28310C98EA56}"/>
          </ac:spMkLst>
        </pc:spChg>
        <pc:spChg chg="add">
          <ac:chgData name="Bullinger, Marvin" userId="5b54ce5a-dc89-476f-af33-5abd75d5b1e8" providerId="ADAL" clId="{43B71669-8A80-4333-9349-B258A9296B49}" dt="2024-02-27T16:53:49.050" v="3382"/>
          <ac:spMkLst>
            <pc:docMk/>
            <pc:sldMk cId="1339647628" sldId="586"/>
            <ac:spMk id="369" creationId="{549DCFC4-1253-1946-1DF7-4CA5D42C0E2F}"/>
          </ac:spMkLst>
        </pc:spChg>
        <pc:spChg chg="replST">
          <ac:chgData name="Bullinger, Marvin" userId="5b54ce5a-dc89-476f-af33-5abd75d5b1e8" providerId="ADAL" clId="{43B71669-8A80-4333-9349-B258A9296B49}" dt="2024-02-27T17:21:07.701" v="3835"/>
          <ac:spMkLst>
            <pc:docMk/>
            <pc:sldMk cId="1339647628" sldId="586"/>
            <ac:spMk id="370" creationId="{13BF7408-1B1E-2612-19C0-EC3D21D546DF}"/>
          </ac:spMkLst>
        </pc:spChg>
        <pc:spChg chg="add">
          <ac:chgData name="Bullinger, Marvin" userId="5b54ce5a-dc89-476f-af33-5abd75d5b1e8" providerId="ADAL" clId="{43B71669-8A80-4333-9349-B258A9296B49}" dt="2024-02-27T16:53:49.050" v="3382"/>
          <ac:spMkLst>
            <pc:docMk/>
            <pc:sldMk cId="1339647628" sldId="586"/>
            <ac:spMk id="370" creationId="{B1C8582B-AAB1-3251-DAE3-EB8CE695A205}"/>
          </ac:spMkLst>
        </pc:spChg>
        <pc:spChg chg="add">
          <ac:chgData name="Bullinger, Marvin" userId="5b54ce5a-dc89-476f-af33-5abd75d5b1e8" providerId="ADAL" clId="{43B71669-8A80-4333-9349-B258A9296B49}" dt="2024-02-27T16:53:49.050" v="3382"/>
          <ac:spMkLst>
            <pc:docMk/>
            <pc:sldMk cId="1339647628" sldId="586"/>
            <ac:spMk id="371" creationId="{70777312-063D-4D3C-94B7-B50E18FC3DD5}"/>
          </ac:spMkLst>
        </pc:spChg>
        <pc:spChg chg="replST">
          <ac:chgData name="Bullinger, Marvin" userId="5b54ce5a-dc89-476f-af33-5abd75d5b1e8" providerId="ADAL" clId="{43B71669-8A80-4333-9349-B258A9296B49}" dt="2024-02-27T17:21:07.702" v="3839"/>
          <ac:spMkLst>
            <pc:docMk/>
            <pc:sldMk cId="1339647628" sldId="586"/>
            <ac:spMk id="372" creationId="{DA9854AD-E38C-0414-DC81-888CB25A2C27}"/>
          </ac:spMkLst>
        </pc:spChg>
        <pc:spChg chg="add">
          <ac:chgData name="Bullinger, Marvin" userId="5b54ce5a-dc89-476f-af33-5abd75d5b1e8" providerId="ADAL" clId="{43B71669-8A80-4333-9349-B258A9296B49}" dt="2024-02-27T16:53:49.050" v="3382"/>
          <ac:spMkLst>
            <pc:docMk/>
            <pc:sldMk cId="1339647628" sldId="586"/>
            <ac:spMk id="372" creationId="{E4299C09-50F0-C289-CA49-312A389791A6}"/>
          </ac:spMkLst>
        </pc:spChg>
        <pc:spChg chg="add">
          <ac:chgData name="Bullinger, Marvin" userId="5b54ce5a-dc89-476f-af33-5abd75d5b1e8" providerId="ADAL" clId="{43B71669-8A80-4333-9349-B258A9296B49}" dt="2024-02-27T16:53:49.050" v="3382"/>
          <ac:spMkLst>
            <pc:docMk/>
            <pc:sldMk cId="1339647628" sldId="586"/>
            <ac:spMk id="373" creationId="{12126D80-DE83-5575-8A6F-DE190FFE3E02}"/>
          </ac:spMkLst>
        </pc:spChg>
        <pc:spChg chg="replST">
          <ac:chgData name="Bullinger, Marvin" userId="5b54ce5a-dc89-476f-af33-5abd75d5b1e8" providerId="ADAL" clId="{43B71669-8A80-4333-9349-B258A9296B49}" dt="2024-02-27T17:21:07.702" v="3842"/>
          <ac:spMkLst>
            <pc:docMk/>
            <pc:sldMk cId="1339647628" sldId="586"/>
            <ac:spMk id="373" creationId="{3F28864E-2A52-78F4-16FB-6DC7DC7BDD9B}"/>
          </ac:spMkLst>
        </pc:spChg>
        <pc:spChg chg="add">
          <ac:chgData name="Bullinger, Marvin" userId="5b54ce5a-dc89-476f-af33-5abd75d5b1e8" providerId="ADAL" clId="{43B71669-8A80-4333-9349-B258A9296B49}" dt="2024-02-27T16:53:49.050" v="3382"/>
          <ac:spMkLst>
            <pc:docMk/>
            <pc:sldMk cId="1339647628" sldId="586"/>
            <ac:spMk id="374" creationId="{DA6A01E6-7685-610D-0473-348BB202F9C7}"/>
          </ac:spMkLst>
        </pc:spChg>
        <pc:spChg chg="add">
          <ac:chgData name="Bullinger, Marvin" userId="5b54ce5a-dc89-476f-af33-5abd75d5b1e8" providerId="ADAL" clId="{43B71669-8A80-4333-9349-B258A9296B49}" dt="2024-02-27T16:53:49.050" v="3382"/>
          <ac:spMkLst>
            <pc:docMk/>
            <pc:sldMk cId="1339647628" sldId="586"/>
            <ac:spMk id="375" creationId="{891652E0-5523-7917-1DE7-AD52BE907D38}"/>
          </ac:spMkLst>
        </pc:spChg>
        <pc:spChg chg="replST">
          <ac:chgData name="Bullinger, Marvin" userId="5b54ce5a-dc89-476f-af33-5abd75d5b1e8" providerId="ADAL" clId="{43B71669-8A80-4333-9349-B258A9296B49}" dt="2024-02-27T17:21:07.718" v="3846"/>
          <ac:spMkLst>
            <pc:docMk/>
            <pc:sldMk cId="1339647628" sldId="586"/>
            <ac:spMk id="375" creationId="{FA4A0B2F-0A86-8F9F-D873-669AA8F2F1A7}"/>
          </ac:spMkLst>
        </pc:spChg>
        <pc:spChg chg="replST">
          <ac:chgData name="Bullinger, Marvin" userId="5b54ce5a-dc89-476f-af33-5abd75d5b1e8" providerId="ADAL" clId="{43B71669-8A80-4333-9349-B258A9296B49}" dt="2024-02-27T17:21:07.718" v="3849"/>
          <ac:spMkLst>
            <pc:docMk/>
            <pc:sldMk cId="1339647628" sldId="586"/>
            <ac:spMk id="376" creationId="{02F9C148-F42E-1EF8-5142-9F6F7F28D0D6}"/>
          </ac:spMkLst>
        </pc:spChg>
        <pc:spChg chg="add">
          <ac:chgData name="Bullinger, Marvin" userId="5b54ce5a-dc89-476f-af33-5abd75d5b1e8" providerId="ADAL" clId="{43B71669-8A80-4333-9349-B258A9296B49}" dt="2024-02-27T16:53:49.050" v="3382"/>
          <ac:spMkLst>
            <pc:docMk/>
            <pc:sldMk cId="1339647628" sldId="586"/>
            <ac:spMk id="376" creationId="{2BA1414C-59FB-1311-C928-1DA7FB74C3CE}"/>
          </ac:spMkLst>
        </pc:spChg>
        <pc:spChg chg="add">
          <ac:chgData name="Bullinger, Marvin" userId="5b54ce5a-dc89-476f-af33-5abd75d5b1e8" providerId="ADAL" clId="{43B71669-8A80-4333-9349-B258A9296B49}" dt="2024-02-27T16:53:49.050" v="3382"/>
          <ac:spMkLst>
            <pc:docMk/>
            <pc:sldMk cId="1339647628" sldId="586"/>
            <ac:spMk id="377" creationId="{04A3E2C6-7C86-1093-416D-225517D6BA6A}"/>
          </ac:spMkLst>
        </pc:spChg>
        <pc:spChg chg="add">
          <ac:chgData name="Bullinger, Marvin" userId="5b54ce5a-dc89-476f-af33-5abd75d5b1e8" providerId="ADAL" clId="{43B71669-8A80-4333-9349-B258A9296B49}" dt="2024-02-27T16:53:49.050" v="3382"/>
          <ac:spMkLst>
            <pc:docMk/>
            <pc:sldMk cId="1339647628" sldId="586"/>
            <ac:spMk id="378" creationId="{F5687067-5DE5-F3EB-D9F4-37DAE76A8183}"/>
          </ac:spMkLst>
        </pc:spChg>
        <pc:spChg chg="add">
          <ac:chgData name="Bullinger, Marvin" userId="5b54ce5a-dc89-476f-af33-5abd75d5b1e8" providerId="ADAL" clId="{43B71669-8A80-4333-9349-B258A9296B49}" dt="2024-02-27T16:53:49.050" v="3382"/>
          <ac:spMkLst>
            <pc:docMk/>
            <pc:sldMk cId="1339647628" sldId="586"/>
            <ac:spMk id="379" creationId="{C4857F22-E17D-8425-B3A0-61384A8106AB}"/>
          </ac:spMkLst>
        </pc:spChg>
        <pc:spChg chg="add">
          <ac:chgData name="Bullinger, Marvin" userId="5b54ce5a-dc89-476f-af33-5abd75d5b1e8" providerId="ADAL" clId="{43B71669-8A80-4333-9349-B258A9296B49}" dt="2024-02-27T16:53:49.050" v="3382"/>
          <ac:spMkLst>
            <pc:docMk/>
            <pc:sldMk cId="1339647628" sldId="586"/>
            <ac:spMk id="380" creationId="{97FE84BA-E7FE-DBDA-63EB-192EC8B04316}"/>
          </ac:spMkLst>
        </pc:spChg>
        <pc:spChg chg="add del mod">
          <ac:chgData name="Bullinger, Marvin" userId="5b54ce5a-dc89-476f-af33-5abd75d5b1e8" providerId="ADAL" clId="{43B71669-8A80-4333-9349-B258A9296B49}" dt="2024-02-27T16:53:49.050" v="3382"/>
          <ac:spMkLst>
            <pc:docMk/>
            <pc:sldMk cId="1339647628" sldId="586"/>
            <ac:spMk id="382" creationId="{448BDC07-061F-094F-443F-FFE9CFB20DF4}"/>
          </ac:spMkLst>
        </pc:spChg>
        <pc:spChg chg="mod ord replST delST">
          <ac:chgData name="Bullinger, Marvin" userId="5b54ce5a-dc89-476f-af33-5abd75d5b1e8" providerId="ADAL" clId="{43B71669-8A80-4333-9349-B258A9296B49}" dt="2024-02-27T16:53:49.050" v="3382"/>
          <ac:spMkLst>
            <pc:docMk/>
            <pc:sldMk cId="1339647628" sldId="586"/>
            <ac:spMk id="383" creationId="{E89FD9D0-91F5-DF53-B6FC-0975D5945B1B}"/>
          </ac:spMkLst>
        </pc:spChg>
        <pc:spChg chg="add del">
          <ac:chgData name="Bullinger, Marvin" userId="5b54ce5a-dc89-476f-af33-5abd75d5b1e8" providerId="ADAL" clId="{43B71669-8A80-4333-9349-B258A9296B49}" dt="2024-02-27T16:53:49.050" v="3382"/>
          <ac:spMkLst>
            <pc:docMk/>
            <pc:sldMk cId="1339647628" sldId="586"/>
            <ac:spMk id="384" creationId="{55D8A9C2-CB87-66BB-3F25-47DDE4065E6B}"/>
          </ac:spMkLst>
        </pc:spChg>
        <pc:spChg chg="add del">
          <ac:chgData name="Bullinger, Marvin" userId="5b54ce5a-dc89-476f-af33-5abd75d5b1e8" providerId="ADAL" clId="{43B71669-8A80-4333-9349-B258A9296B49}" dt="2024-02-27T16:53:49.050" v="3382"/>
          <ac:spMkLst>
            <pc:docMk/>
            <pc:sldMk cId="1339647628" sldId="586"/>
            <ac:spMk id="385" creationId="{EE65AC95-5E05-AC10-1490-71C2E4E15DD7}"/>
          </ac:spMkLst>
        </pc:spChg>
        <pc:spChg chg="add del">
          <ac:chgData name="Bullinger, Marvin" userId="5b54ce5a-dc89-476f-af33-5abd75d5b1e8" providerId="ADAL" clId="{43B71669-8A80-4333-9349-B258A9296B49}" dt="2024-02-27T16:53:49.050" v="3382"/>
          <ac:spMkLst>
            <pc:docMk/>
            <pc:sldMk cId="1339647628" sldId="586"/>
            <ac:spMk id="386" creationId="{A57149F6-DB18-FEC5-BA78-FCB1A8B860CD}"/>
          </ac:spMkLst>
        </pc:spChg>
        <pc:spChg chg="add del">
          <ac:chgData name="Bullinger, Marvin" userId="5b54ce5a-dc89-476f-af33-5abd75d5b1e8" providerId="ADAL" clId="{43B71669-8A80-4333-9349-B258A9296B49}" dt="2024-02-27T16:53:49.050" v="3382"/>
          <ac:spMkLst>
            <pc:docMk/>
            <pc:sldMk cId="1339647628" sldId="586"/>
            <ac:spMk id="387" creationId="{FB9D5D39-D7A6-60E3-BC9F-049C2C3C7BB6}"/>
          </ac:spMkLst>
        </pc:spChg>
        <pc:spChg chg="add del">
          <ac:chgData name="Bullinger, Marvin" userId="5b54ce5a-dc89-476f-af33-5abd75d5b1e8" providerId="ADAL" clId="{43B71669-8A80-4333-9349-B258A9296B49}" dt="2024-02-27T16:53:49.050" v="3382"/>
          <ac:spMkLst>
            <pc:docMk/>
            <pc:sldMk cId="1339647628" sldId="586"/>
            <ac:spMk id="388" creationId="{F62FAB2B-85A0-3DCD-6C25-2584CE128EBF}"/>
          </ac:spMkLst>
        </pc:spChg>
        <pc:spChg chg="add del">
          <ac:chgData name="Bullinger, Marvin" userId="5b54ce5a-dc89-476f-af33-5abd75d5b1e8" providerId="ADAL" clId="{43B71669-8A80-4333-9349-B258A9296B49}" dt="2024-02-27T16:53:49.050" v="3382"/>
          <ac:spMkLst>
            <pc:docMk/>
            <pc:sldMk cId="1339647628" sldId="586"/>
            <ac:spMk id="389" creationId="{35ED916B-02E9-F8BD-8D14-0844BB374842}"/>
          </ac:spMkLst>
        </pc:spChg>
        <pc:spChg chg="add del">
          <ac:chgData name="Bullinger, Marvin" userId="5b54ce5a-dc89-476f-af33-5abd75d5b1e8" providerId="ADAL" clId="{43B71669-8A80-4333-9349-B258A9296B49}" dt="2024-02-27T16:53:49.050" v="3382"/>
          <ac:spMkLst>
            <pc:docMk/>
            <pc:sldMk cId="1339647628" sldId="586"/>
            <ac:spMk id="390" creationId="{0A9002F2-41D2-C6EA-9C96-DCD78317B956}"/>
          </ac:spMkLst>
        </pc:spChg>
        <pc:spChg chg="add del">
          <ac:chgData name="Bullinger, Marvin" userId="5b54ce5a-dc89-476f-af33-5abd75d5b1e8" providerId="ADAL" clId="{43B71669-8A80-4333-9349-B258A9296B49}" dt="2024-02-27T16:53:49.050" v="3382"/>
          <ac:spMkLst>
            <pc:docMk/>
            <pc:sldMk cId="1339647628" sldId="586"/>
            <ac:spMk id="391" creationId="{C70A5A07-5097-EE9E-F8AB-9EFDB7BD3BF0}"/>
          </ac:spMkLst>
        </pc:spChg>
        <pc:spChg chg="add del">
          <ac:chgData name="Bullinger, Marvin" userId="5b54ce5a-dc89-476f-af33-5abd75d5b1e8" providerId="ADAL" clId="{43B71669-8A80-4333-9349-B258A9296B49}" dt="2024-02-27T16:53:49.050" v="3382"/>
          <ac:spMkLst>
            <pc:docMk/>
            <pc:sldMk cId="1339647628" sldId="586"/>
            <ac:spMk id="392" creationId="{018F25D3-C14A-FF41-3AF4-E3AD8C6FF1EB}"/>
          </ac:spMkLst>
        </pc:spChg>
        <pc:spChg chg="add del">
          <ac:chgData name="Bullinger, Marvin" userId="5b54ce5a-dc89-476f-af33-5abd75d5b1e8" providerId="ADAL" clId="{43B71669-8A80-4333-9349-B258A9296B49}" dt="2024-02-27T16:53:49.050" v="3382"/>
          <ac:spMkLst>
            <pc:docMk/>
            <pc:sldMk cId="1339647628" sldId="586"/>
            <ac:spMk id="393" creationId="{A47B9E23-5CEC-5850-004F-2A6F265728D2}"/>
          </ac:spMkLst>
        </pc:spChg>
        <pc:spChg chg="add del">
          <ac:chgData name="Bullinger, Marvin" userId="5b54ce5a-dc89-476f-af33-5abd75d5b1e8" providerId="ADAL" clId="{43B71669-8A80-4333-9349-B258A9296B49}" dt="2024-02-27T16:53:49.050" v="3382"/>
          <ac:spMkLst>
            <pc:docMk/>
            <pc:sldMk cId="1339647628" sldId="586"/>
            <ac:spMk id="394" creationId="{C0F6E461-97E5-94FA-7F4B-5FAA9A8758F0}"/>
          </ac:spMkLst>
        </pc:spChg>
        <pc:spChg chg="add del">
          <ac:chgData name="Bullinger, Marvin" userId="5b54ce5a-dc89-476f-af33-5abd75d5b1e8" providerId="ADAL" clId="{43B71669-8A80-4333-9349-B258A9296B49}" dt="2024-02-27T16:53:49.050" v="3382"/>
          <ac:spMkLst>
            <pc:docMk/>
            <pc:sldMk cId="1339647628" sldId="586"/>
            <ac:spMk id="395" creationId="{F4C555BC-E181-1539-31D0-68E2A64C8EBE}"/>
          </ac:spMkLst>
        </pc:spChg>
        <pc:spChg chg="add del">
          <ac:chgData name="Bullinger, Marvin" userId="5b54ce5a-dc89-476f-af33-5abd75d5b1e8" providerId="ADAL" clId="{43B71669-8A80-4333-9349-B258A9296B49}" dt="2024-02-27T16:53:49.050" v="3382"/>
          <ac:spMkLst>
            <pc:docMk/>
            <pc:sldMk cId="1339647628" sldId="586"/>
            <ac:spMk id="396" creationId="{AA7A4FEF-416A-8115-4B50-A0C54DC3FB77}"/>
          </ac:spMkLst>
        </pc:spChg>
        <pc:spChg chg="add del">
          <ac:chgData name="Bullinger, Marvin" userId="5b54ce5a-dc89-476f-af33-5abd75d5b1e8" providerId="ADAL" clId="{43B71669-8A80-4333-9349-B258A9296B49}" dt="2024-02-27T16:53:49.050" v="3382"/>
          <ac:spMkLst>
            <pc:docMk/>
            <pc:sldMk cId="1339647628" sldId="586"/>
            <ac:spMk id="397" creationId="{CBF6E7A5-231F-A291-6905-3AA58BFBFE2B}"/>
          </ac:spMkLst>
        </pc:spChg>
        <pc:spChg chg="add del">
          <ac:chgData name="Bullinger, Marvin" userId="5b54ce5a-dc89-476f-af33-5abd75d5b1e8" providerId="ADAL" clId="{43B71669-8A80-4333-9349-B258A9296B49}" dt="2024-02-27T16:53:49.050" v="3382"/>
          <ac:spMkLst>
            <pc:docMk/>
            <pc:sldMk cId="1339647628" sldId="586"/>
            <ac:spMk id="398" creationId="{C0771AE1-B187-0B1A-A411-5D2736116279}"/>
          </ac:spMkLst>
        </pc:spChg>
        <pc:spChg chg="add del">
          <ac:chgData name="Bullinger, Marvin" userId="5b54ce5a-dc89-476f-af33-5abd75d5b1e8" providerId="ADAL" clId="{43B71669-8A80-4333-9349-B258A9296B49}" dt="2024-02-27T16:53:49.050" v="3382"/>
          <ac:spMkLst>
            <pc:docMk/>
            <pc:sldMk cId="1339647628" sldId="586"/>
            <ac:spMk id="399" creationId="{CC38F896-B62D-19A7-ECE8-CEF138E3AEFA}"/>
          </ac:spMkLst>
        </pc:spChg>
        <pc:spChg chg="add del">
          <ac:chgData name="Bullinger, Marvin" userId="5b54ce5a-dc89-476f-af33-5abd75d5b1e8" providerId="ADAL" clId="{43B71669-8A80-4333-9349-B258A9296B49}" dt="2024-02-27T16:53:49.050" v="3382"/>
          <ac:spMkLst>
            <pc:docMk/>
            <pc:sldMk cId="1339647628" sldId="586"/>
            <ac:spMk id="400" creationId="{EA409DEF-6640-325F-C759-4FA402EDC6CC}"/>
          </ac:spMkLst>
        </pc:spChg>
        <pc:spChg chg="add del">
          <ac:chgData name="Bullinger, Marvin" userId="5b54ce5a-dc89-476f-af33-5abd75d5b1e8" providerId="ADAL" clId="{43B71669-8A80-4333-9349-B258A9296B49}" dt="2024-02-27T16:53:49.050" v="3382"/>
          <ac:spMkLst>
            <pc:docMk/>
            <pc:sldMk cId="1339647628" sldId="586"/>
            <ac:spMk id="401" creationId="{ADD83B1C-CFED-AB9F-65B7-F597BF271BA6}"/>
          </ac:spMkLst>
        </pc:spChg>
        <pc:spChg chg="add del">
          <ac:chgData name="Bullinger, Marvin" userId="5b54ce5a-dc89-476f-af33-5abd75d5b1e8" providerId="ADAL" clId="{43B71669-8A80-4333-9349-B258A9296B49}" dt="2024-02-27T16:53:49.050" v="3382"/>
          <ac:spMkLst>
            <pc:docMk/>
            <pc:sldMk cId="1339647628" sldId="586"/>
            <ac:spMk id="402" creationId="{3596A413-6E09-8A3F-1F32-2DD6D47AD377}"/>
          </ac:spMkLst>
        </pc:spChg>
        <pc:spChg chg="add del">
          <ac:chgData name="Bullinger, Marvin" userId="5b54ce5a-dc89-476f-af33-5abd75d5b1e8" providerId="ADAL" clId="{43B71669-8A80-4333-9349-B258A9296B49}" dt="2024-02-27T16:53:49.050" v="3382"/>
          <ac:spMkLst>
            <pc:docMk/>
            <pc:sldMk cId="1339647628" sldId="586"/>
            <ac:spMk id="403" creationId="{AE45F440-556D-63F7-3887-1E4C06E6B7AB}"/>
          </ac:spMkLst>
        </pc:spChg>
        <pc:spChg chg="add del">
          <ac:chgData name="Bullinger, Marvin" userId="5b54ce5a-dc89-476f-af33-5abd75d5b1e8" providerId="ADAL" clId="{43B71669-8A80-4333-9349-B258A9296B49}" dt="2024-02-27T16:53:49.050" v="3382"/>
          <ac:spMkLst>
            <pc:docMk/>
            <pc:sldMk cId="1339647628" sldId="586"/>
            <ac:spMk id="404" creationId="{7B2550EA-117F-A758-A8EB-EF480048349A}"/>
          </ac:spMkLst>
        </pc:spChg>
        <pc:spChg chg="add del">
          <ac:chgData name="Bullinger, Marvin" userId="5b54ce5a-dc89-476f-af33-5abd75d5b1e8" providerId="ADAL" clId="{43B71669-8A80-4333-9349-B258A9296B49}" dt="2024-02-27T16:53:49.050" v="3382"/>
          <ac:spMkLst>
            <pc:docMk/>
            <pc:sldMk cId="1339647628" sldId="586"/>
            <ac:spMk id="405" creationId="{12DB5AFB-8748-A279-ABCC-42235A4A5C12}"/>
          </ac:spMkLst>
        </pc:spChg>
        <pc:spChg chg="add del">
          <ac:chgData name="Bullinger, Marvin" userId="5b54ce5a-dc89-476f-af33-5abd75d5b1e8" providerId="ADAL" clId="{43B71669-8A80-4333-9349-B258A9296B49}" dt="2024-02-27T16:53:49.050" v="3382"/>
          <ac:spMkLst>
            <pc:docMk/>
            <pc:sldMk cId="1339647628" sldId="586"/>
            <ac:spMk id="406" creationId="{CBC503F2-6174-57B6-99E0-F39F4C944D5D}"/>
          </ac:spMkLst>
        </pc:spChg>
        <pc:spChg chg="add del">
          <ac:chgData name="Bullinger, Marvin" userId="5b54ce5a-dc89-476f-af33-5abd75d5b1e8" providerId="ADAL" clId="{43B71669-8A80-4333-9349-B258A9296B49}" dt="2024-02-27T16:53:49.050" v="3382"/>
          <ac:spMkLst>
            <pc:docMk/>
            <pc:sldMk cId="1339647628" sldId="586"/>
            <ac:spMk id="407" creationId="{AA9BE291-8BA0-125E-6759-9EA2D01DC8F8}"/>
          </ac:spMkLst>
        </pc:spChg>
        <pc:spChg chg="add del">
          <ac:chgData name="Bullinger, Marvin" userId="5b54ce5a-dc89-476f-af33-5abd75d5b1e8" providerId="ADAL" clId="{43B71669-8A80-4333-9349-B258A9296B49}" dt="2024-02-27T16:53:49.050" v="3382"/>
          <ac:spMkLst>
            <pc:docMk/>
            <pc:sldMk cId="1339647628" sldId="586"/>
            <ac:spMk id="408" creationId="{8A1924F5-C078-09FF-1DF1-A22F55149FF1}"/>
          </ac:spMkLst>
        </pc:spChg>
        <pc:spChg chg="add del">
          <ac:chgData name="Bullinger, Marvin" userId="5b54ce5a-dc89-476f-af33-5abd75d5b1e8" providerId="ADAL" clId="{43B71669-8A80-4333-9349-B258A9296B49}" dt="2024-02-27T16:53:49.050" v="3382"/>
          <ac:spMkLst>
            <pc:docMk/>
            <pc:sldMk cId="1339647628" sldId="586"/>
            <ac:spMk id="409" creationId="{6280E516-E627-0B1E-D2C0-27E7060CED8A}"/>
          </ac:spMkLst>
        </pc:spChg>
        <pc:spChg chg="add del">
          <ac:chgData name="Bullinger, Marvin" userId="5b54ce5a-dc89-476f-af33-5abd75d5b1e8" providerId="ADAL" clId="{43B71669-8A80-4333-9349-B258A9296B49}" dt="2024-02-27T16:53:49.050" v="3382"/>
          <ac:spMkLst>
            <pc:docMk/>
            <pc:sldMk cId="1339647628" sldId="586"/>
            <ac:spMk id="410" creationId="{40E37B77-1489-175F-4983-0406D10EAC91}"/>
          </ac:spMkLst>
        </pc:spChg>
        <pc:spChg chg="add del">
          <ac:chgData name="Bullinger, Marvin" userId="5b54ce5a-dc89-476f-af33-5abd75d5b1e8" providerId="ADAL" clId="{43B71669-8A80-4333-9349-B258A9296B49}" dt="2024-02-27T16:53:49.050" v="3382"/>
          <ac:spMkLst>
            <pc:docMk/>
            <pc:sldMk cId="1339647628" sldId="586"/>
            <ac:spMk id="411" creationId="{B91A25B5-D710-0B43-1785-7FB5F771927B}"/>
          </ac:spMkLst>
        </pc:spChg>
        <pc:spChg chg="add del">
          <ac:chgData name="Bullinger, Marvin" userId="5b54ce5a-dc89-476f-af33-5abd75d5b1e8" providerId="ADAL" clId="{43B71669-8A80-4333-9349-B258A9296B49}" dt="2024-02-27T16:53:49.050" v="3382"/>
          <ac:spMkLst>
            <pc:docMk/>
            <pc:sldMk cId="1339647628" sldId="586"/>
            <ac:spMk id="412" creationId="{D74C2545-E2B3-8D24-C82D-F5CAD514D2DE}"/>
          </ac:spMkLst>
        </pc:spChg>
        <pc:spChg chg="add del">
          <ac:chgData name="Bullinger, Marvin" userId="5b54ce5a-dc89-476f-af33-5abd75d5b1e8" providerId="ADAL" clId="{43B71669-8A80-4333-9349-B258A9296B49}" dt="2024-02-27T16:53:49.050" v="3382"/>
          <ac:spMkLst>
            <pc:docMk/>
            <pc:sldMk cId="1339647628" sldId="586"/>
            <ac:spMk id="413" creationId="{6ADD76BA-789E-EBBB-D357-DAEB3EF4940C}"/>
          </ac:spMkLst>
        </pc:spChg>
        <pc:spChg chg="add del">
          <ac:chgData name="Bullinger, Marvin" userId="5b54ce5a-dc89-476f-af33-5abd75d5b1e8" providerId="ADAL" clId="{43B71669-8A80-4333-9349-B258A9296B49}" dt="2024-02-27T16:53:49.050" v="3382"/>
          <ac:spMkLst>
            <pc:docMk/>
            <pc:sldMk cId="1339647628" sldId="586"/>
            <ac:spMk id="414" creationId="{4F45F994-8E5F-CCF6-4B01-F89E528E3B2E}"/>
          </ac:spMkLst>
        </pc:spChg>
        <pc:spChg chg="add del">
          <ac:chgData name="Bullinger, Marvin" userId="5b54ce5a-dc89-476f-af33-5abd75d5b1e8" providerId="ADAL" clId="{43B71669-8A80-4333-9349-B258A9296B49}" dt="2024-02-27T16:53:49.050" v="3382"/>
          <ac:spMkLst>
            <pc:docMk/>
            <pc:sldMk cId="1339647628" sldId="586"/>
            <ac:spMk id="415" creationId="{70B1D49B-91C0-83D0-6378-F04BDE53F775}"/>
          </ac:spMkLst>
        </pc:spChg>
        <pc:spChg chg="add del">
          <ac:chgData name="Bullinger, Marvin" userId="5b54ce5a-dc89-476f-af33-5abd75d5b1e8" providerId="ADAL" clId="{43B71669-8A80-4333-9349-B258A9296B49}" dt="2024-02-27T16:53:49.050" v="3382"/>
          <ac:spMkLst>
            <pc:docMk/>
            <pc:sldMk cId="1339647628" sldId="586"/>
            <ac:spMk id="416" creationId="{16FE1615-DD4C-1AAE-8E28-BA6B31778D2C}"/>
          </ac:spMkLst>
        </pc:spChg>
        <pc:spChg chg="add del">
          <ac:chgData name="Bullinger, Marvin" userId="5b54ce5a-dc89-476f-af33-5abd75d5b1e8" providerId="ADAL" clId="{43B71669-8A80-4333-9349-B258A9296B49}" dt="2024-02-27T16:53:49.050" v="3382"/>
          <ac:spMkLst>
            <pc:docMk/>
            <pc:sldMk cId="1339647628" sldId="586"/>
            <ac:spMk id="417" creationId="{BF570335-367D-7211-C09C-8D1AE0076CC3}"/>
          </ac:spMkLst>
        </pc:spChg>
        <pc:spChg chg="add mod">
          <ac:chgData name="Bullinger, Marvin" userId="5b54ce5a-dc89-476f-af33-5abd75d5b1e8" providerId="ADAL" clId="{43B71669-8A80-4333-9349-B258A9296B49}" dt="2024-02-27T17:26:23.005" v="4406" actId="478"/>
          <ac:spMkLst>
            <pc:docMk/>
            <pc:sldMk cId="1339647628" sldId="586"/>
            <ac:spMk id="417" creationId="{FD565CFD-2756-D317-A588-4742438BD224}"/>
          </ac:spMkLst>
        </pc:spChg>
        <pc:spChg chg="del mod ord replST">
          <ac:chgData name="Bullinger, Marvin" userId="5b54ce5a-dc89-476f-af33-5abd75d5b1e8" providerId="ADAL" clId="{43B71669-8A80-4333-9349-B258A9296B49}" dt="2024-02-27T17:26:58.983" v="5730" actId="478"/>
          <ac:spMkLst>
            <pc:docMk/>
            <pc:sldMk cId="1339647628" sldId="586"/>
            <ac:spMk id="418" creationId="{574787C8-A4C0-A0EE-7516-182E95FB32B6}"/>
          </ac:spMkLst>
        </pc:spChg>
        <pc:spChg chg="add del">
          <ac:chgData name="Bullinger, Marvin" userId="5b54ce5a-dc89-476f-af33-5abd75d5b1e8" providerId="ADAL" clId="{43B71669-8A80-4333-9349-B258A9296B49}" dt="2024-02-27T16:53:49.050" v="3382"/>
          <ac:spMkLst>
            <pc:docMk/>
            <pc:sldMk cId="1339647628" sldId="586"/>
            <ac:spMk id="418" creationId="{DA1B32A4-99F3-1F8B-F5D6-7837BDAD6B8A}"/>
          </ac:spMkLst>
        </pc:spChg>
        <pc:spChg chg="add del">
          <ac:chgData name="Bullinger, Marvin" userId="5b54ce5a-dc89-476f-af33-5abd75d5b1e8" providerId="ADAL" clId="{43B71669-8A80-4333-9349-B258A9296B49}" dt="2024-02-27T16:53:49.050" v="3382"/>
          <ac:spMkLst>
            <pc:docMk/>
            <pc:sldMk cId="1339647628" sldId="586"/>
            <ac:spMk id="419" creationId="{BA975208-0B47-CD99-8958-5290D6297747}"/>
          </ac:spMkLst>
        </pc:spChg>
        <pc:spChg chg="del">
          <ac:chgData name="Bullinger, Marvin" userId="5b54ce5a-dc89-476f-af33-5abd75d5b1e8" providerId="ADAL" clId="{43B71669-8A80-4333-9349-B258A9296B49}" dt="2024-02-27T17:26:23.046" v="4443" actId="478"/>
          <ac:spMkLst>
            <pc:docMk/>
            <pc:sldMk cId="1339647628" sldId="586"/>
            <ac:spMk id="419" creationId="{FAC3BB58-C118-EA66-17AA-F951718A875C}"/>
          </ac:spMkLst>
        </pc:spChg>
        <pc:spChg chg="add del">
          <ac:chgData name="Bullinger, Marvin" userId="5b54ce5a-dc89-476f-af33-5abd75d5b1e8" providerId="ADAL" clId="{43B71669-8A80-4333-9349-B258A9296B49}" dt="2024-02-27T16:53:49.050" v="3382"/>
          <ac:spMkLst>
            <pc:docMk/>
            <pc:sldMk cId="1339647628" sldId="586"/>
            <ac:spMk id="420" creationId="{049330C6-0E5D-7707-0576-E693C094FBA5}"/>
          </ac:spMkLst>
        </pc:spChg>
        <pc:spChg chg="del">
          <ac:chgData name="Bullinger, Marvin" userId="5b54ce5a-dc89-476f-af33-5abd75d5b1e8" providerId="ADAL" clId="{43B71669-8A80-4333-9349-B258A9296B49}" dt="2024-02-27T17:26:23.046" v="4442" actId="478"/>
          <ac:spMkLst>
            <pc:docMk/>
            <pc:sldMk cId="1339647628" sldId="586"/>
            <ac:spMk id="420" creationId="{B2E230C4-38C6-FC1C-6755-11D7547B1E65}"/>
          </ac:spMkLst>
        </pc:spChg>
        <pc:spChg chg="replST delST">
          <ac:chgData name="Bullinger, Marvin" userId="5b54ce5a-dc89-476f-af33-5abd75d5b1e8" providerId="ADAL" clId="{43B71669-8A80-4333-9349-B258A9296B49}" dt="2024-02-27T16:53:48.903" v="3015"/>
          <ac:spMkLst>
            <pc:docMk/>
            <pc:sldMk cId="1339647628" sldId="586"/>
            <ac:spMk id="421" creationId="{110D1C76-D1AB-0B30-0D6C-8E14CC08F500}"/>
          </ac:spMkLst>
        </pc:spChg>
        <pc:spChg chg="del">
          <ac:chgData name="Bullinger, Marvin" userId="5b54ce5a-dc89-476f-af33-5abd75d5b1e8" providerId="ADAL" clId="{43B71669-8A80-4333-9349-B258A9296B49}" dt="2024-02-27T17:26:23.046" v="4441" actId="478"/>
          <ac:spMkLst>
            <pc:docMk/>
            <pc:sldMk cId="1339647628" sldId="586"/>
            <ac:spMk id="421" creationId="{2EED0C44-9DD1-2851-0DB0-A58192D084FA}"/>
          </ac:spMkLst>
        </pc:spChg>
        <pc:spChg chg="del">
          <ac:chgData name="Bullinger, Marvin" userId="5b54ce5a-dc89-476f-af33-5abd75d5b1e8" providerId="ADAL" clId="{43B71669-8A80-4333-9349-B258A9296B49}" dt="2024-02-27T17:26:23.046" v="4440" actId="478"/>
          <ac:spMkLst>
            <pc:docMk/>
            <pc:sldMk cId="1339647628" sldId="586"/>
            <ac:spMk id="422" creationId="{6D6D534E-1CD8-2070-2083-C4ACA13C5A62}"/>
          </ac:spMkLst>
        </pc:spChg>
        <pc:spChg chg="replST delST">
          <ac:chgData name="Bullinger, Marvin" userId="5b54ce5a-dc89-476f-af33-5abd75d5b1e8" providerId="ADAL" clId="{43B71669-8A80-4333-9349-B258A9296B49}" dt="2024-02-27T16:53:48.903" v="3012"/>
          <ac:spMkLst>
            <pc:docMk/>
            <pc:sldMk cId="1339647628" sldId="586"/>
            <ac:spMk id="422" creationId="{CDA2FD30-7CD8-1EB4-50AB-7B3A813199C1}"/>
          </ac:spMkLst>
        </pc:spChg>
        <pc:spChg chg="del">
          <ac:chgData name="Bullinger, Marvin" userId="5b54ce5a-dc89-476f-af33-5abd75d5b1e8" providerId="ADAL" clId="{43B71669-8A80-4333-9349-B258A9296B49}" dt="2024-02-27T17:26:23.046" v="4439" actId="478"/>
          <ac:spMkLst>
            <pc:docMk/>
            <pc:sldMk cId="1339647628" sldId="586"/>
            <ac:spMk id="423" creationId="{FF1368EF-5CAB-F947-F8A0-7323D8123DC3}"/>
          </ac:spMkLst>
        </pc:spChg>
        <pc:spChg chg="del">
          <ac:chgData name="Bullinger, Marvin" userId="5b54ce5a-dc89-476f-af33-5abd75d5b1e8" providerId="ADAL" clId="{43B71669-8A80-4333-9349-B258A9296B49}" dt="2024-02-27T17:26:23.046" v="4438" actId="478"/>
          <ac:spMkLst>
            <pc:docMk/>
            <pc:sldMk cId="1339647628" sldId="586"/>
            <ac:spMk id="424" creationId="{43635603-9DF4-CC19-747F-59AF83425D4A}"/>
          </ac:spMkLst>
        </pc:spChg>
        <pc:spChg chg="replST delST">
          <ac:chgData name="Bullinger, Marvin" userId="5b54ce5a-dc89-476f-af33-5abd75d5b1e8" providerId="ADAL" clId="{43B71669-8A80-4333-9349-B258A9296B49}" dt="2024-02-27T16:53:48.903" v="3008"/>
          <ac:spMkLst>
            <pc:docMk/>
            <pc:sldMk cId="1339647628" sldId="586"/>
            <ac:spMk id="424" creationId="{EA67CCC3-C68F-A482-DFA4-7A0366432641}"/>
          </ac:spMkLst>
        </pc:spChg>
        <pc:spChg chg="replST delST">
          <ac:chgData name="Bullinger, Marvin" userId="5b54ce5a-dc89-476f-af33-5abd75d5b1e8" providerId="ADAL" clId="{43B71669-8A80-4333-9349-B258A9296B49}" dt="2024-02-27T16:53:48.903" v="3005"/>
          <ac:spMkLst>
            <pc:docMk/>
            <pc:sldMk cId="1339647628" sldId="586"/>
            <ac:spMk id="425" creationId="{B1355EA6-8557-C1FA-718C-FEDBDD1A2438}"/>
          </ac:spMkLst>
        </pc:spChg>
        <pc:spChg chg="del">
          <ac:chgData name="Bullinger, Marvin" userId="5b54ce5a-dc89-476f-af33-5abd75d5b1e8" providerId="ADAL" clId="{43B71669-8A80-4333-9349-B258A9296B49}" dt="2024-02-27T17:26:23.046" v="4435" actId="478"/>
          <ac:spMkLst>
            <pc:docMk/>
            <pc:sldMk cId="1339647628" sldId="586"/>
            <ac:spMk id="425" creationId="{D3F81B94-0A5C-B3E9-A451-E18CAA38A152}"/>
          </ac:spMkLst>
        </pc:spChg>
        <pc:spChg chg="del">
          <ac:chgData name="Bullinger, Marvin" userId="5b54ce5a-dc89-476f-af33-5abd75d5b1e8" providerId="ADAL" clId="{43B71669-8A80-4333-9349-B258A9296B49}" dt="2024-02-27T17:26:23.046" v="4434" actId="478"/>
          <ac:spMkLst>
            <pc:docMk/>
            <pc:sldMk cId="1339647628" sldId="586"/>
            <ac:spMk id="426" creationId="{4C43C464-5B9E-5B9C-A049-3C34C70931D6}"/>
          </ac:spMkLst>
        </pc:spChg>
        <pc:spChg chg="replST delST">
          <ac:chgData name="Bullinger, Marvin" userId="5b54ce5a-dc89-476f-af33-5abd75d5b1e8" providerId="ADAL" clId="{43B71669-8A80-4333-9349-B258A9296B49}" dt="2024-02-27T16:53:48.903" v="3001"/>
          <ac:spMkLst>
            <pc:docMk/>
            <pc:sldMk cId="1339647628" sldId="586"/>
            <ac:spMk id="427" creationId="{9E29B292-E228-9820-CD2C-2DB6F2746C27}"/>
          </ac:spMkLst>
        </pc:spChg>
        <pc:spChg chg="del">
          <ac:chgData name="Bullinger, Marvin" userId="5b54ce5a-dc89-476f-af33-5abd75d5b1e8" providerId="ADAL" clId="{43B71669-8A80-4333-9349-B258A9296B49}" dt="2024-02-27T17:26:23.046" v="4433" actId="478"/>
          <ac:spMkLst>
            <pc:docMk/>
            <pc:sldMk cId="1339647628" sldId="586"/>
            <ac:spMk id="427" creationId="{F688A862-09CF-89C0-E8D2-5E440208FE03}"/>
          </ac:spMkLst>
        </pc:spChg>
        <pc:spChg chg="del">
          <ac:chgData name="Bullinger, Marvin" userId="5b54ce5a-dc89-476f-af33-5abd75d5b1e8" providerId="ADAL" clId="{43B71669-8A80-4333-9349-B258A9296B49}" dt="2024-02-27T17:26:23.046" v="4432" actId="478"/>
          <ac:spMkLst>
            <pc:docMk/>
            <pc:sldMk cId="1339647628" sldId="586"/>
            <ac:spMk id="428" creationId="{18F2CD26-9B0D-15E9-9BD3-669F8FBEE315}"/>
          </ac:spMkLst>
        </pc:spChg>
        <pc:spChg chg="replST delST">
          <ac:chgData name="Bullinger, Marvin" userId="5b54ce5a-dc89-476f-af33-5abd75d5b1e8" providerId="ADAL" clId="{43B71669-8A80-4333-9349-B258A9296B49}" dt="2024-02-27T16:53:48.903" v="2998"/>
          <ac:spMkLst>
            <pc:docMk/>
            <pc:sldMk cId="1339647628" sldId="586"/>
            <ac:spMk id="428" creationId="{CFB5C92C-A606-DB08-7D66-E869BD137F46}"/>
          </ac:spMkLst>
        </pc:spChg>
        <pc:spChg chg="del">
          <ac:chgData name="Bullinger, Marvin" userId="5b54ce5a-dc89-476f-af33-5abd75d5b1e8" providerId="ADAL" clId="{43B71669-8A80-4333-9349-B258A9296B49}" dt="2024-02-27T17:26:23.046" v="4431" actId="478"/>
          <ac:spMkLst>
            <pc:docMk/>
            <pc:sldMk cId="1339647628" sldId="586"/>
            <ac:spMk id="429" creationId="{43A924C6-A4A3-5697-8946-E6EBA5F8E83C}"/>
          </ac:spMkLst>
        </pc:spChg>
        <pc:spChg chg="del">
          <ac:chgData name="Bullinger, Marvin" userId="5b54ce5a-dc89-476f-af33-5abd75d5b1e8" providerId="ADAL" clId="{43B71669-8A80-4333-9349-B258A9296B49}" dt="2024-02-27T17:26:23.046" v="4430" actId="478"/>
          <ac:spMkLst>
            <pc:docMk/>
            <pc:sldMk cId="1339647628" sldId="586"/>
            <ac:spMk id="430" creationId="{46525715-26F9-0781-5096-DAA45D3AA9A6}"/>
          </ac:spMkLst>
        </pc:spChg>
        <pc:spChg chg="replST delST">
          <ac:chgData name="Bullinger, Marvin" userId="5b54ce5a-dc89-476f-af33-5abd75d5b1e8" providerId="ADAL" clId="{43B71669-8A80-4333-9349-B258A9296B49}" dt="2024-02-27T16:53:48.903" v="2994"/>
          <ac:spMkLst>
            <pc:docMk/>
            <pc:sldMk cId="1339647628" sldId="586"/>
            <ac:spMk id="430" creationId="{B9934FFA-14E8-5EC0-FD83-0FE8B1D45EE5}"/>
          </ac:spMkLst>
        </pc:spChg>
        <pc:spChg chg="del">
          <ac:chgData name="Bullinger, Marvin" userId="5b54ce5a-dc89-476f-af33-5abd75d5b1e8" providerId="ADAL" clId="{43B71669-8A80-4333-9349-B258A9296B49}" dt="2024-02-27T17:26:23.046" v="4451" actId="478"/>
          <ac:spMkLst>
            <pc:docMk/>
            <pc:sldMk cId="1339647628" sldId="586"/>
            <ac:spMk id="431" creationId="{E5476B8D-2CFF-71B6-DEEE-FD9BD68BFAE6}"/>
          </ac:spMkLst>
        </pc:spChg>
        <pc:spChg chg="replST delST">
          <ac:chgData name="Bullinger, Marvin" userId="5b54ce5a-dc89-476f-af33-5abd75d5b1e8" providerId="ADAL" clId="{43B71669-8A80-4333-9349-B258A9296B49}" dt="2024-02-27T16:53:48.903" v="2991"/>
          <ac:spMkLst>
            <pc:docMk/>
            <pc:sldMk cId="1339647628" sldId="586"/>
            <ac:spMk id="431" creationId="{F08CE08D-4FB2-9FE6-065A-CA08115A0290}"/>
          </ac:spMkLst>
        </pc:spChg>
        <pc:spChg chg="del">
          <ac:chgData name="Bullinger, Marvin" userId="5b54ce5a-dc89-476f-af33-5abd75d5b1e8" providerId="ADAL" clId="{43B71669-8A80-4333-9349-B258A9296B49}" dt="2024-02-27T17:26:23.046" v="4450" actId="478"/>
          <ac:spMkLst>
            <pc:docMk/>
            <pc:sldMk cId="1339647628" sldId="586"/>
            <ac:spMk id="432" creationId="{481B3E1C-FE08-E3CD-16CC-4DFF7D2948D3}"/>
          </ac:spMkLst>
        </pc:spChg>
        <pc:spChg chg="replST delST">
          <ac:chgData name="Bullinger, Marvin" userId="5b54ce5a-dc89-476f-af33-5abd75d5b1e8" providerId="ADAL" clId="{43B71669-8A80-4333-9349-B258A9296B49}" dt="2024-02-27T16:53:48.903" v="2987"/>
          <ac:spMkLst>
            <pc:docMk/>
            <pc:sldMk cId="1339647628" sldId="586"/>
            <ac:spMk id="433" creationId="{9F5F990B-A0FB-F8E3-7572-7BD9821654F4}"/>
          </ac:spMkLst>
        </pc:spChg>
        <pc:spChg chg="del">
          <ac:chgData name="Bullinger, Marvin" userId="5b54ce5a-dc89-476f-af33-5abd75d5b1e8" providerId="ADAL" clId="{43B71669-8A80-4333-9349-B258A9296B49}" dt="2024-02-27T17:26:23.046" v="4449" actId="478"/>
          <ac:spMkLst>
            <pc:docMk/>
            <pc:sldMk cId="1339647628" sldId="586"/>
            <ac:spMk id="433" creationId="{CE894976-C7C2-D1FB-64B5-149A236D9968}"/>
          </ac:spMkLst>
        </pc:spChg>
        <pc:spChg chg="replST delST">
          <ac:chgData name="Bullinger, Marvin" userId="5b54ce5a-dc89-476f-af33-5abd75d5b1e8" providerId="ADAL" clId="{43B71669-8A80-4333-9349-B258A9296B49}" dt="2024-02-27T16:53:48.903" v="2984"/>
          <ac:spMkLst>
            <pc:docMk/>
            <pc:sldMk cId="1339647628" sldId="586"/>
            <ac:spMk id="434" creationId="{AFF0B211-C7A3-7AF4-2FCD-36E151CA99F8}"/>
          </ac:spMkLst>
        </pc:spChg>
        <pc:spChg chg="del">
          <ac:chgData name="Bullinger, Marvin" userId="5b54ce5a-dc89-476f-af33-5abd75d5b1e8" providerId="ADAL" clId="{43B71669-8A80-4333-9349-B258A9296B49}" dt="2024-02-27T17:26:23.046" v="4448" actId="478"/>
          <ac:spMkLst>
            <pc:docMk/>
            <pc:sldMk cId="1339647628" sldId="586"/>
            <ac:spMk id="434" creationId="{F68D70D7-92D6-6C78-3604-C9043FA354EB}"/>
          </ac:spMkLst>
        </pc:spChg>
        <pc:spChg chg="del">
          <ac:chgData name="Bullinger, Marvin" userId="5b54ce5a-dc89-476f-af33-5abd75d5b1e8" providerId="ADAL" clId="{43B71669-8A80-4333-9349-B258A9296B49}" dt="2024-02-27T17:26:23.046" v="4447" actId="478"/>
          <ac:spMkLst>
            <pc:docMk/>
            <pc:sldMk cId="1339647628" sldId="586"/>
            <ac:spMk id="435" creationId="{2F5F2666-9FC4-94D0-D16E-D1ABA36C1584}"/>
          </ac:spMkLst>
        </pc:spChg>
        <pc:spChg chg="replST delST">
          <ac:chgData name="Bullinger, Marvin" userId="5b54ce5a-dc89-476f-af33-5abd75d5b1e8" providerId="ADAL" clId="{43B71669-8A80-4333-9349-B258A9296B49}" dt="2024-02-27T16:53:48.903" v="2980"/>
          <ac:spMkLst>
            <pc:docMk/>
            <pc:sldMk cId="1339647628" sldId="586"/>
            <ac:spMk id="436" creationId="{0AF66F36-524F-B791-89FD-02201823F356}"/>
          </ac:spMkLst>
        </pc:spChg>
        <pc:spChg chg="del">
          <ac:chgData name="Bullinger, Marvin" userId="5b54ce5a-dc89-476f-af33-5abd75d5b1e8" providerId="ADAL" clId="{43B71669-8A80-4333-9349-B258A9296B49}" dt="2024-02-27T17:26:23.046" v="4446" actId="478"/>
          <ac:spMkLst>
            <pc:docMk/>
            <pc:sldMk cId="1339647628" sldId="586"/>
            <ac:spMk id="436" creationId="{E6F386CD-254C-49FB-D61A-0F54CAF5BF6C}"/>
          </ac:spMkLst>
        </pc:spChg>
        <pc:spChg chg="del">
          <ac:chgData name="Bullinger, Marvin" userId="5b54ce5a-dc89-476f-af33-5abd75d5b1e8" providerId="ADAL" clId="{43B71669-8A80-4333-9349-B258A9296B49}" dt="2024-02-27T17:26:23.046" v="4445" actId="478"/>
          <ac:spMkLst>
            <pc:docMk/>
            <pc:sldMk cId="1339647628" sldId="586"/>
            <ac:spMk id="437" creationId="{93AAE053-8798-65D8-6434-F071B78AC32C}"/>
          </ac:spMkLst>
        </pc:spChg>
        <pc:spChg chg="replST delST">
          <ac:chgData name="Bullinger, Marvin" userId="5b54ce5a-dc89-476f-af33-5abd75d5b1e8" providerId="ADAL" clId="{43B71669-8A80-4333-9349-B258A9296B49}" dt="2024-02-27T16:53:48.903" v="2977"/>
          <ac:spMkLst>
            <pc:docMk/>
            <pc:sldMk cId="1339647628" sldId="586"/>
            <ac:spMk id="437" creationId="{D07BBA13-563E-0087-F5FC-E99FBC495174}"/>
          </ac:spMkLst>
        </pc:spChg>
        <pc:spChg chg="del">
          <ac:chgData name="Bullinger, Marvin" userId="5b54ce5a-dc89-476f-af33-5abd75d5b1e8" providerId="ADAL" clId="{43B71669-8A80-4333-9349-B258A9296B49}" dt="2024-02-27T17:26:23.046" v="4444" actId="478"/>
          <ac:spMkLst>
            <pc:docMk/>
            <pc:sldMk cId="1339647628" sldId="586"/>
            <ac:spMk id="438" creationId="{8A838B50-77DF-3E92-87C4-C35FD040D30D}"/>
          </ac:spMkLst>
        </pc:spChg>
        <pc:spChg chg="del">
          <ac:chgData name="Bullinger, Marvin" userId="5b54ce5a-dc89-476f-af33-5abd75d5b1e8" providerId="ADAL" clId="{43B71669-8A80-4333-9349-B258A9296B49}" dt="2024-02-27T17:26:23.046" v="4436" actId="478"/>
          <ac:spMkLst>
            <pc:docMk/>
            <pc:sldMk cId="1339647628" sldId="586"/>
            <ac:spMk id="439" creationId="{CB220642-BD64-13B5-30CC-89F106E464A0}"/>
          </ac:spMkLst>
        </pc:spChg>
        <pc:spChg chg="del">
          <ac:chgData name="Bullinger, Marvin" userId="5b54ce5a-dc89-476f-af33-5abd75d5b1e8" providerId="ADAL" clId="{43B71669-8A80-4333-9349-B258A9296B49}" dt="2024-02-27T17:26:23.030" v="4429" actId="478"/>
          <ac:spMkLst>
            <pc:docMk/>
            <pc:sldMk cId="1339647628" sldId="586"/>
            <ac:spMk id="440" creationId="{F686473A-5FE3-8713-36D2-D7E537606D9B}"/>
          </ac:spMkLst>
        </pc:spChg>
        <pc:spChg chg="del">
          <ac:chgData name="Bullinger, Marvin" userId="5b54ce5a-dc89-476f-af33-5abd75d5b1e8" providerId="ADAL" clId="{43B71669-8A80-4333-9349-B258A9296B49}" dt="2024-02-27T17:26:23.046" v="4437" actId="478"/>
          <ac:spMkLst>
            <pc:docMk/>
            <pc:sldMk cId="1339647628" sldId="586"/>
            <ac:spMk id="441" creationId="{1D8E76AE-F010-1795-36CA-91C5D7F2A73D}"/>
          </ac:spMkLst>
        </pc:spChg>
        <pc:spChg chg="del">
          <ac:chgData name="Bullinger, Marvin" userId="5b54ce5a-dc89-476f-af33-5abd75d5b1e8" providerId="ADAL" clId="{43B71669-8A80-4333-9349-B258A9296B49}" dt="2024-02-27T17:26:23.030" v="4428" actId="478"/>
          <ac:spMkLst>
            <pc:docMk/>
            <pc:sldMk cId="1339647628" sldId="586"/>
            <ac:spMk id="442" creationId="{0CA1AE6D-8631-0DDF-C298-6A7E402E0E0D}"/>
          </ac:spMkLst>
        </pc:spChg>
        <pc:spChg chg="del">
          <ac:chgData name="Bullinger, Marvin" userId="5b54ce5a-dc89-476f-af33-5abd75d5b1e8" providerId="ADAL" clId="{43B71669-8A80-4333-9349-B258A9296B49}" dt="2024-02-27T17:26:23.030" v="4427" actId="478"/>
          <ac:spMkLst>
            <pc:docMk/>
            <pc:sldMk cId="1339647628" sldId="586"/>
            <ac:spMk id="443" creationId="{78E7C342-031C-20BD-E2D3-AB669CF6D670}"/>
          </ac:spMkLst>
        </pc:spChg>
        <pc:spChg chg="del">
          <ac:chgData name="Bullinger, Marvin" userId="5b54ce5a-dc89-476f-af33-5abd75d5b1e8" providerId="ADAL" clId="{43B71669-8A80-4333-9349-B258A9296B49}" dt="2024-02-27T17:26:23.030" v="4426" actId="478"/>
          <ac:spMkLst>
            <pc:docMk/>
            <pc:sldMk cId="1339647628" sldId="586"/>
            <ac:spMk id="444" creationId="{F4F4A5B7-8EFB-A940-2966-0EA7CD78ADB4}"/>
          </ac:spMkLst>
        </pc:spChg>
        <pc:spChg chg="del">
          <ac:chgData name="Bullinger, Marvin" userId="5b54ce5a-dc89-476f-af33-5abd75d5b1e8" providerId="ADAL" clId="{43B71669-8A80-4333-9349-B258A9296B49}" dt="2024-02-27T17:26:23.030" v="4425" actId="478"/>
          <ac:spMkLst>
            <pc:docMk/>
            <pc:sldMk cId="1339647628" sldId="586"/>
            <ac:spMk id="445" creationId="{F124CDB1-8578-6027-D32B-D8E2186EE9DD}"/>
          </ac:spMkLst>
        </pc:spChg>
        <pc:spChg chg="del">
          <ac:chgData name="Bullinger, Marvin" userId="5b54ce5a-dc89-476f-af33-5abd75d5b1e8" providerId="ADAL" clId="{43B71669-8A80-4333-9349-B258A9296B49}" dt="2024-02-27T17:26:23.030" v="4424" actId="478"/>
          <ac:spMkLst>
            <pc:docMk/>
            <pc:sldMk cId="1339647628" sldId="586"/>
            <ac:spMk id="446" creationId="{E04127CF-2A88-8B5E-0BBF-9566CE6D7E56}"/>
          </ac:spMkLst>
        </pc:spChg>
        <pc:spChg chg="del">
          <ac:chgData name="Bullinger, Marvin" userId="5b54ce5a-dc89-476f-af33-5abd75d5b1e8" providerId="ADAL" clId="{43B71669-8A80-4333-9349-B258A9296B49}" dt="2024-02-27T17:26:23.030" v="4423" actId="478"/>
          <ac:spMkLst>
            <pc:docMk/>
            <pc:sldMk cId="1339647628" sldId="586"/>
            <ac:spMk id="447" creationId="{02BDF59E-CD76-DF99-5670-C33D261CA561}"/>
          </ac:spMkLst>
        </pc:spChg>
        <pc:spChg chg="del">
          <ac:chgData name="Bullinger, Marvin" userId="5b54ce5a-dc89-476f-af33-5abd75d5b1e8" providerId="ADAL" clId="{43B71669-8A80-4333-9349-B258A9296B49}" dt="2024-02-27T17:26:23.030" v="4422" actId="478"/>
          <ac:spMkLst>
            <pc:docMk/>
            <pc:sldMk cId="1339647628" sldId="586"/>
            <ac:spMk id="448" creationId="{8C91E4F2-E4C3-11EC-3E52-95BA7031B8F3}"/>
          </ac:spMkLst>
        </pc:spChg>
        <pc:spChg chg="del">
          <ac:chgData name="Bullinger, Marvin" userId="5b54ce5a-dc89-476f-af33-5abd75d5b1e8" providerId="ADAL" clId="{43B71669-8A80-4333-9349-B258A9296B49}" dt="2024-02-27T17:26:23.030" v="4421" actId="478"/>
          <ac:spMkLst>
            <pc:docMk/>
            <pc:sldMk cId="1339647628" sldId="586"/>
            <ac:spMk id="449" creationId="{66E9A61E-66B8-7108-413C-925CC835AB12}"/>
          </ac:spMkLst>
        </pc:spChg>
        <pc:spChg chg="del">
          <ac:chgData name="Bullinger, Marvin" userId="5b54ce5a-dc89-476f-af33-5abd75d5b1e8" providerId="ADAL" clId="{43B71669-8A80-4333-9349-B258A9296B49}" dt="2024-02-27T17:26:23.030" v="4420" actId="478"/>
          <ac:spMkLst>
            <pc:docMk/>
            <pc:sldMk cId="1339647628" sldId="586"/>
            <ac:spMk id="450" creationId="{60E08BC3-D65F-7962-3CC7-4E18815B1B44}"/>
          </ac:spMkLst>
        </pc:spChg>
        <pc:spChg chg="del">
          <ac:chgData name="Bullinger, Marvin" userId="5b54ce5a-dc89-476f-af33-5abd75d5b1e8" providerId="ADAL" clId="{43B71669-8A80-4333-9349-B258A9296B49}" dt="2024-02-27T17:26:23.030" v="4419" actId="478"/>
          <ac:spMkLst>
            <pc:docMk/>
            <pc:sldMk cId="1339647628" sldId="586"/>
            <ac:spMk id="451" creationId="{413A56F1-E502-9D64-A0CF-DBB3CE3C7A7B}"/>
          </ac:spMkLst>
        </pc:spChg>
        <pc:spChg chg="del">
          <ac:chgData name="Bullinger, Marvin" userId="5b54ce5a-dc89-476f-af33-5abd75d5b1e8" providerId="ADAL" clId="{43B71669-8A80-4333-9349-B258A9296B49}" dt="2024-02-27T17:26:23.030" v="4418" actId="478"/>
          <ac:spMkLst>
            <pc:docMk/>
            <pc:sldMk cId="1339647628" sldId="586"/>
            <ac:spMk id="452" creationId="{BB495520-A663-8FEE-C0AB-ECEE33AF4070}"/>
          </ac:spMkLst>
        </pc:spChg>
        <pc:spChg chg="del">
          <ac:chgData name="Bullinger, Marvin" userId="5b54ce5a-dc89-476f-af33-5abd75d5b1e8" providerId="ADAL" clId="{43B71669-8A80-4333-9349-B258A9296B49}" dt="2024-02-27T17:26:23.030" v="4417" actId="478"/>
          <ac:spMkLst>
            <pc:docMk/>
            <pc:sldMk cId="1339647628" sldId="586"/>
            <ac:spMk id="453" creationId="{13C301D6-0F3E-7A7A-9A7C-1F8FF59F331F}"/>
          </ac:spMkLst>
        </pc:spChg>
        <pc:spChg chg="del">
          <ac:chgData name="Bullinger, Marvin" userId="5b54ce5a-dc89-476f-af33-5abd75d5b1e8" providerId="ADAL" clId="{43B71669-8A80-4333-9349-B258A9296B49}" dt="2024-02-27T17:26:23.030" v="4416" actId="478"/>
          <ac:spMkLst>
            <pc:docMk/>
            <pc:sldMk cId="1339647628" sldId="586"/>
            <ac:spMk id="454" creationId="{5DFE6484-37E5-9046-BF02-B41A379450D3}"/>
          </ac:spMkLst>
        </pc:spChg>
        <pc:spChg chg="del">
          <ac:chgData name="Bullinger, Marvin" userId="5b54ce5a-dc89-476f-af33-5abd75d5b1e8" providerId="ADAL" clId="{43B71669-8A80-4333-9349-B258A9296B49}" dt="2024-02-27T17:26:23.030" v="4415" actId="478"/>
          <ac:spMkLst>
            <pc:docMk/>
            <pc:sldMk cId="1339647628" sldId="586"/>
            <ac:spMk id="455" creationId="{2D78626C-63A1-578B-EDD4-688049A8A157}"/>
          </ac:spMkLst>
        </pc:spChg>
        <pc:spChg chg="replST">
          <ac:chgData name="Bullinger, Marvin" userId="5b54ce5a-dc89-476f-af33-5abd75d5b1e8" providerId="ADAL" clId="{43B71669-8A80-4333-9349-B258A9296B49}" dt="2024-02-27T17:26:23.537" v="4853"/>
          <ac:spMkLst>
            <pc:docMk/>
            <pc:sldMk cId="1339647628" sldId="586"/>
            <ac:spMk id="456" creationId="{8C159C3C-ED9C-8C00-DF7D-8FA7C3E08F90}"/>
          </ac:spMkLst>
        </pc:spChg>
        <pc:spChg chg="replST">
          <ac:chgData name="Bullinger, Marvin" userId="5b54ce5a-dc89-476f-af33-5abd75d5b1e8" providerId="ADAL" clId="{43B71669-8A80-4333-9349-B258A9296B49}" dt="2024-02-27T17:26:23.550" v="4856"/>
          <ac:spMkLst>
            <pc:docMk/>
            <pc:sldMk cId="1339647628" sldId="586"/>
            <ac:spMk id="457" creationId="{4C9EF262-4046-92C3-3BA5-A6DB9EEDE2B0}"/>
          </ac:spMkLst>
        </pc:spChg>
        <pc:spChg chg="replST">
          <ac:chgData name="Bullinger, Marvin" userId="5b54ce5a-dc89-476f-af33-5abd75d5b1e8" providerId="ADAL" clId="{43B71669-8A80-4333-9349-B258A9296B49}" dt="2024-02-27T17:26:23.560" v="4860"/>
          <ac:spMkLst>
            <pc:docMk/>
            <pc:sldMk cId="1339647628" sldId="586"/>
            <ac:spMk id="459" creationId="{C7206E25-FFCB-BC5A-939B-97D083D4B0F8}"/>
          </ac:spMkLst>
        </pc:spChg>
        <pc:spChg chg="replST">
          <ac:chgData name="Bullinger, Marvin" userId="5b54ce5a-dc89-476f-af33-5abd75d5b1e8" providerId="ADAL" clId="{43B71669-8A80-4333-9349-B258A9296B49}" dt="2024-02-27T17:26:23.570" v="4863"/>
          <ac:spMkLst>
            <pc:docMk/>
            <pc:sldMk cId="1339647628" sldId="586"/>
            <ac:spMk id="460" creationId="{A847B666-3C0A-A9F9-F95F-98D9F3FF8405}"/>
          </ac:spMkLst>
        </pc:spChg>
        <pc:spChg chg="replST">
          <ac:chgData name="Bullinger, Marvin" userId="5b54ce5a-dc89-476f-af33-5abd75d5b1e8" providerId="ADAL" clId="{43B71669-8A80-4333-9349-B258A9296B49}" dt="2024-02-27T17:26:23.578" v="4867"/>
          <ac:spMkLst>
            <pc:docMk/>
            <pc:sldMk cId="1339647628" sldId="586"/>
            <ac:spMk id="462" creationId="{A63B6397-8656-6F16-5EE8-0B2808606380}"/>
          </ac:spMkLst>
        </pc:spChg>
        <pc:spChg chg="replST">
          <ac:chgData name="Bullinger, Marvin" userId="5b54ce5a-dc89-476f-af33-5abd75d5b1e8" providerId="ADAL" clId="{43B71669-8A80-4333-9349-B258A9296B49}" dt="2024-02-27T17:26:23.580" v="4870"/>
          <ac:spMkLst>
            <pc:docMk/>
            <pc:sldMk cId="1339647628" sldId="586"/>
            <ac:spMk id="463" creationId="{D6A62CFB-3A3D-F8E2-F2F1-AE80119B82AC}"/>
          </ac:spMkLst>
        </pc:spChg>
        <pc:spChg chg="replST">
          <ac:chgData name="Bullinger, Marvin" userId="5b54ce5a-dc89-476f-af33-5abd75d5b1e8" providerId="ADAL" clId="{43B71669-8A80-4333-9349-B258A9296B49}" dt="2024-02-27T17:26:23.590" v="4874"/>
          <ac:spMkLst>
            <pc:docMk/>
            <pc:sldMk cId="1339647628" sldId="586"/>
            <ac:spMk id="465" creationId="{16F07464-99DA-B4C0-E7ED-9A9508AEC256}"/>
          </ac:spMkLst>
        </pc:spChg>
        <pc:spChg chg="replST">
          <ac:chgData name="Bullinger, Marvin" userId="5b54ce5a-dc89-476f-af33-5abd75d5b1e8" providerId="ADAL" clId="{43B71669-8A80-4333-9349-B258A9296B49}" dt="2024-02-27T17:26:23.599" v="4877"/>
          <ac:spMkLst>
            <pc:docMk/>
            <pc:sldMk cId="1339647628" sldId="586"/>
            <ac:spMk id="466" creationId="{9D5DE4AD-24CD-7488-481F-FE9C5795DF6D}"/>
          </ac:spMkLst>
        </pc:spChg>
        <pc:spChg chg="replST">
          <ac:chgData name="Bullinger, Marvin" userId="5b54ce5a-dc89-476f-af33-5abd75d5b1e8" providerId="ADAL" clId="{43B71669-8A80-4333-9349-B258A9296B49}" dt="2024-02-27T17:26:23.600" v="4881"/>
          <ac:spMkLst>
            <pc:docMk/>
            <pc:sldMk cId="1339647628" sldId="586"/>
            <ac:spMk id="468" creationId="{566A8269-3ABF-350F-C1E4-941A6D5EA03D}"/>
          </ac:spMkLst>
        </pc:spChg>
        <pc:spChg chg="replST">
          <ac:chgData name="Bullinger, Marvin" userId="5b54ce5a-dc89-476f-af33-5abd75d5b1e8" providerId="ADAL" clId="{43B71669-8A80-4333-9349-B258A9296B49}" dt="2024-02-27T17:26:23.610" v="4884"/>
          <ac:spMkLst>
            <pc:docMk/>
            <pc:sldMk cId="1339647628" sldId="586"/>
            <ac:spMk id="469" creationId="{07474AF3-2D2E-0CC9-4673-4B160DC635E4}"/>
          </ac:spMkLst>
        </pc:spChg>
        <pc:spChg chg="replST">
          <ac:chgData name="Bullinger, Marvin" userId="5b54ce5a-dc89-476f-af33-5abd75d5b1e8" providerId="ADAL" clId="{43B71669-8A80-4333-9349-B258A9296B49}" dt="2024-02-27T17:26:23.620" v="4888"/>
          <ac:spMkLst>
            <pc:docMk/>
            <pc:sldMk cId="1339647628" sldId="586"/>
            <ac:spMk id="471" creationId="{9301317D-78EA-9310-5FCF-6A858B6DAFEC}"/>
          </ac:spMkLst>
        </pc:spChg>
        <pc:spChg chg="replST">
          <ac:chgData name="Bullinger, Marvin" userId="5b54ce5a-dc89-476f-af33-5abd75d5b1e8" providerId="ADAL" clId="{43B71669-8A80-4333-9349-B258A9296B49}" dt="2024-02-27T17:26:23.620" v="4891"/>
          <ac:spMkLst>
            <pc:docMk/>
            <pc:sldMk cId="1339647628" sldId="586"/>
            <ac:spMk id="472" creationId="{49866E9F-B74D-2E58-30C4-C514AEB7C37F}"/>
          </ac:spMkLst>
        </pc:spChg>
        <pc:spChg chg="replST">
          <ac:chgData name="Bullinger, Marvin" userId="5b54ce5a-dc89-476f-af33-5abd75d5b1e8" providerId="ADAL" clId="{43B71669-8A80-4333-9349-B258A9296B49}" dt="2024-02-27T17:26:23.665" v="4895"/>
          <ac:spMkLst>
            <pc:docMk/>
            <pc:sldMk cId="1339647628" sldId="586"/>
            <ac:spMk id="474" creationId="{F6755B19-B5E8-3E10-DE76-34135C270778}"/>
          </ac:spMkLst>
        </pc:spChg>
        <pc:spChg chg="replST">
          <ac:chgData name="Bullinger, Marvin" userId="5b54ce5a-dc89-476f-af33-5abd75d5b1e8" providerId="ADAL" clId="{43B71669-8A80-4333-9349-B258A9296B49}" dt="2024-02-27T17:26:23.683" v="4898"/>
          <ac:spMkLst>
            <pc:docMk/>
            <pc:sldMk cId="1339647628" sldId="586"/>
            <ac:spMk id="475" creationId="{5A719149-FA44-3EF8-354D-1DC2C3058C06}"/>
          </ac:spMkLst>
        </pc:spChg>
        <pc:spChg chg="replST">
          <ac:chgData name="Bullinger, Marvin" userId="5b54ce5a-dc89-476f-af33-5abd75d5b1e8" providerId="ADAL" clId="{43B71669-8A80-4333-9349-B258A9296B49}" dt="2024-02-27T17:26:23.699" v="4902"/>
          <ac:spMkLst>
            <pc:docMk/>
            <pc:sldMk cId="1339647628" sldId="586"/>
            <ac:spMk id="477" creationId="{3F8F9350-8179-A2CE-8712-81B291463954}"/>
          </ac:spMkLst>
        </pc:spChg>
        <pc:spChg chg="replST">
          <ac:chgData name="Bullinger, Marvin" userId="5b54ce5a-dc89-476f-af33-5abd75d5b1e8" providerId="ADAL" clId="{43B71669-8A80-4333-9349-B258A9296B49}" dt="2024-02-27T17:26:23.699" v="4905"/>
          <ac:spMkLst>
            <pc:docMk/>
            <pc:sldMk cId="1339647628" sldId="586"/>
            <ac:spMk id="478" creationId="{8E9465CB-0DC3-B1CC-47FD-1E0AB6CECC79}"/>
          </ac:spMkLst>
        </pc:spChg>
        <pc:spChg chg="replST">
          <ac:chgData name="Bullinger, Marvin" userId="5b54ce5a-dc89-476f-af33-5abd75d5b1e8" providerId="ADAL" clId="{43B71669-8A80-4333-9349-B258A9296B49}" dt="2024-02-27T17:26:23.715" v="4909"/>
          <ac:spMkLst>
            <pc:docMk/>
            <pc:sldMk cId="1339647628" sldId="586"/>
            <ac:spMk id="480" creationId="{E0776119-C2BE-6F0D-9B70-E17972BD8FB9}"/>
          </ac:spMkLst>
        </pc:spChg>
        <pc:spChg chg="replST">
          <ac:chgData name="Bullinger, Marvin" userId="5b54ce5a-dc89-476f-af33-5abd75d5b1e8" providerId="ADAL" clId="{43B71669-8A80-4333-9349-B258A9296B49}" dt="2024-02-27T17:26:23.715" v="4912"/>
          <ac:spMkLst>
            <pc:docMk/>
            <pc:sldMk cId="1339647628" sldId="586"/>
            <ac:spMk id="481" creationId="{271AEEDB-12C5-3B1F-FC2F-4D2616EF85C1}"/>
          </ac:spMkLst>
        </pc:spChg>
        <pc:spChg chg="add mod">
          <ac:chgData name="Bullinger, Marvin" userId="5b54ce5a-dc89-476f-af33-5abd75d5b1e8" providerId="ADAL" clId="{43B71669-8A80-4333-9349-B258A9296B49}" dt="2024-02-27T17:26:58.983" v="5730" actId="478"/>
          <ac:spMkLst>
            <pc:docMk/>
            <pc:sldMk cId="1339647628" sldId="586"/>
            <ac:spMk id="522" creationId="{9B61C3B1-C0B8-0B21-18EC-E5B4381D5825}"/>
          </ac:spMkLst>
        </pc:spChg>
        <pc:spChg chg="del mod ord replST">
          <ac:chgData name="Bullinger, Marvin" userId="5b54ce5a-dc89-476f-af33-5abd75d5b1e8" providerId="ADAL" clId="{43B71669-8A80-4333-9349-B258A9296B49}" dt="2024-02-27T17:27:36.745" v="6885" actId="478"/>
          <ac:spMkLst>
            <pc:docMk/>
            <pc:sldMk cId="1339647628" sldId="586"/>
            <ac:spMk id="523" creationId="{7AF30A91-99E0-282A-7DFE-EFDEE594C65E}"/>
          </ac:spMkLst>
        </pc:spChg>
        <pc:spChg chg="del">
          <ac:chgData name="Bullinger, Marvin" userId="5b54ce5a-dc89-476f-af33-5abd75d5b1e8" providerId="ADAL" clId="{43B71669-8A80-4333-9349-B258A9296B49}" dt="2024-02-27T17:26:59.038" v="5769" actId="478"/>
          <ac:spMkLst>
            <pc:docMk/>
            <pc:sldMk cId="1339647628" sldId="586"/>
            <ac:spMk id="524" creationId="{3CFB3A31-3658-0F23-1200-E2D8AF116BA0}"/>
          </ac:spMkLst>
        </pc:spChg>
        <pc:spChg chg="del">
          <ac:chgData name="Bullinger, Marvin" userId="5b54ce5a-dc89-476f-af33-5abd75d5b1e8" providerId="ADAL" clId="{43B71669-8A80-4333-9349-B258A9296B49}" dt="2024-02-27T17:26:59.038" v="5768" actId="478"/>
          <ac:spMkLst>
            <pc:docMk/>
            <pc:sldMk cId="1339647628" sldId="586"/>
            <ac:spMk id="525" creationId="{1C06627E-5845-3352-44CE-AEED2D3BC549}"/>
          </ac:spMkLst>
        </pc:spChg>
        <pc:spChg chg="del">
          <ac:chgData name="Bullinger, Marvin" userId="5b54ce5a-dc89-476f-af33-5abd75d5b1e8" providerId="ADAL" clId="{43B71669-8A80-4333-9349-B258A9296B49}" dt="2024-02-27T17:26:59.038" v="5767" actId="478"/>
          <ac:spMkLst>
            <pc:docMk/>
            <pc:sldMk cId="1339647628" sldId="586"/>
            <ac:spMk id="526" creationId="{5D0EBB32-6810-4469-F5E0-A3A26DC4B30A}"/>
          </ac:spMkLst>
        </pc:spChg>
        <pc:spChg chg="del">
          <ac:chgData name="Bullinger, Marvin" userId="5b54ce5a-dc89-476f-af33-5abd75d5b1e8" providerId="ADAL" clId="{43B71669-8A80-4333-9349-B258A9296B49}" dt="2024-02-27T17:26:59.038" v="5766" actId="478"/>
          <ac:spMkLst>
            <pc:docMk/>
            <pc:sldMk cId="1339647628" sldId="586"/>
            <ac:spMk id="527" creationId="{60E4A964-45D7-892B-A80A-2BD146DFD961}"/>
          </ac:spMkLst>
        </pc:spChg>
        <pc:spChg chg="del">
          <ac:chgData name="Bullinger, Marvin" userId="5b54ce5a-dc89-476f-af33-5abd75d5b1e8" providerId="ADAL" clId="{43B71669-8A80-4333-9349-B258A9296B49}" dt="2024-02-27T17:26:59.038" v="5765" actId="478"/>
          <ac:spMkLst>
            <pc:docMk/>
            <pc:sldMk cId="1339647628" sldId="586"/>
            <ac:spMk id="528" creationId="{D884340A-287A-078D-C32E-44CF13CC1767}"/>
          </ac:spMkLst>
        </pc:spChg>
        <pc:spChg chg="del">
          <ac:chgData name="Bullinger, Marvin" userId="5b54ce5a-dc89-476f-af33-5abd75d5b1e8" providerId="ADAL" clId="{43B71669-8A80-4333-9349-B258A9296B49}" dt="2024-02-27T17:26:59.038" v="5764" actId="478"/>
          <ac:spMkLst>
            <pc:docMk/>
            <pc:sldMk cId="1339647628" sldId="586"/>
            <ac:spMk id="529" creationId="{9FBBDF72-68EB-133E-FEBA-960532C5F842}"/>
          </ac:spMkLst>
        </pc:spChg>
        <pc:spChg chg="del">
          <ac:chgData name="Bullinger, Marvin" userId="5b54ce5a-dc89-476f-af33-5abd75d5b1e8" providerId="ADAL" clId="{43B71669-8A80-4333-9349-B258A9296B49}" dt="2024-02-27T17:26:59.038" v="5761" actId="478"/>
          <ac:spMkLst>
            <pc:docMk/>
            <pc:sldMk cId="1339647628" sldId="586"/>
            <ac:spMk id="530" creationId="{CD2177C3-BDF1-E178-902C-FA941B85C929}"/>
          </ac:spMkLst>
        </pc:spChg>
        <pc:spChg chg="del">
          <ac:chgData name="Bullinger, Marvin" userId="5b54ce5a-dc89-476f-af33-5abd75d5b1e8" providerId="ADAL" clId="{43B71669-8A80-4333-9349-B258A9296B49}" dt="2024-02-27T17:26:59.038" v="5760" actId="478"/>
          <ac:spMkLst>
            <pc:docMk/>
            <pc:sldMk cId="1339647628" sldId="586"/>
            <ac:spMk id="531" creationId="{B4091BA9-3F73-10FB-B0E8-7138E0903ACC}"/>
          </ac:spMkLst>
        </pc:spChg>
        <pc:spChg chg="del">
          <ac:chgData name="Bullinger, Marvin" userId="5b54ce5a-dc89-476f-af33-5abd75d5b1e8" providerId="ADAL" clId="{43B71669-8A80-4333-9349-B258A9296B49}" dt="2024-02-27T17:26:59.038" v="5759" actId="478"/>
          <ac:spMkLst>
            <pc:docMk/>
            <pc:sldMk cId="1339647628" sldId="586"/>
            <ac:spMk id="532" creationId="{7B82296B-0D63-A556-04B3-DEDF58DB7312}"/>
          </ac:spMkLst>
        </pc:spChg>
        <pc:spChg chg="del">
          <ac:chgData name="Bullinger, Marvin" userId="5b54ce5a-dc89-476f-af33-5abd75d5b1e8" providerId="ADAL" clId="{43B71669-8A80-4333-9349-B258A9296B49}" dt="2024-02-27T17:26:59.038" v="5758" actId="478"/>
          <ac:spMkLst>
            <pc:docMk/>
            <pc:sldMk cId="1339647628" sldId="586"/>
            <ac:spMk id="533" creationId="{27D6D27F-8013-F7C3-0484-549C7C8F5EC8}"/>
          </ac:spMkLst>
        </pc:spChg>
        <pc:spChg chg="del">
          <ac:chgData name="Bullinger, Marvin" userId="5b54ce5a-dc89-476f-af33-5abd75d5b1e8" providerId="ADAL" clId="{43B71669-8A80-4333-9349-B258A9296B49}" dt="2024-02-27T17:26:59.038" v="5757" actId="478"/>
          <ac:spMkLst>
            <pc:docMk/>
            <pc:sldMk cId="1339647628" sldId="586"/>
            <ac:spMk id="534" creationId="{7BFF78FE-2F28-7D6A-7292-37CB6275E5C8}"/>
          </ac:spMkLst>
        </pc:spChg>
        <pc:spChg chg="del">
          <ac:chgData name="Bullinger, Marvin" userId="5b54ce5a-dc89-476f-af33-5abd75d5b1e8" providerId="ADAL" clId="{43B71669-8A80-4333-9349-B258A9296B49}" dt="2024-02-27T17:26:59.038" v="5756" actId="478"/>
          <ac:spMkLst>
            <pc:docMk/>
            <pc:sldMk cId="1339647628" sldId="586"/>
            <ac:spMk id="535" creationId="{9A082870-3028-4B2F-62F2-E47B1AEFC9B9}"/>
          </ac:spMkLst>
        </pc:spChg>
        <pc:spChg chg="del">
          <ac:chgData name="Bullinger, Marvin" userId="5b54ce5a-dc89-476f-af33-5abd75d5b1e8" providerId="ADAL" clId="{43B71669-8A80-4333-9349-B258A9296B49}" dt="2024-02-27T17:26:59.054" v="5777" actId="478"/>
          <ac:spMkLst>
            <pc:docMk/>
            <pc:sldMk cId="1339647628" sldId="586"/>
            <ac:spMk id="536" creationId="{B5FA09D8-0D4E-A45F-7E49-11CD516B7501}"/>
          </ac:spMkLst>
        </pc:spChg>
        <pc:spChg chg="del">
          <ac:chgData name="Bullinger, Marvin" userId="5b54ce5a-dc89-476f-af33-5abd75d5b1e8" providerId="ADAL" clId="{43B71669-8A80-4333-9349-B258A9296B49}" dt="2024-02-27T17:26:59.038" v="5776" actId="478"/>
          <ac:spMkLst>
            <pc:docMk/>
            <pc:sldMk cId="1339647628" sldId="586"/>
            <ac:spMk id="537" creationId="{DA1A0DA0-3427-C5ED-4A48-42EDAC6C09C6}"/>
          </ac:spMkLst>
        </pc:spChg>
        <pc:spChg chg="del">
          <ac:chgData name="Bullinger, Marvin" userId="5b54ce5a-dc89-476f-af33-5abd75d5b1e8" providerId="ADAL" clId="{43B71669-8A80-4333-9349-B258A9296B49}" dt="2024-02-27T17:26:59.038" v="5775" actId="478"/>
          <ac:spMkLst>
            <pc:docMk/>
            <pc:sldMk cId="1339647628" sldId="586"/>
            <ac:spMk id="538" creationId="{9194F315-B582-80A5-7051-6235EE832D15}"/>
          </ac:spMkLst>
        </pc:spChg>
        <pc:spChg chg="del">
          <ac:chgData name="Bullinger, Marvin" userId="5b54ce5a-dc89-476f-af33-5abd75d5b1e8" providerId="ADAL" clId="{43B71669-8A80-4333-9349-B258A9296B49}" dt="2024-02-27T17:26:59.038" v="5774" actId="478"/>
          <ac:spMkLst>
            <pc:docMk/>
            <pc:sldMk cId="1339647628" sldId="586"/>
            <ac:spMk id="539" creationId="{E8538C89-9114-DAB7-FC29-25EC48C6ED2A}"/>
          </ac:spMkLst>
        </pc:spChg>
        <pc:spChg chg="del">
          <ac:chgData name="Bullinger, Marvin" userId="5b54ce5a-dc89-476f-af33-5abd75d5b1e8" providerId="ADAL" clId="{43B71669-8A80-4333-9349-B258A9296B49}" dt="2024-02-27T17:26:59.038" v="5773" actId="478"/>
          <ac:spMkLst>
            <pc:docMk/>
            <pc:sldMk cId="1339647628" sldId="586"/>
            <ac:spMk id="540" creationId="{9019BDB0-38F1-87B0-0AA6-411380D49F93}"/>
          </ac:spMkLst>
        </pc:spChg>
        <pc:spChg chg="del">
          <ac:chgData name="Bullinger, Marvin" userId="5b54ce5a-dc89-476f-af33-5abd75d5b1e8" providerId="ADAL" clId="{43B71669-8A80-4333-9349-B258A9296B49}" dt="2024-02-27T17:26:59.038" v="5772" actId="478"/>
          <ac:spMkLst>
            <pc:docMk/>
            <pc:sldMk cId="1339647628" sldId="586"/>
            <ac:spMk id="541" creationId="{13FCC929-4EAF-A332-7B52-E125C3CD0C19}"/>
          </ac:spMkLst>
        </pc:spChg>
        <pc:spChg chg="del">
          <ac:chgData name="Bullinger, Marvin" userId="5b54ce5a-dc89-476f-af33-5abd75d5b1e8" providerId="ADAL" clId="{43B71669-8A80-4333-9349-B258A9296B49}" dt="2024-02-27T17:26:59.038" v="5771" actId="478"/>
          <ac:spMkLst>
            <pc:docMk/>
            <pc:sldMk cId="1339647628" sldId="586"/>
            <ac:spMk id="542" creationId="{D4851F2E-7960-73F2-E8A9-F7CC81E2DC80}"/>
          </ac:spMkLst>
        </pc:spChg>
        <pc:spChg chg="del">
          <ac:chgData name="Bullinger, Marvin" userId="5b54ce5a-dc89-476f-af33-5abd75d5b1e8" providerId="ADAL" clId="{43B71669-8A80-4333-9349-B258A9296B49}" dt="2024-02-27T17:26:59.038" v="5770" actId="478"/>
          <ac:spMkLst>
            <pc:docMk/>
            <pc:sldMk cId="1339647628" sldId="586"/>
            <ac:spMk id="543" creationId="{9CCEF5ED-4DC6-2836-3B0E-524EAD512486}"/>
          </ac:spMkLst>
        </pc:spChg>
        <pc:spChg chg="del">
          <ac:chgData name="Bullinger, Marvin" userId="5b54ce5a-dc89-476f-af33-5abd75d5b1e8" providerId="ADAL" clId="{43B71669-8A80-4333-9349-B258A9296B49}" dt="2024-02-27T17:26:59.038" v="5762" actId="478"/>
          <ac:spMkLst>
            <pc:docMk/>
            <pc:sldMk cId="1339647628" sldId="586"/>
            <ac:spMk id="544" creationId="{421AADB9-D02E-6919-D7ED-E325B7B57949}"/>
          </ac:spMkLst>
        </pc:spChg>
        <pc:spChg chg="del">
          <ac:chgData name="Bullinger, Marvin" userId="5b54ce5a-dc89-476f-af33-5abd75d5b1e8" providerId="ADAL" clId="{43B71669-8A80-4333-9349-B258A9296B49}" dt="2024-02-27T17:26:59.038" v="5755" actId="478"/>
          <ac:spMkLst>
            <pc:docMk/>
            <pc:sldMk cId="1339647628" sldId="586"/>
            <ac:spMk id="545" creationId="{5201F9EC-7FE2-EE93-17D2-2535DD90FF69}"/>
          </ac:spMkLst>
        </pc:spChg>
        <pc:spChg chg="del">
          <ac:chgData name="Bullinger, Marvin" userId="5b54ce5a-dc89-476f-af33-5abd75d5b1e8" providerId="ADAL" clId="{43B71669-8A80-4333-9349-B258A9296B49}" dt="2024-02-27T17:26:59.038" v="5763" actId="478"/>
          <ac:spMkLst>
            <pc:docMk/>
            <pc:sldMk cId="1339647628" sldId="586"/>
            <ac:spMk id="546" creationId="{6132BDDC-262B-44AB-F584-27B04E3E2A39}"/>
          </ac:spMkLst>
        </pc:spChg>
        <pc:spChg chg="del">
          <ac:chgData name="Bullinger, Marvin" userId="5b54ce5a-dc89-476f-af33-5abd75d5b1e8" providerId="ADAL" clId="{43B71669-8A80-4333-9349-B258A9296B49}" dt="2024-02-27T17:26:59.038" v="5754" actId="478"/>
          <ac:spMkLst>
            <pc:docMk/>
            <pc:sldMk cId="1339647628" sldId="586"/>
            <ac:spMk id="547" creationId="{8A2048FD-D8B5-D32E-B5DB-109C9DF32725}"/>
          </ac:spMkLst>
        </pc:spChg>
        <pc:spChg chg="del">
          <ac:chgData name="Bullinger, Marvin" userId="5b54ce5a-dc89-476f-af33-5abd75d5b1e8" providerId="ADAL" clId="{43B71669-8A80-4333-9349-B258A9296B49}" dt="2024-02-27T17:26:59.038" v="5753" actId="478"/>
          <ac:spMkLst>
            <pc:docMk/>
            <pc:sldMk cId="1339647628" sldId="586"/>
            <ac:spMk id="548" creationId="{325B3428-3FCC-7E00-6501-305B0907EF51}"/>
          </ac:spMkLst>
        </pc:spChg>
        <pc:spChg chg="del">
          <ac:chgData name="Bullinger, Marvin" userId="5b54ce5a-dc89-476f-af33-5abd75d5b1e8" providerId="ADAL" clId="{43B71669-8A80-4333-9349-B258A9296B49}" dt="2024-02-27T17:26:59.038" v="5752" actId="478"/>
          <ac:spMkLst>
            <pc:docMk/>
            <pc:sldMk cId="1339647628" sldId="586"/>
            <ac:spMk id="549" creationId="{44C5827D-41AD-10A3-56D9-BE8C9D582988}"/>
          </ac:spMkLst>
        </pc:spChg>
        <pc:spChg chg="del">
          <ac:chgData name="Bullinger, Marvin" userId="5b54ce5a-dc89-476f-af33-5abd75d5b1e8" providerId="ADAL" clId="{43B71669-8A80-4333-9349-B258A9296B49}" dt="2024-02-27T17:26:59.038" v="5751" actId="478"/>
          <ac:spMkLst>
            <pc:docMk/>
            <pc:sldMk cId="1339647628" sldId="586"/>
            <ac:spMk id="550" creationId="{12BF1943-4171-780C-B341-96A84F1C3425}"/>
          </ac:spMkLst>
        </pc:spChg>
        <pc:spChg chg="del">
          <ac:chgData name="Bullinger, Marvin" userId="5b54ce5a-dc89-476f-af33-5abd75d5b1e8" providerId="ADAL" clId="{43B71669-8A80-4333-9349-B258A9296B49}" dt="2024-02-27T17:26:59.022" v="5750" actId="478"/>
          <ac:spMkLst>
            <pc:docMk/>
            <pc:sldMk cId="1339647628" sldId="586"/>
            <ac:spMk id="551" creationId="{A571BD5E-6F9D-BF35-56B1-EA0A012AC88E}"/>
          </ac:spMkLst>
        </pc:spChg>
        <pc:spChg chg="del">
          <ac:chgData name="Bullinger, Marvin" userId="5b54ce5a-dc89-476f-af33-5abd75d5b1e8" providerId="ADAL" clId="{43B71669-8A80-4333-9349-B258A9296B49}" dt="2024-02-27T17:26:59.022" v="5749" actId="478"/>
          <ac:spMkLst>
            <pc:docMk/>
            <pc:sldMk cId="1339647628" sldId="586"/>
            <ac:spMk id="552" creationId="{17BC8B33-6ACC-C99F-70BB-DDB8AD0E8FDB}"/>
          </ac:spMkLst>
        </pc:spChg>
        <pc:spChg chg="del">
          <ac:chgData name="Bullinger, Marvin" userId="5b54ce5a-dc89-476f-af33-5abd75d5b1e8" providerId="ADAL" clId="{43B71669-8A80-4333-9349-B258A9296B49}" dt="2024-02-27T17:26:59.022" v="5748" actId="478"/>
          <ac:spMkLst>
            <pc:docMk/>
            <pc:sldMk cId="1339647628" sldId="586"/>
            <ac:spMk id="553" creationId="{AA673776-768B-E35E-63D1-F6E482BECB18}"/>
          </ac:spMkLst>
        </pc:spChg>
        <pc:spChg chg="del">
          <ac:chgData name="Bullinger, Marvin" userId="5b54ce5a-dc89-476f-af33-5abd75d5b1e8" providerId="ADAL" clId="{43B71669-8A80-4333-9349-B258A9296B49}" dt="2024-02-27T17:26:59.022" v="5747" actId="478"/>
          <ac:spMkLst>
            <pc:docMk/>
            <pc:sldMk cId="1339647628" sldId="586"/>
            <ac:spMk id="554" creationId="{F6B34697-6128-8500-F453-E9706F3E934A}"/>
          </ac:spMkLst>
        </pc:spChg>
        <pc:spChg chg="del">
          <ac:chgData name="Bullinger, Marvin" userId="5b54ce5a-dc89-476f-af33-5abd75d5b1e8" providerId="ADAL" clId="{43B71669-8A80-4333-9349-B258A9296B49}" dt="2024-02-27T17:26:59.022" v="5746" actId="478"/>
          <ac:spMkLst>
            <pc:docMk/>
            <pc:sldMk cId="1339647628" sldId="586"/>
            <ac:spMk id="555" creationId="{5DA887F5-F4F4-E02E-1569-206592919DA2}"/>
          </ac:spMkLst>
        </pc:spChg>
        <pc:spChg chg="del">
          <ac:chgData name="Bullinger, Marvin" userId="5b54ce5a-dc89-476f-af33-5abd75d5b1e8" providerId="ADAL" clId="{43B71669-8A80-4333-9349-B258A9296B49}" dt="2024-02-27T17:26:59.022" v="5745" actId="478"/>
          <ac:spMkLst>
            <pc:docMk/>
            <pc:sldMk cId="1339647628" sldId="586"/>
            <ac:spMk id="556" creationId="{95E4B53E-E98E-2F39-7EF3-0B8867878BA4}"/>
          </ac:spMkLst>
        </pc:spChg>
        <pc:spChg chg="del">
          <ac:chgData name="Bullinger, Marvin" userId="5b54ce5a-dc89-476f-af33-5abd75d5b1e8" providerId="ADAL" clId="{43B71669-8A80-4333-9349-B258A9296B49}" dt="2024-02-27T17:26:59.022" v="5744" actId="478"/>
          <ac:spMkLst>
            <pc:docMk/>
            <pc:sldMk cId="1339647628" sldId="586"/>
            <ac:spMk id="557" creationId="{7B9E808F-959C-C376-316F-BE54D749479C}"/>
          </ac:spMkLst>
        </pc:spChg>
        <pc:spChg chg="del">
          <ac:chgData name="Bullinger, Marvin" userId="5b54ce5a-dc89-476f-af33-5abd75d5b1e8" providerId="ADAL" clId="{43B71669-8A80-4333-9349-B258A9296B49}" dt="2024-02-27T17:26:59.022" v="5743" actId="478"/>
          <ac:spMkLst>
            <pc:docMk/>
            <pc:sldMk cId="1339647628" sldId="586"/>
            <ac:spMk id="558" creationId="{F953FD5E-B062-F29A-BBD8-15D32DC006CC}"/>
          </ac:spMkLst>
        </pc:spChg>
        <pc:spChg chg="del">
          <ac:chgData name="Bullinger, Marvin" userId="5b54ce5a-dc89-476f-af33-5abd75d5b1e8" providerId="ADAL" clId="{43B71669-8A80-4333-9349-B258A9296B49}" dt="2024-02-27T17:26:59.022" v="5742" actId="478"/>
          <ac:spMkLst>
            <pc:docMk/>
            <pc:sldMk cId="1339647628" sldId="586"/>
            <ac:spMk id="559" creationId="{9FFA34BE-F724-6B04-F806-04D97E5BCD57}"/>
          </ac:spMkLst>
        </pc:spChg>
        <pc:spChg chg="del">
          <ac:chgData name="Bullinger, Marvin" userId="5b54ce5a-dc89-476f-af33-5abd75d5b1e8" providerId="ADAL" clId="{43B71669-8A80-4333-9349-B258A9296B49}" dt="2024-02-27T17:26:59.022" v="5741" actId="478"/>
          <ac:spMkLst>
            <pc:docMk/>
            <pc:sldMk cId="1339647628" sldId="586"/>
            <ac:spMk id="560" creationId="{AE0420B8-0149-00EC-D92C-262199F93E67}"/>
          </ac:spMkLst>
        </pc:spChg>
        <pc:spChg chg="replST">
          <ac:chgData name="Bullinger, Marvin" userId="5b54ce5a-dc89-476f-af33-5abd75d5b1e8" providerId="ADAL" clId="{43B71669-8A80-4333-9349-B258A9296B49}" dt="2024-02-27T17:26:59.524" v="6165"/>
          <ac:spMkLst>
            <pc:docMk/>
            <pc:sldMk cId="1339647628" sldId="586"/>
            <ac:spMk id="561" creationId="{46059BD3-DD04-4982-C24A-6EE3DB02D353}"/>
          </ac:spMkLst>
        </pc:spChg>
        <pc:spChg chg="replST">
          <ac:chgData name="Bullinger, Marvin" userId="5b54ce5a-dc89-476f-af33-5abd75d5b1e8" providerId="ADAL" clId="{43B71669-8A80-4333-9349-B258A9296B49}" dt="2024-02-27T17:26:59.534" v="6168"/>
          <ac:spMkLst>
            <pc:docMk/>
            <pc:sldMk cId="1339647628" sldId="586"/>
            <ac:spMk id="562" creationId="{4E406F41-68E3-879E-8917-4643756AB3DB}"/>
          </ac:spMkLst>
        </pc:spChg>
        <pc:spChg chg="replST">
          <ac:chgData name="Bullinger, Marvin" userId="5b54ce5a-dc89-476f-af33-5abd75d5b1e8" providerId="ADAL" clId="{43B71669-8A80-4333-9349-B258A9296B49}" dt="2024-02-27T17:26:59.545" v="6172"/>
          <ac:spMkLst>
            <pc:docMk/>
            <pc:sldMk cId="1339647628" sldId="586"/>
            <ac:spMk id="564" creationId="{3A1200E5-817D-C5E0-766F-C07F3DAF183A}"/>
          </ac:spMkLst>
        </pc:spChg>
        <pc:spChg chg="replST">
          <ac:chgData name="Bullinger, Marvin" userId="5b54ce5a-dc89-476f-af33-5abd75d5b1e8" providerId="ADAL" clId="{43B71669-8A80-4333-9349-B258A9296B49}" dt="2024-02-27T17:26:59.553" v="6175"/>
          <ac:spMkLst>
            <pc:docMk/>
            <pc:sldMk cId="1339647628" sldId="586"/>
            <ac:spMk id="565" creationId="{0FAB9613-B894-4F16-B981-DF28D4996EB6}"/>
          </ac:spMkLst>
        </pc:spChg>
        <pc:spChg chg="replST">
          <ac:chgData name="Bullinger, Marvin" userId="5b54ce5a-dc89-476f-af33-5abd75d5b1e8" providerId="ADAL" clId="{43B71669-8A80-4333-9349-B258A9296B49}" dt="2024-02-27T17:26:59.565" v="6179"/>
          <ac:spMkLst>
            <pc:docMk/>
            <pc:sldMk cId="1339647628" sldId="586"/>
            <ac:spMk id="567" creationId="{4C127440-1677-440F-BCAD-CAB3FA1EB8A5}"/>
          </ac:spMkLst>
        </pc:spChg>
        <pc:spChg chg="replST">
          <ac:chgData name="Bullinger, Marvin" userId="5b54ce5a-dc89-476f-af33-5abd75d5b1e8" providerId="ADAL" clId="{43B71669-8A80-4333-9349-B258A9296B49}" dt="2024-02-27T17:26:59.575" v="6182"/>
          <ac:spMkLst>
            <pc:docMk/>
            <pc:sldMk cId="1339647628" sldId="586"/>
            <ac:spMk id="568" creationId="{F0001D01-CE93-A869-183F-3008BE143D9B}"/>
          </ac:spMkLst>
        </pc:spChg>
        <pc:spChg chg="replST">
          <ac:chgData name="Bullinger, Marvin" userId="5b54ce5a-dc89-476f-af33-5abd75d5b1e8" providerId="ADAL" clId="{43B71669-8A80-4333-9349-B258A9296B49}" dt="2024-02-27T17:26:59.583" v="6186"/>
          <ac:spMkLst>
            <pc:docMk/>
            <pc:sldMk cId="1339647628" sldId="586"/>
            <ac:spMk id="570" creationId="{9CA9D01B-C63D-FE39-8E1B-7EA259358C8C}"/>
          </ac:spMkLst>
        </pc:spChg>
        <pc:spChg chg="replST">
          <ac:chgData name="Bullinger, Marvin" userId="5b54ce5a-dc89-476f-af33-5abd75d5b1e8" providerId="ADAL" clId="{43B71669-8A80-4333-9349-B258A9296B49}" dt="2024-02-27T17:26:59.585" v="6189"/>
          <ac:spMkLst>
            <pc:docMk/>
            <pc:sldMk cId="1339647628" sldId="586"/>
            <ac:spMk id="571" creationId="{4A4F64D2-A051-1886-8ADB-D6132C3806A6}"/>
          </ac:spMkLst>
        </pc:spChg>
        <pc:spChg chg="replST">
          <ac:chgData name="Bullinger, Marvin" userId="5b54ce5a-dc89-476f-af33-5abd75d5b1e8" providerId="ADAL" clId="{43B71669-8A80-4333-9349-B258A9296B49}" dt="2024-02-27T17:26:59.604" v="6193"/>
          <ac:spMkLst>
            <pc:docMk/>
            <pc:sldMk cId="1339647628" sldId="586"/>
            <ac:spMk id="573" creationId="{0EA0029E-A7DA-45DB-7E2F-0FAD622CB9F2}"/>
          </ac:spMkLst>
        </pc:spChg>
        <pc:spChg chg="replST">
          <ac:chgData name="Bullinger, Marvin" userId="5b54ce5a-dc89-476f-af33-5abd75d5b1e8" providerId="ADAL" clId="{43B71669-8A80-4333-9349-B258A9296B49}" dt="2024-02-27T17:26:59.615" v="6196"/>
          <ac:spMkLst>
            <pc:docMk/>
            <pc:sldMk cId="1339647628" sldId="586"/>
            <ac:spMk id="574" creationId="{88D400CF-26F3-2F35-FCE3-9EABD1101FB2}"/>
          </ac:spMkLst>
        </pc:spChg>
        <pc:spChg chg="replST">
          <ac:chgData name="Bullinger, Marvin" userId="5b54ce5a-dc89-476f-af33-5abd75d5b1e8" providerId="ADAL" clId="{43B71669-8A80-4333-9349-B258A9296B49}" dt="2024-02-27T17:26:59.625" v="6200"/>
          <ac:spMkLst>
            <pc:docMk/>
            <pc:sldMk cId="1339647628" sldId="586"/>
            <ac:spMk id="576" creationId="{75D171D8-E46B-8BBE-2808-F1ED1BC8D2CD}"/>
          </ac:spMkLst>
        </pc:spChg>
        <pc:spChg chg="replST">
          <ac:chgData name="Bullinger, Marvin" userId="5b54ce5a-dc89-476f-af33-5abd75d5b1e8" providerId="ADAL" clId="{43B71669-8A80-4333-9349-B258A9296B49}" dt="2024-02-27T17:26:59.625" v="6203"/>
          <ac:spMkLst>
            <pc:docMk/>
            <pc:sldMk cId="1339647628" sldId="586"/>
            <ac:spMk id="577" creationId="{50893F62-F838-DEE0-237A-C3325CBEE82C}"/>
          </ac:spMkLst>
        </pc:spChg>
        <pc:spChg chg="replST">
          <ac:chgData name="Bullinger, Marvin" userId="5b54ce5a-dc89-476f-af33-5abd75d5b1e8" providerId="ADAL" clId="{43B71669-8A80-4333-9349-B258A9296B49}" dt="2024-02-27T17:26:59.654" v="6207"/>
          <ac:spMkLst>
            <pc:docMk/>
            <pc:sldMk cId="1339647628" sldId="586"/>
            <ac:spMk id="579" creationId="{8F4D7C36-54DE-01EB-7841-BF8A96CFBAFF}"/>
          </ac:spMkLst>
        </pc:spChg>
        <pc:spChg chg="replST">
          <ac:chgData name="Bullinger, Marvin" userId="5b54ce5a-dc89-476f-af33-5abd75d5b1e8" providerId="ADAL" clId="{43B71669-8A80-4333-9349-B258A9296B49}" dt="2024-02-27T17:26:59.666" v="6210"/>
          <ac:spMkLst>
            <pc:docMk/>
            <pc:sldMk cId="1339647628" sldId="586"/>
            <ac:spMk id="580" creationId="{3C8C744B-3C20-741B-B9C0-F194ADA18700}"/>
          </ac:spMkLst>
        </pc:spChg>
        <pc:spChg chg="replST">
          <ac:chgData name="Bullinger, Marvin" userId="5b54ce5a-dc89-476f-af33-5abd75d5b1e8" providerId="ADAL" clId="{43B71669-8A80-4333-9349-B258A9296B49}" dt="2024-02-27T17:26:59.676" v="6214"/>
          <ac:spMkLst>
            <pc:docMk/>
            <pc:sldMk cId="1339647628" sldId="586"/>
            <ac:spMk id="582" creationId="{DDC0A11F-DFB1-115D-05CC-698DB4E8D46E}"/>
          </ac:spMkLst>
        </pc:spChg>
        <pc:spChg chg="replST">
          <ac:chgData name="Bullinger, Marvin" userId="5b54ce5a-dc89-476f-af33-5abd75d5b1e8" providerId="ADAL" clId="{43B71669-8A80-4333-9349-B258A9296B49}" dt="2024-02-27T17:26:59.686" v="6217"/>
          <ac:spMkLst>
            <pc:docMk/>
            <pc:sldMk cId="1339647628" sldId="586"/>
            <ac:spMk id="583" creationId="{1A324510-1551-C922-29C6-0E9DC2F50554}"/>
          </ac:spMkLst>
        </pc:spChg>
        <pc:spChg chg="add mod">
          <ac:chgData name="Bullinger, Marvin" userId="5b54ce5a-dc89-476f-af33-5abd75d5b1e8" providerId="ADAL" clId="{43B71669-8A80-4333-9349-B258A9296B49}" dt="2024-02-27T17:27:36.745" v="6885" actId="478"/>
          <ac:spMkLst>
            <pc:docMk/>
            <pc:sldMk cId="1339647628" sldId="586"/>
            <ac:spMk id="624" creationId="{576BA821-5747-B221-935A-95FC02EA286C}"/>
          </ac:spMkLst>
        </pc:spChg>
        <pc:spChg chg="mod ord replST">
          <ac:chgData name="Bullinger, Marvin" userId="5b54ce5a-dc89-476f-af33-5abd75d5b1e8" providerId="ADAL" clId="{43B71669-8A80-4333-9349-B258A9296B49}" dt="2024-02-27T17:27:37.308" v="7312"/>
          <ac:spMkLst>
            <pc:docMk/>
            <pc:sldMk cId="1339647628" sldId="586"/>
            <ac:spMk id="625" creationId="{AB3B255B-A8D1-DB39-486E-396097FF1E10}"/>
          </ac:spMkLst>
        </pc:spChg>
        <pc:spChg chg="del">
          <ac:chgData name="Bullinger, Marvin" userId="5b54ce5a-dc89-476f-af33-5abd75d5b1e8" providerId="ADAL" clId="{43B71669-8A80-4333-9349-B258A9296B49}" dt="2024-02-27T17:27:36.791" v="6923" actId="478"/>
          <ac:spMkLst>
            <pc:docMk/>
            <pc:sldMk cId="1339647628" sldId="586"/>
            <ac:spMk id="626" creationId="{CB69D8C7-E636-D5D5-608A-744CAD7F4921}"/>
          </ac:spMkLst>
        </pc:spChg>
        <pc:spChg chg="del">
          <ac:chgData name="Bullinger, Marvin" userId="5b54ce5a-dc89-476f-af33-5abd75d5b1e8" providerId="ADAL" clId="{43B71669-8A80-4333-9349-B258A9296B49}" dt="2024-02-27T17:27:36.791" v="6922" actId="478"/>
          <ac:spMkLst>
            <pc:docMk/>
            <pc:sldMk cId="1339647628" sldId="586"/>
            <ac:spMk id="627" creationId="{E885FF28-4478-928C-67D2-413680505A03}"/>
          </ac:spMkLst>
        </pc:spChg>
        <pc:spChg chg="del">
          <ac:chgData name="Bullinger, Marvin" userId="5b54ce5a-dc89-476f-af33-5abd75d5b1e8" providerId="ADAL" clId="{43B71669-8A80-4333-9349-B258A9296B49}" dt="2024-02-27T17:27:36.791" v="6921" actId="478"/>
          <ac:spMkLst>
            <pc:docMk/>
            <pc:sldMk cId="1339647628" sldId="586"/>
            <ac:spMk id="628" creationId="{FC6F630B-2D42-F251-B858-FA7D6FA24F8C}"/>
          </ac:spMkLst>
        </pc:spChg>
        <pc:spChg chg="del">
          <ac:chgData name="Bullinger, Marvin" userId="5b54ce5a-dc89-476f-af33-5abd75d5b1e8" providerId="ADAL" clId="{43B71669-8A80-4333-9349-B258A9296B49}" dt="2024-02-27T17:27:36.791" v="6920" actId="478"/>
          <ac:spMkLst>
            <pc:docMk/>
            <pc:sldMk cId="1339647628" sldId="586"/>
            <ac:spMk id="629" creationId="{8CBFDFCE-32E4-44CD-2C4A-A85E5DC4200B}"/>
          </ac:spMkLst>
        </pc:spChg>
        <pc:spChg chg="del">
          <ac:chgData name="Bullinger, Marvin" userId="5b54ce5a-dc89-476f-af33-5abd75d5b1e8" providerId="ADAL" clId="{43B71669-8A80-4333-9349-B258A9296B49}" dt="2024-02-27T17:27:36.791" v="6919" actId="478"/>
          <ac:spMkLst>
            <pc:docMk/>
            <pc:sldMk cId="1339647628" sldId="586"/>
            <ac:spMk id="630" creationId="{5D63BA86-8DDF-0CF5-FB2E-0E94466D1726}"/>
          </ac:spMkLst>
        </pc:spChg>
        <pc:spChg chg="del">
          <ac:chgData name="Bullinger, Marvin" userId="5b54ce5a-dc89-476f-af33-5abd75d5b1e8" providerId="ADAL" clId="{43B71669-8A80-4333-9349-B258A9296B49}" dt="2024-02-27T17:27:36.791" v="6918" actId="478"/>
          <ac:spMkLst>
            <pc:docMk/>
            <pc:sldMk cId="1339647628" sldId="586"/>
            <ac:spMk id="631" creationId="{DE698BA9-DB73-83F2-CE61-C4D8F2140C2A}"/>
          </ac:spMkLst>
        </pc:spChg>
        <pc:spChg chg="del">
          <ac:chgData name="Bullinger, Marvin" userId="5b54ce5a-dc89-476f-af33-5abd75d5b1e8" providerId="ADAL" clId="{43B71669-8A80-4333-9349-B258A9296B49}" dt="2024-02-27T17:27:36.789" v="6915" actId="478"/>
          <ac:spMkLst>
            <pc:docMk/>
            <pc:sldMk cId="1339647628" sldId="586"/>
            <ac:spMk id="632" creationId="{4FE79E8B-42A7-2367-60AD-2869420B0A50}"/>
          </ac:spMkLst>
        </pc:spChg>
        <pc:spChg chg="del">
          <ac:chgData name="Bullinger, Marvin" userId="5b54ce5a-dc89-476f-af33-5abd75d5b1e8" providerId="ADAL" clId="{43B71669-8A80-4333-9349-B258A9296B49}" dt="2024-02-27T17:27:36.779" v="6914" actId="478"/>
          <ac:spMkLst>
            <pc:docMk/>
            <pc:sldMk cId="1339647628" sldId="586"/>
            <ac:spMk id="633" creationId="{72DB49B8-D483-25D7-B800-5E3C2095E890}"/>
          </ac:spMkLst>
        </pc:spChg>
        <pc:spChg chg="del">
          <ac:chgData name="Bullinger, Marvin" userId="5b54ce5a-dc89-476f-af33-5abd75d5b1e8" providerId="ADAL" clId="{43B71669-8A80-4333-9349-B258A9296B49}" dt="2024-02-27T17:27:36.779" v="6913" actId="478"/>
          <ac:spMkLst>
            <pc:docMk/>
            <pc:sldMk cId="1339647628" sldId="586"/>
            <ac:spMk id="634" creationId="{032E63C1-DC18-11D6-C3A4-F59D714823AD}"/>
          </ac:spMkLst>
        </pc:spChg>
        <pc:spChg chg="del">
          <ac:chgData name="Bullinger, Marvin" userId="5b54ce5a-dc89-476f-af33-5abd75d5b1e8" providerId="ADAL" clId="{43B71669-8A80-4333-9349-B258A9296B49}" dt="2024-02-27T17:27:36.779" v="6912" actId="478"/>
          <ac:spMkLst>
            <pc:docMk/>
            <pc:sldMk cId="1339647628" sldId="586"/>
            <ac:spMk id="635" creationId="{FC7C96A8-AF02-5DED-7648-7614D96AD44F}"/>
          </ac:spMkLst>
        </pc:spChg>
        <pc:spChg chg="del">
          <ac:chgData name="Bullinger, Marvin" userId="5b54ce5a-dc89-476f-af33-5abd75d5b1e8" providerId="ADAL" clId="{43B71669-8A80-4333-9349-B258A9296B49}" dt="2024-02-27T17:27:36.779" v="6911" actId="478"/>
          <ac:spMkLst>
            <pc:docMk/>
            <pc:sldMk cId="1339647628" sldId="586"/>
            <ac:spMk id="636" creationId="{CD16F625-6A37-4E73-1A87-111874464E94}"/>
          </ac:spMkLst>
        </pc:spChg>
        <pc:spChg chg="del">
          <ac:chgData name="Bullinger, Marvin" userId="5b54ce5a-dc89-476f-af33-5abd75d5b1e8" providerId="ADAL" clId="{43B71669-8A80-4333-9349-B258A9296B49}" dt="2024-02-27T17:27:36.779" v="6910" actId="478"/>
          <ac:spMkLst>
            <pc:docMk/>
            <pc:sldMk cId="1339647628" sldId="586"/>
            <ac:spMk id="637" creationId="{299D69E5-6A8B-238E-E36C-9DBBC1B8E164}"/>
          </ac:spMkLst>
        </pc:spChg>
        <pc:spChg chg="del">
          <ac:chgData name="Bullinger, Marvin" userId="5b54ce5a-dc89-476f-af33-5abd75d5b1e8" providerId="ADAL" clId="{43B71669-8A80-4333-9349-B258A9296B49}" dt="2024-02-27T17:27:36.791" v="6931" actId="478"/>
          <ac:spMkLst>
            <pc:docMk/>
            <pc:sldMk cId="1339647628" sldId="586"/>
            <ac:spMk id="638" creationId="{353B9C60-A152-9413-5104-8D7EAC44B120}"/>
          </ac:spMkLst>
        </pc:spChg>
        <pc:spChg chg="del">
          <ac:chgData name="Bullinger, Marvin" userId="5b54ce5a-dc89-476f-af33-5abd75d5b1e8" providerId="ADAL" clId="{43B71669-8A80-4333-9349-B258A9296B49}" dt="2024-02-27T17:27:36.791" v="6930" actId="478"/>
          <ac:spMkLst>
            <pc:docMk/>
            <pc:sldMk cId="1339647628" sldId="586"/>
            <ac:spMk id="639" creationId="{AF9A2356-68F1-7B9B-F6AB-C009A639D940}"/>
          </ac:spMkLst>
        </pc:spChg>
        <pc:spChg chg="del">
          <ac:chgData name="Bullinger, Marvin" userId="5b54ce5a-dc89-476f-af33-5abd75d5b1e8" providerId="ADAL" clId="{43B71669-8A80-4333-9349-B258A9296B49}" dt="2024-02-27T17:27:36.791" v="6929" actId="478"/>
          <ac:spMkLst>
            <pc:docMk/>
            <pc:sldMk cId="1339647628" sldId="586"/>
            <ac:spMk id="640" creationId="{854D4123-4CB6-2947-C8A4-1CD4784FD10B}"/>
          </ac:spMkLst>
        </pc:spChg>
        <pc:spChg chg="del">
          <ac:chgData name="Bullinger, Marvin" userId="5b54ce5a-dc89-476f-af33-5abd75d5b1e8" providerId="ADAL" clId="{43B71669-8A80-4333-9349-B258A9296B49}" dt="2024-02-27T17:27:36.791" v="6928" actId="478"/>
          <ac:spMkLst>
            <pc:docMk/>
            <pc:sldMk cId="1339647628" sldId="586"/>
            <ac:spMk id="641" creationId="{B8BAEBD2-5129-EDAE-07D0-BB356B1A580A}"/>
          </ac:spMkLst>
        </pc:spChg>
        <pc:spChg chg="del">
          <ac:chgData name="Bullinger, Marvin" userId="5b54ce5a-dc89-476f-af33-5abd75d5b1e8" providerId="ADAL" clId="{43B71669-8A80-4333-9349-B258A9296B49}" dt="2024-02-27T17:27:36.791" v="6927" actId="478"/>
          <ac:spMkLst>
            <pc:docMk/>
            <pc:sldMk cId="1339647628" sldId="586"/>
            <ac:spMk id="642" creationId="{431B655F-5EE7-F087-5A16-AFFA94F15188}"/>
          </ac:spMkLst>
        </pc:spChg>
        <pc:spChg chg="del">
          <ac:chgData name="Bullinger, Marvin" userId="5b54ce5a-dc89-476f-af33-5abd75d5b1e8" providerId="ADAL" clId="{43B71669-8A80-4333-9349-B258A9296B49}" dt="2024-02-27T17:27:36.791" v="6926" actId="478"/>
          <ac:spMkLst>
            <pc:docMk/>
            <pc:sldMk cId="1339647628" sldId="586"/>
            <ac:spMk id="643" creationId="{B55956D6-8F26-68E1-6078-FA084E0482BC}"/>
          </ac:spMkLst>
        </pc:spChg>
        <pc:spChg chg="del">
          <ac:chgData name="Bullinger, Marvin" userId="5b54ce5a-dc89-476f-af33-5abd75d5b1e8" providerId="ADAL" clId="{43B71669-8A80-4333-9349-B258A9296B49}" dt="2024-02-27T17:27:36.791" v="6925" actId="478"/>
          <ac:spMkLst>
            <pc:docMk/>
            <pc:sldMk cId="1339647628" sldId="586"/>
            <ac:spMk id="644" creationId="{13AAE7EB-92AA-2AE8-11FA-B1EB56F37EAC}"/>
          </ac:spMkLst>
        </pc:spChg>
        <pc:spChg chg="del">
          <ac:chgData name="Bullinger, Marvin" userId="5b54ce5a-dc89-476f-af33-5abd75d5b1e8" providerId="ADAL" clId="{43B71669-8A80-4333-9349-B258A9296B49}" dt="2024-02-27T17:27:36.791" v="6924" actId="478"/>
          <ac:spMkLst>
            <pc:docMk/>
            <pc:sldMk cId="1339647628" sldId="586"/>
            <ac:spMk id="645" creationId="{2BC1DD44-1643-BAAA-63A4-D557BBD7FBEE}"/>
          </ac:spMkLst>
        </pc:spChg>
        <pc:spChg chg="del">
          <ac:chgData name="Bullinger, Marvin" userId="5b54ce5a-dc89-476f-af33-5abd75d5b1e8" providerId="ADAL" clId="{43B71669-8A80-4333-9349-B258A9296B49}" dt="2024-02-27T17:27:36.789" v="6916" actId="478"/>
          <ac:spMkLst>
            <pc:docMk/>
            <pc:sldMk cId="1339647628" sldId="586"/>
            <ac:spMk id="646" creationId="{930744B3-B415-A7D5-7A73-8F6A5B5629B1}"/>
          </ac:spMkLst>
        </pc:spChg>
        <pc:spChg chg="del">
          <ac:chgData name="Bullinger, Marvin" userId="5b54ce5a-dc89-476f-af33-5abd75d5b1e8" providerId="ADAL" clId="{43B71669-8A80-4333-9349-B258A9296B49}" dt="2024-02-27T17:27:36.779" v="6909" actId="478"/>
          <ac:spMkLst>
            <pc:docMk/>
            <pc:sldMk cId="1339647628" sldId="586"/>
            <ac:spMk id="647" creationId="{D1F540A6-2485-B039-97C7-0E171729CCA6}"/>
          </ac:spMkLst>
        </pc:spChg>
        <pc:spChg chg="del">
          <ac:chgData name="Bullinger, Marvin" userId="5b54ce5a-dc89-476f-af33-5abd75d5b1e8" providerId="ADAL" clId="{43B71669-8A80-4333-9349-B258A9296B49}" dt="2024-02-27T17:27:36.791" v="6917" actId="478"/>
          <ac:spMkLst>
            <pc:docMk/>
            <pc:sldMk cId="1339647628" sldId="586"/>
            <ac:spMk id="648" creationId="{D1AFF133-0D72-F51C-B234-0E30CCA7A31B}"/>
          </ac:spMkLst>
        </pc:spChg>
        <pc:spChg chg="del">
          <ac:chgData name="Bullinger, Marvin" userId="5b54ce5a-dc89-476f-af33-5abd75d5b1e8" providerId="ADAL" clId="{43B71669-8A80-4333-9349-B258A9296B49}" dt="2024-02-27T17:27:36.779" v="6908" actId="478"/>
          <ac:spMkLst>
            <pc:docMk/>
            <pc:sldMk cId="1339647628" sldId="586"/>
            <ac:spMk id="649" creationId="{89903C2E-C420-4A05-5BE5-A3E7F2E92282}"/>
          </ac:spMkLst>
        </pc:spChg>
        <pc:spChg chg="del">
          <ac:chgData name="Bullinger, Marvin" userId="5b54ce5a-dc89-476f-af33-5abd75d5b1e8" providerId="ADAL" clId="{43B71669-8A80-4333-9349-B258A9296B49}" dt="2024-02-27T17:27:36.779" v="6907" actId="478"/>
          <ac:spMkLst>
            <pc:docMk/>
            <pc:sldMk cId="1339647628" sldId="586"/>
            <ac:spMk id="650" creationId="{590776C5-1842-4684-BAA7-4D947476AB22}"/>
          </ac:spMkLst>
        </pc:spChg>
        <pc:spChg chg="del">
          <ac:chgData name="Bullinger, Marvin" userId="5b54ce5a-dc89-476f-af33-5abd75d5b1e8" providerId="ADAL" clId="{43B71669-8A80-4333-9349-B258A9296B49}" dt="2024-02-27T17:27:36.779" v="6906" actId="478"/>
          <ac:spMkLst>
            <pc:docMk/>
            <pc:sldMk cId="1339647628" sldId="586"/>
            <ac:spMk id="651" creationId="{750AAE7D-792B-271C-DC6A-28D2C2847D8E}"/>
          </ac:spMkLst>
        </pc:spChg>
        <pc:spChg chg="del">
          <ac:chgData name="Bullinger, Marvin" userId="5b54ce5a-dc89-476f-af33-5abd75d5b1e8" providerId="ADAL" clId="{43B71669-8A80-4333-9349-B258A9296B49}" dt="2024-02-27T17:27:36.779" v="6905" actId="478"/>
          <ac:spMkLst>
            <pc:docMk/>
            <pc:sldMk cId="1339647628" sldId="586"/>
            <ac:spMk id="652" creationId="{6A4E3A79-5355-C525-174C-B294FB2C05B5}"/>
          </ac:spMkLst>
        </pc:spChg>
        <pc:spChg chg="del">
          <ac:chgData name="Bullinger, Marvin" userId="5b54ce5a-dc89-476f-af33-5abd75d5b1e8" providerId="ADAL" clId="{43B71669-8A80-4333-9349-B258A9296B49}" dt="2024-02-27T17:27:36.779" v="6904" actId="478"/>
          <ac:spMkLst>
            <pc:docMk/>
            <pc:sldMk cId="1339647628" sldId="586"/>
            <ac:spMk id="653" creationId="{30DD40B8-6CC0-EF8F-3CA9-BBC74CF8D5E6}"/>
          </ac:spMkLst>
        </pc:spChg>
        <pc:spChg chg="del">
          <ac:chgData name="Bullinger, Marvin" userId="5b54ce5a-dc89-476f-af33-5abd75d5b1e8" providerId="ADAL" clId="{43B71669-8A80-4333-9349-B258A9296B49}" dt="2024-02-27T17:27:36.779" v="6903" actId="478"/>
          <ac:spMkLst>
            <pc:docMk/>
            <pc:sldMk cId="1339647628" sldId="586"/>
            <ac:spMk id="654" creationId="{8D969009-6148-191E-7524-873C785A073B}"/>
          </ac:spMkLst>
        </pc:spChg>
        <pc:spChg chg="del">
          <ac:chgData name="Bullinger, Marvin" userId="5b54ce5a-dc89-476f-af33-5abd75d5b1e8" providerId="ADAL" clId="{43B71669-8A80-4333-9349-B258A9296B49}" dt="2024-02-27T17:27:36.779" v="6902" actId="478"/>
          <ac:spMkLst>
            <pc:docMk/>
            <pc:sldMk cId="1339647628" sldId="586"/>
            <ac:spMk id="655" creationId="{F9C6F839-D262-48D4-A62D-F5EF2A57487A}"/>
          </ac:spMkLst>
        </pc:spChg>
        <pc:spChg chg="del">
          <ac:chgData name="Bullinger, Marvin" userId="5b54ce5a-dc89-476f-af33-5abd75d5b1e8" providerId="ADAL" clId="{43B71669-8A80-4333-9349-B258A9296B49}" dt="2024-02-27T17:27:36.779" v="6901" actId="478"/>
          <ac:spMkLst>
            <pc:docMk/>
            <pc:sldMk cId="1339647628" sldId="586"/>
            <ac:spMk id="656" creationId="{99FF274A-3B01-FEB8-D737-1541137359C4}"/>
          </ac:spMkLst>
        </pc:spChg>
        <pc:spChg chg="del">
          <ac:chgData name="Bullinger, Marvin" userId="5b54ce5a-dc89-476f-af33-5abd75d5b1e8" providerId="ADAL" clId="{43B71669-8A80-4333-9349-B258A9296B49}" dt="2024-02-27T17:27:36.779" v="6900" actId="478"/>
          <ac:spMkLst>
            <pc:docMk/>
            <pc:sldMk cId="1339647628" sldId="586"/>
            <ac:spMk id="657" creationId="{A1BAF848-7FA4-E1B3-4142-469BD50D9988}"/>
          </ac:spMkLst>
        </pc:spChg>
        <pc:spChg chg="del">
          <ac:chgData name="Bullinger, Marvin" userId="5b54ce5a-dc89-476f-af33-5abd75d5b1e8" providerId="ADAL" clId="{43B71669-8A80-4333-9349-B258A9296B49}" dt="2024-02-27T17:27:36.771" v="6899" actId="478"/>
          <ac:spMkLst>
            <pc:docMk/>
            <pc:sldMk cId="1339647628" sldId="586"/>
            <ac:spMk id="658" creationId="{418CD48D-CBE0-075A-8429-3E952FC59D4B}"/>
          </ac:spMkLst>
        </pc:spChg>
        <pc:spChg chg="del">
          <ac:chgData name="Bullinger, Marvin" userId="5b54ce5a-dc89-476f-af33-5abd75d5b1e8" providerId="ADAL" clId="{43B71669-8A80-4333-9349-B258A9296B49}" dt="2024-02-27T17:27:36.771" v="6898" actId="478"/>
          <ac:spMkLst>
            <pc:docMk/>
            <pc:sldMk cId="1339647628" sldId="586"/>
            <ac:spMk id="659" creationId="{0F1BBC57-4CD5-E9D0-E018-9FF4BA88EB0F}"/>
          </ac:spMkLst>
        </pc:spChg>
        <pc:spChg chg="del">
          <ac:chgData name="Bullinger, Marvin" userId="5b54ce5a-dc89-476f-af33-5abd75d5b1e8" providerId="ADAL" clId="{43B71669-8A80-4333-9349-B258A9296B49}" dt="2024-02-27T17:27:36.771" v="6897" actId="478"/>
          <ac:spMkLst>
            <pc:docMk/>
            <pc:sldMk cId="1339647628" sldId="586"/>
            <ac:spMk id="660" creationId="{2D3B179E-5A5A-ED7C-25F5-798C4DDE777E}"/>
          </ac:spMkLst>
        </pc:spChg>
        <pc:spChg chg="del">
          <ac:chgData name="Bullinger, Marvin" userId="5b54ce5a-dc89-476f-af33-5abd75d5b1e8" providerId="ADAL" clId="{43B71669-8A80-4333-9349-B258A9296B49}" dt="2024-02-27T17:27:36.771" v="6896" actId="478"/>
          <ac:spMkLst>
            <pc:docMk/>
            <pc:sldMk cId="1339647628" sldId="586"/>
            <ac:spMk id="661" creationId="{FF57584B-45EE-42F9-E94A-06721C5D9F7D}"/>
          </ac:spMkLst>
        </pc:spChg>
        <pc:spChg chg="del">
          <ac:chgData name="Bullinger, Marvin" userId="5b54ce5a-dc89-476f-af33-5abd75d5b1e8" providerId="ADAL" clId="{43B71669-8A80-4333-9349-B258A9296B49}" dt="2024-02-27T17:27:36.771" v="6895" actId="478"/>
          <ac:spMkLst>
            <pc:docMk/>
            <pc:sldMk cId="1339647628" sldId="586"/>
            <ac:spMk id="662" creationId="{DDB62800-0535-B512-3543-846FBB75E474}"/>
          </ac:spMkLst>
        </pc:spChg>
        <pc:spChg chg="replST">
          <ac:chgData name="Bullinger, Marvin" userId="5b54ce5a-dc89-476f-af33-5abd75d5b1e8" providerId="ADAL" clId="{43B71669-8A80-4333-9349-B258A9296B49}" dt="2024-02-27T17:27:37.199" v="7264"/>
          <ac:spMkLst>
            <pc:docMk/>
            <pc:sldMk cId="1339647628" sldId="586"/>
            <ac:spMk id="663" creationId="{47BE326A-BAC5-849C-7778-5C9E0441FB7C}"/>
          </ac:spMkLst>
        </pc:spChg>
        <pc:spChg chg="replST">
          <ac:chgData name="Bullinger, Marvin" userId="5b54ce5a-dc89-476f-af33-5abd75d5b1e8" providerId="ADAL" clId="{43B71669-8A80-4333-9349-B258A9296B49}" dt="2024-02-27T17:27:37.199" v="7267"/>
          <ac:spMkLst>
            <pc:docMk/>
            <pc:sldMk cId="1339647628" sldId="586"/>
            <ac:spMk id="664" creationId="{1D979D88-05A9-4FC2-79CF-CD7CE201E18D}"/>
          </ac:spMkLst>
        </pc:spChg>
        <pc:spChg chg="replST">
          <ac:chgData name="Bullinger, Marvin" userId="5b54ce5a-dc89-476f-af33-5abd75d5b1e8" providerId="ADAL" clId="{43B71669-8A80-4333-9349-B258A9296B49}" dt="2024-02-27T17:27:37.207" v="7271"/>
          <ac:spMkLst>
            <pc:docMk/>
            <pc:sldMk cId="1339647628" sldId="586"/>
            <ac:spMk id="666" creationId="{D1024245-2E80-7EAE-272E-1428DE02EDF9}"/>
          </ac:spMkLst>
        </pc:spChg>
        <pc:spChg chg="replST">
          <ac:chgData name="Bullinger, Marvin" userId="5b54ce5a-dc89-476f-af33-5abd75d5b1e8" providerId="ADAL" clId="{43B71669-8A80-4333-9349-B258A9296B49}" dt="2024-02-27T17:27:37.215" v="7274"/>
          <ac:spMkLst>
            <pc:docMk/>
            <pc:sldMk cId="1339647628" sldId="586"/>
            <ac:spMk id="667" creationId="{3BFCE3CC-DDD4-AD68-607B-FF5B8A9E914B}"/>
          </ac:spMkLst>
        </pc:spChg>
        <pc:spChg chg="replST">
          <ac:chgData name="Bullinger, Marvin" userId="5b54ce5a-dc89-476f-af33-5abd75d5b1e8" providerId="ADAL" clId="{43B71669-8A80-4333-9349-B258A9296B49}" dt="2024-02-27T17:27:37.225" v="7278"/>
          <ac:spMkLst>
            <pc:docMk/>
            <pc:sldMk cId="1339647628" sldId="586"/>
            <ac:spMk id="669" creationId="{CCB6E6F0-C0AA-F33B-1999-45225C0AD692}"/>
          </ac:spMkLst>
        </pc:spChg>
        <pc:spChg chg="replST">
          <ac:chgData name="Bullinger, Marvin" userId="5b54ce5a-dc89-476f-af33-5abd75d5b1e8" providerId="ADAL" clId="{43B71669-8A80-4333-9349-B258A9296B49}" dt="2024-02-27T17:27:37.225" v="7281"/>
          <ac:spMkLst>
            <pc:docMk/>
            <pc:sldMk cId="1339647628" sldId="586"/>
            <ac:spMk id="670" creationId="{10E626A7-F625-612D-DDD3-083FF50C6665}"/>
          </ac:spMkLst>
        </pc:spChg>
        <pc:spChg chg="replST">
          <ac:chgData name="Bullinger, Marvin" userId="5b54ce5a-dc89-476f-af33-5abd75d5b1e8" providerId="ADAL" clId="{43B71669-8A80-4333-9349-B258A9296B49}" dt="2024-02-27T17:27:37.235" v="7285"/>
          <ac:spMkLst>
            <pc:docMk/>
            <pc:sldMk cId="1339647628" sldId="586"/>
            <ac:spMk id="672" creationId="{FFDC41CF-3EB4-01C4-953E-18F3F85BA0EC}"/>
          </ac:spMkLst>
        </pc:spChg>
        <pc:spChg chg="replST">
          <ac:chgData name="Bullinger, Marvin" userId="5b54ce5a-dc89-476f-af33-5abd75d5b1e8" providerId="ADAL" clId="{43B71669-8A80-4333-9349-B258A9296B49}" dt="2024-02-27T17:27:37.246" v="7288"/>
          <ac:spMkLst>
            <pc:docMk/>
            <pc:sldMk cId="1339647628" sldId="586"/>
            <ac:spMk id="673" creationId="{84FAE789-D61F-7085-E317-778CCB01C9F6}"/>
          </ac:spMkLst>
        </pc:spChg>
        <pc:spChg chg="replST">
          <ac:chgData name="Bullinger, Marvin" userId="5b54ce5a-dc89-476f-af33-5abd75d5b1e8" providerId="ADAL" clId="{43B71669-8A80-4333-9349-B258A9296B49}" dt="2024-02-27T17:27:37.246" v="7292"/>
          <ac:spMkLst>
            <pc:docMk/>
            <pc:sldMk cId="1339647628" sldId="586"/>
            <ac:spMk id="675" creationId="{3F3A8F6A-CD76-6A6D-0BF0-6D36D37D0974}"/>
          </ac:spMkLst>
        </pc:spChg>
        <pc:spChg chg="replST">
          <ac:chgData name="Bullinger, Marvin" userId="5b54ce5a-dc89-476f-af33-5abd75d5b1e8" providerId="ADAL" clId="{43B71669-8A80-4333-9349-B258A9296B49}" dt="2024-02-27T17:27:37.256" v="7295"/>
          <ac:spMkLst>
            <pc:docMk/>
            <pc:sldMk cId="1339647628" sldId="586"/>
            <ac:spMk id="676" creationId="{EEDECB3C-6AD5-756B-D3EB-91E2F3BF86AD}"/>
          </ac:spMkLst>
        </pc:spChg>
        <pc:spChg chg="replST">
          <ac:chgData name="Bullinger, Marvin" userId="5b54ce5a-dc89-476f-af33-5abd75d5b1e8" providerId="ADAL" clId="{43B71669-8A80-4333-9349-B258A9296B49}" dt="2024-02-27T17:27:37.266" v="7299"/>
          <ac:spMkLst>
            <pc:docMk/>
            <pc:sldMk cId="1339647628" sldId="586"/>
            <ac:spMk id="678" creationId="{D7C8A077-1C87-B564-B851-9CEF2B8C36B1}"/>
          </ac:spMkLst>
        </pc:spChg>
        <pc:spChg chg="replST">
          <ac:chgData name="Bullinger, Marvin" userId="5b54ce5a-dc89-476f-af33-5abd75d5b1e8" providerId="ADAL" clId="{43B71669-8A80-4333-9349-B258A9296B49}" dt="2024-02-27T17:27:37.277" v="7302"/>
          <ac:spMkLst>
            <pc:docMk/>
            <pc:sldMk cId="1339647628" sldId="586"/>
            <ac:spMk id="679" creationId="{CE531776-2664-7B15-B7FA-48B9A8FCD0A7}"/>
          </ac:spMkLst>
        </pc:spChg>
        <pc:spChg chg="replST">
          <ac:chgData name="Bullinger, Marvin" userId="5b54ce5a-dc89-476f-af33-5abd75d5b1e8" providerId="ADAL" clId="{43B71669-8A80-4333-9349-B258A9296B49}" dt="2024-02-27T17:27:37.287" v="7306"/>
          <ac:spMkLst>
            <pc:docMk/>
            <pc:sldMk cId="1339647628" sldId="586"/>
            <ac:spMk id="681" creationId="{C5A470E1-E0EA-6572-0D11-5125FDD965D1}"/>
          </ac:spMkLst>
        </pc:spChg>
        <pc:spChg chg="replST">
          <ac:chgData name="Bullinger, Marvin" userId="5b54ce5a-dc89-476f-af33-5abd75d5b1e8" providerId="ADAL" clId="{43B71669-8A80-4333-9349-B258A9296B49}" dt="2024-02-27T17:27:37.297" v="7309"/>
          <ac:spMkLst>
            <pc:docMk/>
            <pc:sldMk cId="1339647628" sldId="586"/>
            <ac:spMk id="682" creationId="{CE12DC87-92A1-D29F-E8F3-ADD58294EBB4}"/>
          </ac:spMkLst>
        </pc:spChg>
        <pc:cxnChg chg="del">
          <ac:chgData name="Bullinger, Marvin" userId="5b54ce5a-dc89-476f-af33-5abd75d5b1e8" providerId="ADAL" clId="{43B71669-8A80-4333-9349-B258A9296B49}" dt="2024-02-27T16:45:49.905" v="294" actId="478"/>
          <ac:cxnSpMkLst>
            <pc:docMk/>
            <pc:sldMk cId="1339647628" sldId="586"/>
            <ac:cxnSpMk id="202" creationId="{832BB57E-5290-DCFE-74FA-3D99C6485146}"/>
          </ac:cxnSpMkLst>
        </pc:cxnChg>
        <pc:cxnChg chg="del">
          <ac:chgData name="Bullinger, Marvin" userId="5b54ce5a-dc89-476f-af33-5abd75d5b1e8" providerId="ADAL" clId="{43B71669-8A80-4333-9349-B258A9296B49}" dt="2024-02-27T16:45:49.905" v="295" actId="478"/>
          <ac:cxnSpMkLst>
            <pc:docMk/>
            <pc:sldMk cId="1339647628" sldId="586"/>
            <ac:cxnSpMk id="205" creationId="{E45DBF13-0D39-8F7A-5ECD-B63AC0CC5860}"/>
          </ac:cxnSpMkLst>
        </pc:cxnChg>
        <pc:cxnChg chg="del">
          <ac:chgData name="Bullinger, Marvin" userId="5b54ce5a-dc89-476f-af33-5abd75d5b1e8" providerId="ADAL" clId="{43B71669-8A80-4333-9349-B258A9296B49}" dt="2024-02-27T16:45:49.905" v="296" actId="478"/>
          <ac:cxnSpMkLst>
            <pc:docMk/>
            <pc:sldMk cId="1339647628" sldId="586"/>
            <ac:cxnSpMk id="208" creationId="{6F8FA12A-9071-DB2E-15CC-119BB73AC530}"/>
          </ac:cxnSpMkLst>
        </pc:cxnChg>
        <pc:cxnChg chg="del">
          <ac:chgData name="Bullinger, Marvin" userId="5b54ce5a-dc89-476f-af33-5abd75d5b1e8" providerId="ADAL" clId="{43B71669-8A80-4333-9349-B258A9296B49}" dt="2024-02-27T16:45:49.905" v="297" actId="478"/>
          <ac:cxnSpMkLst>
            <pc:docMk/>
            <pc:sldMk cId="1339647628" sldId="586"/>
            <ac:cxnSpMk id="211" creationId="{68C3D17A-4153-A2B7-FEBD-D934C00CACAD}"/>
          </ac:cxnSpMkLst>
        </pc:cxnChg>
        <pc:cxnChg chg="del">
          <ac:chgData name="Bullinger, Marvin" userId="5b54ce5a-dc89-476f-af33-5abd75d5b1e8" providerId="ADAL" clId="{43B71669-8A80-4333-9349-B258A9296B49}" dt="2024-02-27T16:45:49.905" v="298" actId="478"/>
          <ac:cxnSpMkLst>
            <pc:docMk/>
            <pc:sldMk cId="1339647628" sldId="586"/>
            <ac:cxnSpMk id="214" creationId="{A805B710-B558-61A8-9E14-C9A8436AC996}"/>
          </ac:cxnSpMkLst>
        </pc:cxnChg>
        <pc:cxnChg chg="del">
          <ac:chgData name="Bullinger, Marvin" userId="5b54ce5a-dc89-476f-af33-5abd75d5b1e8" providerId="ADAL" clId="{43B71669-8A80-4333-9349-B258A9296B49}" dt="2024-02-27T16:45:49.905" v="299" actId="478"/>
          <ac:cxnSpMkLst>
            <pc:docMk/>
            <pc:sldMk cId="1339647628" sldId="586"/>
            <ac:cxnSpMk id="217" creationId="{A8DCFBBB-D546-06FF-8F72-26BB09A7D77A}"/>
          </ac:cxnSpMkLst>
        </pc:cxnChg>
        <pc:cxnChg chg="del">
          <ac:chgData name="Bullinger, Marvin" userId="5b54ce5a-dc89-476f-af33-5abd75d5b1e8" providerId="ADAL" clId="{43B71669-8A80-4333-9349-B258A9296B49}" dt="2024-02-27T16:45:49.905" v="300" actId="478"/>
          <ac:cxnSpMkLst>
            <pc:docMk/>
            <pc:sldMk cId="1339647628" sldId="586"/>
            <ac:cxnSpMk id="218" creationId="{CB82CCD3-1CDC-A78F-2187-5A215AB239A4}"/>
          </ac:cxnSpMkLst>
        </pc:cxnChg>
        <pc:cxnChg chg="del ord replST">
          <ac:chgData name="Bullinger, Marvin" userId="5b54ce5a-dc89-476f-af33-5abd75d5b1e8" providerId="ADAL" clId="{43B71669-8A80-4333-9349-B258A9296B49}" dt="2024-02-27T16:46:20.173" v="1072" actId="478"/>
          <ac:cxnSpMkLst>
            <pc:docMk/>
            <pc:sldMk cId="1339647628" sldId="586"/>
            <ac:cxnSpMk id="231" creationId="{290B36CC-3740-8477-AB7E-318E76EF1A6C}"/>
          </ac:cxnSpMkLst>
        </pc:cxnChg>
        <pc:cxnChg chg="del ord replST">
          <ac:chgData name="Bullinger, Marvin" userId="5b54ce5a-dc89-476f-af33-5abd75d5b1e8" providerId="ADAL" clId="{43B71669-8A80-4333-9349-B258A9296B49}" dt="2024-02-27T16:46:20.173" v="1073" actId="478"/>
          <ac:cxnSpMkLst>
            <pc:docMk/>
            <pc:sldMk cId="1339647628" sldId="586"/>
            <ac:cxnSpMk id="234" creationId="{0C5751E1-B3DD-BDD9-CA55-A797D781B473}"/>
          </ac:cxnSpMkLst>
        </pc:cxnChg>
        <pc:cxnChg chg="del ord replST">
          <ac:chgData name="Bullinger, Marvin" userId="5b54ce5a-dc89-476f-af33-5abd75d5b1e8" providerId="ADAL" clId="{43B71669-8A80-4333-9349-B258A9296B49}" dt="2024-02-27T16:46:20.174" v="1074" actId="478"/>
          <ac:cxnSpMkLst>
            <pc:docMk/>
            <pc:sldMk cId="1339647628" sldId="586"/>
            <ac:cxnSpMk id="237" creationId="{20E3288E-B08D-63C3-C803-258DA58823CF}"/>
          </ac:cxnSpMkLst>
        </pc:cxnChg>
        <pc:cxnChg chg="del ord replST">
          <ac:chgData name="Bullinger, Marvin" userId="5b54ce5a-dc89-476f-af33-5abd75d5b1e8" providerId="ADAL" clId="{43B71669-8A80-4333-9349-B258A9296B49}" dt="2024-02-27T16:46:20.175" v="1075" actId="478"/>
          <ac:cxnSpMkLst>
            <pc:docMk/>
            <pc:sldMk cId="1339647628" sldId="586"/>
            <ac:cxnSpMk id="240" creationId="{C6C291CF-6326-467A-50B8-39A8FE29D59B}"/>
          </ac:cxnSpMkLst>
        </pc:cxnChg>
        <pc:cxnChg chg="del ord replST">
          <ac:chgData name="Bullinger, Marvin" userId="5b54ce5a-dc89-476f-af33-5abd75d5b1e8" providerId="ADAL" clId="{43B71669-8A80-4333-9349-B258A9296B49}" dt="2024-02-27T16:46:20.176" v="1076" actId="478"/>
          <ac:cxnSpMkLst>
            <pc:docMk/>
            <pc:sldMk cId="1339647628" sldId="586"/>
            <ac:cxnSpMk id="243" creationId="{C8183590-A4B7-F7C7-59CB-FFEC1B77F128}"/>
          </ac:cxnSpMkLst>
        </pc:cxnChg>
        <pc:cxnChg chg="del ord replST">
          <ac:chgData name="Bullinger, Marvin" userId="5b54ce5a-dc89-476f-af33-5abd75d5b1e8" providerId="ADAL" clId="{43B71669-8A80-4333-9349-B258A9296B49}" dt="2024-02-27T16:46:20.176" v="1077" actId="478"/>
          <ac:cxnSpMkLst>
            <pc:docMk/>
            <pc:sldMk cId="1339647628" sldId="586"/>
            <ac:cxnSpMk id="246" creationId="{43ABD4E7-3FEE-65F3-3176-C3784E3BEC8C}"/>
          </ac:cxnSpMkLst>
        </pc:cxnChg>
        <pc:cxnChg chg="del ord replST">
          <ac:chgData name="Bullinger, Marvin" userId="5b54ce5a-dc89-476f-af33-5abd75d5b1e8" providerId="ADAL" clId="{43B71669-8A80-4333-9349-B258A9296B49}" dt="2024-02-27T16:46:20.177" v="1078" actId="478"/>
          <ac:cxnSpMkLst>
            <pc:docMk/>
            <pc:sldMk cId="1339647628" sldId="586"/>
            <ac:cxnSpMk id="247" creationId="{C99DA968-9B13-EFA9-6CBE-A6F77CE984A2}"/>
          </ac:cxnSpMkLst>
        </pc:cxnChg>
        <pc:cxnChg chg="add del ord replST">
          <ac:chgData name="Bullinger, Marvin" userId="5b54ce5a-dc89-476f-af33-5abd75d5b1e8" providerId="ADAL" clId="{43B71669-8A80-4333-9349-B258A9296B49}" dt="2024-02-27T17:21:07.126" v="3449" actId="478"/>
          <ac:cxnSpMkLst>
            <pc:docMk/>
            <pc:sldMk cId="1339647628" sldId="586"/>
            <ac:cxnSpMk id="327" creationId="{7F2D3762-6D7A-9E79-05A0-CDA0F94FC7B9}"/>
          </ac:cxnSpMkLst>
        </pc:cxnChg>
        <pc:cxnChg chg="add del ord replST">
          <ac:chgData name="Bullinger, Marvin" userId="5b54ce5a-dc89-476f-af33-5abd75d5b1e8" providerId="ADAL" clId="{43B71669-8A80-4333-9349-B258A9296B49}" dt="2024-02-27T17:21:07.126" v="3450" actId="478"/>
          <ac:cxnSpMkLst>
            <pc:docMk/>
            <pc:sldMk cId="1339647628" sldId="586"/>
            <ac:cxnSpMk id="330" creationId="{7965B20C-0900-F129-45D3-043052DAFEEB}"/>
          </ac:cxnSpMkLst>
        </pc:cxnChg>
        <pc:cxnChg chg="add del ord replST">
          <ac:chgData name="Bullinger, Marvin" userId="5b54ce5a-dc89-476f-af33-5abd75d5b1e8" providerId="ADAL" clId="{43B71669-8A80-4333-9349-B258A9296B49}" dt="2024-02-27T17:21:07.126" v="3451" actId="478"/>
          <ac:cxnSpMkLst>
            <pc:docMk/>
            <pc:sldMk cId="1339647628" sldId="586"/>
            <ac:cxnSpMk id="333" creationId="{DEE14880-17E1-49B4-55F0-72988D2A4A3B}"/>
          </ac:cxnSpMkLst>
        </pc:cxnChg>
        <pc:cxnChg chg="add del ord replST">
          <ac:chgData name="Bullinger, Marvin" userId="5b54ce5a-dc89-476f-af33-5abd75d5b1e8" providerId="ADAL" clId="{43B71669-8A80-4333-9349-B258A9296B49}" dt="2024-02-27T17:21:07.126" v="3452" actId="478"/>
          <ac:cxnSpMkLst>
            <pc:docMk/>
            <pc:sldMk cId="1339647628" sldId="586"/>
            <ac:cxnSpMk id="336" creationId="{B616FE3B-E42A-4A67-2040-307558B522CF}"/>
          </ac:cxnSpMkLst>
        </pc:cxnChg>
        <pc:cxnChg chg="add del ord replST">
          <ac:chgData name="Bullinger, Marvin" userId="5b54ce5a-dc89-476f-af33-5abd75d5b1e8" providerId="ADAL" clId="{43B71669-8A80-4333-9349-B258A9296B49}" dt="2024-02-27T17:21:07.142" v="3453" actId="478"/>
          <ac:cxnSpMkLst>
            <pc:docMk/>
            <pc:sldMk cId="1339647628" sldId="586"/>
            <ac:cxnSpMk id="339" creationId="{2A12097B-1A89-1505-05B4-5AD8665C051E}"/>
          </ac:cxnSpMkLst>
        </pc:cxnChg>
        <pc:cxnChg chg="add del ord replST">
          <ac:chgData name="Bullinger, Marvin" userId="5b54ce5a-dc89-476f-af33-5abd75d5b1e8" providerId="ADAL" clId="{43B71669-8A80-4333-9349-B258A9296B49}" dt="2024-02-27T17:21:07.142" v="3454" actId="478"/>
          <ac:cxnSpMkLst>
            <pc:docMk/>
            <pc:sldMk cId="1339647628" sldId="586"/>
            <ac:cxnSpMk id="342" creationId="{A3B9988D-9260-B140-D902-E86FEB87B90C}"/>
          </ac:cxnSpMkLst>
        </pc:cxnChg>
        <pc:cxnChg chg="add del ord replST">
          <ac:chgData name="Bullinger, Marvin" userId="5b54ce5a-dc89-476f-af33-5abd75d5b1e8" providerId="ADAL" clId="{43B71669-8A80-4333-9349-B258A9296B49}" dt="2024-02-27T17:21:07.142" v="3455" actId="478"/>
          <ac:cxnSpMkLst>
            <pc:docMk/>
            <pc:sldMk cId="1339647628" sldId="586"/>
            <ac:cxnSpMk id="343" creationId="{6B7C83E4-D3D8-1753-2A90-C6C4F46C6561}"/>
          </ac:cxnSpMkLst>
        </pc:cxnChg>
        <pc:cxnChg chg="del ord replST">
          <ac:chgData name="Bullinger, Marvin" userId="5b54ce5a-dc89-476f-af33-5abd75d5b1e8" providerId="ADAL" clId="{43B71669-8A80-4333-9349-B258A9296B49}" dt="2024-02-27T17:26:23.006" v="4407" actId="478"/>
          <ac:cxnSpMkLst>
            <pc:docMk/>
            <pc:sldMk cId="1339647628" sldId="586"/>
            <ac:cxnSpMk id="359" creationId="{4329904C-C953-67D5-335D-9D0D7B28D1FA}"/>
          </ac:cxnSpMkLst>
        </pc:cxnChg>
        <pc:cxnChg chg="del ord replST">
          <ac:chgData name="Bullinger, Marvin" userId="5b54ce5a-dc89-476f-af33-5abd75d5b1e8" providerId="ADAL" clId="{43B71669-8A80-4333-9349-B258A9296B49}" dt="2024-02-27T17:26:23.006" v="4408" actId="478"/>
          <ac:cxnSpMkLst>
            <pc:docMk/>
            <pc:sldMk cId="1339647628" sldId="586"/>
            <ac:cxnSpMk id="362" creationId="{9570504B-B153-0306-A057-51F05A1D119F}"/>
          </ac:cxnSpMkLst>
        </pc:cxnChg>
        <pc:cxnChg chg="del ord replST">
          <ac:chgData name="Bullinger, Marvin" userId="5b54ce5a-dc89-476f-af33-5abd75d5b1e8" providerId="ADAL" clId="{43B71669-8A80-4333-9349-B258A9296B49}" dt="2024-02-27T17:26:23.006" v="4409" actId="478"/>
          <ac:cxnSpMkLst>
            <pc:docMk/>
            <pc:sldMk cId="1339647628" sldId="586"/>
            <ac:cxnSpMk id="365" creationId="{09276E4F-CE8E-C369-4A2B-6D5CF1B9B255}"/>
          </ac:cxnSpMkLst>
        </pc:cxnChg>
        <pc:cxnChg chg="del ord replST">
          <ac:chgData name="Bullinger, Marvin" userId="5b54ce5a-dc89-476f-af33-5abd75d5b1e8" providerId="ADAL" clId="{43B71669-8A80-4333-9349-B258A9296B49}" dt="2024-02-27T17:26:23.006" v="4410" actId="478"/>
          <ac:cxnSpMkLst>
            <pc:docMk/>
            <pc:sldMk cId="1339647628" sldId="586"/>
            <ac:cxnSpMk id="368" creationId="{A2F1B621-D09B-C022-BC2D-142F9CA7DE9F}"/>
          </ac:cxnSpMkLst>
        </pc:cxnChg>
        <pc:cxnChg chg="del ord replST">
          <ac:chgData name="Bullinger, Marvin" userId="5b54ce5a-dc89-476f-af33-5abd75d5b1e8" providerId="ADAL" clId="{43B71669-8A80-4333-9349-B258A9296B49}" dt="2024-02-27T17:26:23.006" v="4411" actId="478"/>
          <ac:cxnSpMkLst>
            <pc:docMk/>
            <pc:sldMk cId="1339647628" sldId="586"/>
            <ac:cxnSpMk id="371" creationId="{3CEED862-220A-FDA2-EC30-191ECCF8AC32}"/>
          </ac:cxnSpMkLst>
        </pc:cxnChg>
        <pc:cxnChg chg="del ord replST">
          <ac:chgData name="Bullinger, Marvin" userId="5b54ce5a-dc89-476f-af33-5abd75d5b1e8" providerId="ADAL" clId="{43B71669-8A80-4333-9349-B258A9296B49}" dt="2024-02-27T17:26:23.014" v="4412" actId="478"/>
          <ac:cxnSpMkLst>
            <pc:docMk/>
            <pc:sldMk cId="1339647628" sldId="586"/>
            <ac:cxnSpMk id="374" creationId="{309CCC26-5E2F-3D14-AF5E-9A9719368BC9}"/>
          </ac:cxnSpMkLst>
        </pc:cxnChg>
        <pc:cxnChg chg="del ord replST">
          <ac:chgData name="Bullinger, Marvin" userId="5b54ce5a-dc89-476f-af33-5abd75d5b1e8" providerId="ADAL" clId="{43B71669-8A80-4333-9349-B258A9296B49}" dt="2024-02-27T17:26:23.014" v="4413" actId="478"/>
          <ac:cxnSpMkLst>
            <pc:docMk/>
            <pc:sldMk cId="1339647628" sldId="586"/>
            <ac:cxnSpMk id="377" creationId="{8A63388A-37C9-0837-D9F8-6628E0716C86}"/>
          </ac:cxnSpMkLst>
        </pc:cxnChg>
        <pc:cxnChg chg="del ord replST">
          <ac:chgData name="Bullinger, Marvin" userId="5b54ce5a-dc89-476f-af33-5abd75d5b1e8" providerId="ADAL" clId="{43B71669-8A80-4333-9349-B258A9296B49}" dt="2024-02-27T17:26:23.014" v="4414" actId="478"/>
          <ac:cxnSpMkLst>
            <pc:docMk/>
            <pc:sldMk cId="1339647628" sldId="586"/>
            <ac:cxnSpMk id="378" creationId="{16B326BF-902E-2A1F-C14E-9A91A286337B}"/>
          </ac:cxnSpMkLst>
        </pc:cxnChg>
        <pc:cxnChg chg="mod ord replST delST">
          <ac:chgData name="Bullinger, Marvin" userId="5b54ce5a-dc89-476f-af33-5abd75d5b1e8" providerId="ADAL" clId="{43B71669-8A80-4333-9349-B258A9296B49}" dt="2024-02-27T16:53:49.050" v="3382"/>
          <ac:cxnSpMkLst>
            <pc:docMk/>
            <pc:sldMk cId="1339647628" sldId="586"/>
            <ac:cxnSpMk id="423" creationId="{2C051E15-B788-1EAD-13C9-2E433A012216}"/>
          </ac:cxnSpMkLst>
        </pc:cxnChg>
        <pc:cxnChg chg="mod ord replST delST">
          <ac:chgData name="Bullinger, Marvin" userId="5b54ce5a-dc89-476f-af33-5abd75d5b1e8" providerId="ADAL" clId="{43B71669-8A80-4333-9349-B258A9296B49}" dt="2024-02-27T16:53:49.050" v="3382"/>
          <ac:cxnSpMkLst>
            <pc:docMk/>
            <pc:sldMk cId="1339647628" sldId="586"/>
            <ac:cxnSpMk id="426" creationId="{9CCBDF23-1ECB-0992-E838-3A622EA338BD}"/>
          </ac:cxnSpMkLst>
        </pc:cxnChg>
        <pc:cxnChg chg="mod ord replST delST">
          <ac:chgData name="Bullinger, Marvin" userId="5b54ce5a-dc89-476f-af33-5abd75d5b1e8" providerId="ADAL" clId="{43B71669-8A80-4333-9349-B258A9296B49}" dt="2024-02-27T16:53:49.050" v="3382"/>
          <ac:cxnSpMkLst>
            <pc:docMk/>
            <pc:sldMk cId="1339647628" sldId="586"/>
            <ac:cxnSpMk id="429" creationId="{B1EE83D9-930F-5165-D18A-D827EDD7BEB9}"/>
          </ac:cxnSpMkLst>
        </pc:cxnChg>
        <pc:cxnChg chg="mod ord replST delST">
          <ac:chgData name="Bullinger, Marvin" userId="5b54ce5a-dc89-476f-af33-5abd75d5b1e8" providerId="ADAL" clId="{43B71669-8A80-4333-9349-B258A9296B49}" dt="2024-02-27T16:53:49.050" v="3382"/>
          <ac:cxnSpMkLst>
            <pc:docMk/>
            <pc:sldMk cId="1339647628" sldId="586"/>
            <ac:cxnSpMk id="432" creationId="{B2D9821A-B282-EA7A-38F6-F31AA733EED1}"/>
          </ac:cxnSpMkLst>
        </pc:cxnChg>
        <pc:cxnChg chg="mod ord replST delST">
          <ac:chgData name="Bullinger, Marvin" userId="5b54ce5a-dc89-476f-af33-5abd75d5b1e8" providerId="ADAL" clId="{43B71669-8A80-4333-9349-B258A9296B49}" dt="2024-02-27T16:53:49.050" v="3382"/>
          <ac:cxnSpMkLst>
            <pc:docMk/>
            <pc:sldMk cId="1339647628" sldId="586"/>
            <ac:cxnSpMk id="435" creationId="{CD08D683-7B1F-2A4E-A478-5694A994CA2F}"/>
          </ac:cxnSpMkLst>
        </pc:cxnChg>
        <pc:cxnChg chg="mod ord replST delST">
          <ac:chgData name="Bullinger, Marvin" userId="5b54ce5a-dc89-476f-af33-5abd75d5b1e8" providerId="ADAL" clId="{43B71669-8A80-4333-9349-B258A9296B49}" dt="2024-02-27T16:53:49.050" v="3382"/>
          <ac:cxnSpMkLst>
            <pc:docMk/>
            <pc:sldMk cId="1339647628" sldId="586"/>
            <ac:cxnSpMk id="438" creationId="{07879652-390B-B913-B5E8-ED38E5281257}"/>
          </ac:cxnSpMkLst>
        </pc:cxnChg>
        <pc:cxnChg chg="mod ord replST delST">
          <ac:chgData name="Bullinger, Marvin" userId="5b54ce5a-dc89-476f-af33-5abd75d5b1e8" providerId="ADAL" clId="{43B71669-8A80-4333-9349-B258A9296B49}" dt="2024-02-27T16:53:49.050" v="3382"/>
          <ac:cxnSpMkLst>
            <pc:docMk/>
            <pc:sldMk cId="1339647628" sldId="586"/>
            <ac:cxnSpMk id="439" creationId="{AEDDD2A6-22CE-FBC7-689F-0744641CACD2}"/>
          </ac:cxnSpMkLst>
        </pc:cxnChg>
        <pc:cxnChg chg="del ord replST">
          <ac:chgData name="Bullinger, Marvin" userId="5b54ce5a-dc89-476f-af33-5abd75d5b1e8" providerId="ADAL" clId="{43B71669-8A80-4333-9349-B258A9296B49}" dt="2024-02-27T17:26:59" v="5731" actId="478"/>
          <ac:cxnSpMkLst>
            <pc:docMk/>
            <pc:sldMk cId="1339647628" sldId="586"/>
            <ac:cxnSpMk id="458" creationId="{804A418A-BA0E-35FB-D569-732645B85793}"/>
          </ac:cxnSpMkLst>
        </pc:cxnChg>
        <pc:cxnChg chg="del ord replST">
          <ac:chgData name="Bullinger, Marvin" userId="5b54ce5a-dc89-476f-af33-5abd75d5b1e8" providerId="ADAL" clId="{43B71669-8A80-4333-9349-B258A9296B49}" dt="2024-02-27T17:26:59" v="5732" actId="478"/>
          <ac:cxnSpMkLst>
            <pc:docMk/>
            <pc:sldMk cId="1339647628" sldId="586"/>
            <ac:cxnSpMk id="461" creationId="{7D1B090F-A292-5522-D589-2F4AF7EAF589}"/>
          </ac:cxnSpMkLst>
        </pc:cxnChg>
        <pc:cxnChg chg="del ord replST">
          <ac:chgData name="Bullinger, Marvin" userId="5b54ce5a-dc89-476f-af33-5abd75d5b1e8" providerId="ADAL" clId="{43B71669-8A80-4333-9349-B258A9296B49}" dt="2024-02-27T17:26:59" v="5733" actId="478"/>
          <ac:cxnSpMkLst>
            <pc:docMk/>
            <pc:sldMk cId="1339647628" sldId="586"/>
            <ac:cxnSpMk id="464" creationId="{F7032B67-6AAC-BCB8-A162-43FBB7BA2F96}"/>
          </ac:cxnSpMkLst>
        </pc:cxnChg>
        <pc:cxnChg chg="del ord replST">
          <ac:chgData name="Bullinger, Marvin" userId="5b54ce5a-dc89-476f-af33-5abd75d5b1e8" providerId="ADAL" clId="{43B71669-8A80-4333-9349-B258A9296B49}" dt="2024-02-27T17:26:59" v="5734" actId="478"/>
          <ac:cxnSpMkLst>
            <pc:docMk/>
            <pc:sldMk cId="1339647628" sldId="586"/>
            <ac:cxnSpMk id="467" creationId="{0468391B-08E7-5809-8F58-C710F971EFB1}"/>
          </ac:cxnSpMkLst>
        </pc:cxnChg>
        <pc:cxnChg chg="del ord replST">
          <ac:chgData name="Bullinger, Marvin" userId="5b54ce5a-dc89-476f-af33-5abd75d5b1e8" providerId="ADAL" clId="{43B71669-8A80-4333-9349-B258A9296B49}" dt="2024-02-27T17:26:59" v="5735" actId="478"/>
          <ac:cxnSpMkLst>
            <pc:docMk/>
            <pc:sldMk cId="1339647628" sldId="586"/>
            <ac:cxnSpMk id="470" creationId="{5A43C786-6430-BC79-38CA-2C41CBCC0D80}"/>
          </ac:cxnSpMkLst>
        </pc:cxnChg>
        <pc:cxnChg chg="del ord replST">
          <ac:chgData name="Bullinger, Marvin" userId="5b54ce5a-dc89-476f-af33-5abd75d5b1e8" providerId="ADAL" clId="{43B71669-8A80-4333-9349-B258A9296B49}" dt="2024-02-27T17:26:59" v="5736" actId="478"/>
          <ac:cxnSpMkLst>
            <pc:docMk/>
            <pc:sldMk cId="1339647628" sldId="586"/>
            <ac:cxnSpMk id="473" creationId="{26B519B3-3C99-9AA2-F610-F85139535B75}"/>
          </ac:cxnSpMkLst>
        </pc:cxnChg>
        <pc:cxnChg chg="del ord replST">
          <ac:chgData name="Bullinger, Marvin" userId="5b54ce5a-dc89-476f-af33-5abd75d5b1e8" providerId="ADAL" clId="{43B71669-8A80-4333-9349-B258A9296B49}" dt="2024-02-27T17:26:59" v="5737" actId="478"/>
          <ac:cxnSpMkLst>
            <pc:docMk/>
            <pc:sldMk cId="1339647628" sldId="586"/>
            <ac:cxnSpMk id="476" creationId="{B4467104-18A6-9B05-8417-14F41E6633ED}"/>
          </ac:cxnSpMkLst>
        </pc:cxnChg>
        <pc:cxnChg chg="del ord replST">
          <ac:chgData name="Bullinger, Marvin" userId="5b54ce5a-dc89-476f-af33-5abd75d5b1e8" providerId="ADAL" clId="{43B71669-8A80-4333-9349-B258A9296B49}" dt="2024-02-27T17:26:59" v="5738" actId="478"/>
          <ac:cxnSpMkLst>
            <pc:docMk/>
            <pc:sldMk cId="1339647628" sldId="586"/>
            <ac:cxnSpMk id="479" creationId="{072B0591-1AA7-37E6-6C1A-60AA64423ACB}"/>
          </ac:cxnSpMkLst>
        </pc:cxnChg>
        <pc:cxnChg chg="del ord replST">
          <ac:chgData name="Bullinger, Marvin" userId="5b54ce5a-dc89-476f-af33-5abd75d5b1e8" providerId="ADAL" clId="{43B71669-8A80-4333-9349-B258A9296B49}" dt="2024-02-27T17:26:59" v="5739" actId="478"/>
          <ac:cxnSpMkLst>
            <pc:docMk/>
            <pc:sldMk cId="1339647628" sldId="586"/>
            <ac:cxnSpMk id="482" creationId="{B9A77F22-7B36-6480-FF03-E93B7FABD351}"/>
          </ac:cxnSpMkLst>
        </pc:cxnChg>
        <pc:cxnChg chg="del ord replST">
          <ac:chgData name="Bullinger, Marvin" userId="5b54ce5a-dc89-476f-af33-5abd75d5b1e8" providerId="ADAL" clId="{43B71669-8A80-4333-9349-B258A9296B49}" dt="2024-02-27T17:26:59" v="5740" actId="478"/>
          <ac:cxnSpMkLst>
            <pc:docMk/>
            <pc:sldMk cId="1339647628" sldId="586"/>
            <ac:cxnSpMk id="483" creationId="{5448D315-1060-9E19-CB28-08A969C8CFF7}"/>
          </ac:cxnSpMkLst>
        </pc:cxnChg>
        <pc:cxnChg chg="del ord replST">
          <ac:chgData name="Bullinger, Marvin" userId="5b54ce5a-dc89-476f-af33-5abd75d5b1e8" providerId="ADAL" clId="{43B71669-8A80-4333-9349-B258A9296B49}" dt="2024-02-27T17:27:36.745" v="6886" actId="478"/>
          <ac:cxnSpMkLst>
            <pc:docMk/>
            <pc:sldMk cId="1339647628" sldId="586"/>
            <ac:cxnSpMk id="563" creationId="{C1F4DF74-8BD5-B911-081A-1BEC51057AE6}"/>
          </ac:cxnSpMkLst>
        </pc:cxnChg>
        <pc:cxnChg chg="del ord replST">
          <ac:chgData name="Bullinger, Marvin" userId="5b54ce5a-dc89-476f-af33-5abd75d5b1e8" providerId="ADAL" clId="{43B71669-8A80-4333-9349-B258A9296B49}" dt="2024-02-27T17:27:36.745" v="6887" actId="478"/>
          <ac:cxnSpMkLst>
            <pc:docMk/>
            <pc:sldMk cId="1339647628" sldId="586"/>
            <ac:cxnSpMk id="566" creationId="{DA8D80CF-94D9-F98C-A347-178AA5F83ADD}"/>
          </ac:cxnSpMkLst>
        </pc:cxnChg>
        <pc:cxnChg chg="del ord replST">
          <ac:chgData name="Bullinger, Marvin" userId="5b54ce5a-dc89-476f-af33-5abd75d5b1e8" providerId="ADAL" clId="{43B71669-8A80-4333-9349-B258A9296B49}" dt="2024-02-27T17:27:36.745" v="6888" actId="478"/>
          <ac:cxnSpMkLst>
            <pc:docMk/>
            <pc:sldMk cId="1339647628" sldId="586"/>
            <ac:cxnSpMk id="569" creationId="{F4E33E3B-A3EE-AB81-E670-C115017B5709}"/>
          </ac:cxnSpMkLst>
        </pc:cxnChg>
        <pc:cxnChg chg="del ord replST">
          <ac:chgData name="Bullinger, Marvin" userId="5b54ce5a-dc89-476f-af33-5abd75d5b1e8" providerId="ADAL" clId="{43B71669-8A80-4333-9349-B258A9296B49}" dt="2024-02-27T17:27:36.745" v="6889" actId="478"/>
          <ac:cxnSpMkLst>
            <pc:docMk/>
            <pc:sldMk cId="1339647628" sldId="586"/>
            <ac:cxnSpMk id="572" creationId="{C060B847-03DB-C047-3903-1B39960EA18E}"/>
          </ac:cxnSpMkLst>
        </pc:cxnChg>
        <pc:cxnChg chg="del ord replST">
          <ac:chgData name="Bullinger, Marvin" userId="5b54ce5a-dc89-476f-af33-5abd75d5b1e8" providerId="ADAL" clId="{43B71669-8A80-4333-9349-B258A9296B49}" dt="2024-02-27T17:27:36.745" v="6890" actId="478"/>
          <ac:cxnSpMkLst>
            <pc:docMk/>
            <pc:sldMk cId="1339647628" sldId="586"/>
            <ac:cxnSpMk id="575" creationId="{A6B81BE7-5633-07F7-7C9A-46A658E32605}"/>
          </ac:cxnSpMkLst>
        </pc:cxnChg>
        <pc:cxnChg chg="del ord replST">
          <ac:chgData name="Bullinger, Marvin" userId="5b54ce5a-dc89-476f-af33-5abd75d5b1e8" providerId="ADAL" clId="{43B71669-8A80-4333-9349-B258A9296B49}" dt="2024-02-27T17:27:36.745" v="6891" actId="478"/>
          <ac:cxnSpMkLst>
            <pc:docMk/>
            <pc:sldMk cId="1339647628" sldId="586"/>
            <ac:cxnSpMk id="578" creationId="{D5E3C993-0848-A28A-F82D-2E11F43B62BA}"/>
          </ac:cxnSpMkLst>
        </pc:cxnChg>
        <pc:cxnChg chg="del ord replST">
          <ac:chgData name="Bullinger, Marvin" userId="5b54ce5a-dc89-476f-af33-5abd75d5b1e8" providerId="ADAL" clId="{43B71669-8A80-4333-9349-B258A9296B49}" dt="2024-02-27T17:27:36.745" v="6892" actId="478"/>
          <ac:cxnSpMkLst>
            <pc:docMk/>
            <pc:sldMk cId="1339647628" sldId="586"/>
            <ac:cxnSpMk id="581" creationId="{58CFE77A-DEA8-BF95-C305-3E342E7AD86B}"/>
          </ac:cxnSpMkLst>
        </pc:cxnChg>
        <pc:cxnChg chg="del ord replST">
          <ac:chgData name="Bullinger, Marvin" userId="5b54ce5a-dc89-476f-af33-5abd75d5b1e8" providerId="ADAL" clId="{43B71669-8A80-4333-9349-B258A9296B49}" dt="2024-02-27T17:27:36.745" v="6893" actId="478"/>
          <ac:cxnSpMkLst>
            <pc:docMk/>
            <pc:sldMk cId="1339647628" sldId="586"/>
            <ac:cxnSpMk id="584" creationId="{E70B85D8-76DF-5ECC-F1FE-189EAB97A29C}"/>
          </ac:cxnSpMkLst>
        </pc:cxnChg>
        <pc:cxnChg chg="del ord replST">
          <ac:chgData name="Bullinger, Marvin" userId="5b54ce5a-dc89-476f-af33-5abd75d5b1e8" providerId="ADAL" clId="{43B71669-8A80-4333-9349-B258A9296B49}" dt="2024-02-27T17:27:36.745" v="6894" actId="478"/>
          <ac:cxnSpMkLst>
            <pc:docMk/>
            <pc:sldMk cId="1339647628" sldId="586"/>
            <ac:cxnSpMk id="585" creationId="{DD3C6625-F38A-33AC-7CF6-F631688CA9DD}"/>
          </ac:cxnSpMkLst>
        </pc:cxnChg>
        <pc:cxnChg chg="ord replST">
          <ac:chgData name="Bullinger, Marvin" userId="5b54ce5a-dc89-476f-af33-5abd75d5b1e8" providerId="ADAL" clId="{43B71669-8A80-4333-9349-B258A9296B49}" dt="2024-02-27T17:27:37.308" v="7313"/>
          <ac:cxnSpMkLst>
            <pc:docMk/>
            <pc:sldMk cId="1339647628" sldId="586"/>
            <ac:cxnSpMk id="665" creationId="{1C4A9DD5-5D4F-4885-D756-0C95B7685CBC}"/>
          </ac:cxnSpMkLst>
        </pc:cxnChg>
        <pc:cxnChg chg="ord replST">
          <ac:chgData name="Bullinger, Marvin" userId="5b54ce5a-dc89-476f-af33-5abd75d5b1e8" providerId="ADAL" clId="{43B71669-8A80-4333-9349-B258A9296B49}" dt="2024-02-27T17:27:37.308" v="7314"/>
          <ac:cxnSpMkLst>
            <pc:docMk/>
            <pc:sldMk cId="1339647628" sldId="586"/>
            <ac:cxnSpMk id="668" creationId="{CE7826FE-53C4-D480-59B8-A0BF61C3891E}"/>
          </ac:cxnSpMkLst>
        </pc:cxnChg>
        <pc:cxnChg chg="ord replST">
          <ac:chgData name="Bullinger, Marvin" userId="5b54ce5a-dc89-476f-af33-5abd75d5b1e8" providerId="ADAL" clId="{43B71669-8A80-4333-9349-B258A9296B49}" dt="2024-02-27T17:27:37.308" v="7315"/>
          <ac:cxnSpMkLst>
            <pc:docMk/>
            <pc:sldMk cId="1339647628" sldId="586"/>
            <ac:cxnSpMk id="671" creationId="{75D98A1D-5F06-4C0E-4193-EED0C394582F}"/>
          </ac:cxnSpMkLst>
        </pc:cxnChg>
        <pc:cxnChg chg="ord replST">
          <ac:chgData name="Bullinger, Marvin" userId="5b54ce5a-dc89-476f-af33-5abd75d5b1e8" providerId="ADAL" clId="{43B71669-8A80-4333-9349-B258A9296B49}" dt="2024-02-27T17:27:37.308" v="7316"/>
          <ac:cxnSpMkLst>
            <pc:docMk/>
            <pc:sldMk cId="1339647628" sldId="586"/>
            <ac:cxnSpMk id="674" creationId="{A4F0E31B-CF27-E5DD-13CE-09945C0A22D8}"/>
          </ac:cxnSpMkLst>
        </pc:cxnChg>
        <pc:cxnChg chg="ord replST">
          <ac:chgData name="Bullinger, Marvin" userId="5b54ce5a-dc89-476f-af33-5abd75d5b1e8" providerId="ADAL" clId="{43B71669-8A80-4333-9349-B258A9296B49}" dt="2024-02-27T17:27:37.316" v="7317"/>
          <ac:cxnSpMkLst>
            <pc:docMk/>
            <pc:sldMk cId="1339647628" sldId="586"/>
            <ac:cxnSpMk id="677" creationId="{2CBAA4A6-59E5-0DDF-0530-AF30AFF2974F}"/>
          </ac:cxnSpMkLst>
        </pc:cxnChg>
        <pc:cxnChg chg="ord replST">
          <ac:chgData name="Bullinger, Marvin" userId="5b54ce5a-dc89-476f-af33-5abd75d5b1e8" providerId="ADAL" clId="{43B71669-8A80-4333-9349-B258A9296B49}" dt="2024-02-27T17:27:37.316" v="7318"/>
          <ac:cxnSpMkLst>
            <pc:docMk/>
            <pc:sldMk cId="1339647628" sldId="586"/>
            <ac:cxnSpMk id="680" creationId="{4A05E5CB-5153-F454-85B8-8EAC37FC0FFB}"/>
          </ac:cxnSpMkLst>
        </pc:cxnChg>
        <pc:cxnChg chg="ord replST">
          <ac:chgData name="Bullinger, Marvin" userId="5b54ce5a-dc89-476f-af33-5abd75d5b1e8" providerId="ADAL" clId="{43B71669-8A80-4333-9349-B258A9296B49}" dt="2024-02-27T17:27:37.318" v="7319"/>
          <ac:cxnSpMkLst>
            <pc:docMk/>
            <pc:sldMk cId="1339647628" sldId="586"/>
            <ac:cxnSpMk id="683" creationId="{EAEB4FE6-74D7-8F21-B125-0D8C4AC4B230}"/>
          </ac:cxnSpMkLst>
        </pc:cxnChg>
        <pc:cxnChg chg="ord replST">
          <ac:chgData name="Bullinger, Marvin" userId="5b54ce5a-dc89-476f-af33-5abd75d5b1e8" providerId="ADAL" clId="{43B71669-8A80-4333-9349-B258A9296B49}" dt="2024-02-27T17:27:37.318" v="7320"/>
          <ac:cxnSpMkLst>
            <pc:docMk/>
            <pc:sldMk cId="1339647628" sldId="586"/>
            <ac:cxnSpMk id="684" creationId="{52B6ED2C-1762-36D9-F934-805726A7C4E5}"/>
          </ac:cxnSpMkLst>
        </pc:cxnChg>
      </pc:sldChg>
      <pc:sldChg chg="delSp modSp del mod">
        <pc:chgData name="Bullinger, Marvin" userId="5b54ce5a-dc89-476f-af33-5abd75d5b1e8" providerId="ADAL" clId="{43B71669-8A80-4333-9349-B258A9296B49}" dt="2024-02-27T17:21:08.809" v="4330" actId="2696"/>
        <pc:sldMkLst>
          <pc:docMk/>
          <pc:sldMk cId="7568364" sldId="587"/>
        </pc:sldMkLst>
        <pc:spChg chg="del">
          <ac:chgData name="Bullinger, Marvin" userId="5b54ce5a-dc89-476f-af33-5abd75d5b1e8" providerId="ADAL" clId="{43B71669-8A80-4333-9349-B258A9296B49}" dt="2024-02-27T17:21:08.809" v="4328" actId="478"/>
          <ac:spMkLst>
            <pc:docMk/>
            <pc:sldMk cId="7568364" sldId="587"/>
            <ac:spMk id="42" creationId="{8FE79BFF-6912-F1D8-BFBB-88FBE8304F40}"/>
          </ac:spMkLst>
        </pc:spChg>
        <pc:spChg chg="mod">
          <ac:chgData name="Bullinger, Marvin" userId="5b54ce5a-dc89-476f-af33-5abd75d5b1e8" providerId="ADAL" clId="{43B71669-8A80-4333-9349-B258A9296B49}" dt="2024-02-27T17:21:06.465" v="3391" actId="207"/>
          <ac:spMkLst>
            <pc:docMk/>
            <pc:sldMk cId="7568364" sldId="587"/>
            <ac:spMk id="44" creationId="{E029C399-DF67-544F-023D-5A26401492D0}"/>
          </ac:spMkLst>
        </pc:spChg>
        <pc:spChg chg="mod modVis">
          <ac:chgData name="Bullinger, Marvin" userId="5b54ce5a-dc89-476f-af33-5abd75d5b1e8" providerId="ADAL" clId="{43B71669-8A80-4333-9349-B258A9296B49}" dt="2024-02-27T17:21:06.525" v="3392" actId="962"/>
          <ac:spMkLst>
            <pc:docMk/>
            <pc:sldMk cId="7568364" sldId="587"/>
            <ac:spMk id="46" creationId="{61A4D9DF-9616-716B-F890-7CB42C15712F}"/>
          </ac:spMkLst>
        </pc:spChg>
        <pc:spChg chg="mod modVis">
          <ac:chgData name="Bullinger, Marvin" userId="5b54ce5a-dc89-476f-af33-5abd75d5b1e8" providerId="ADAL" clId="{43B71669-8A80-4333-9349-B258A9296B49}" dt="2024-02-27T17:21:06.540" v="3393" actId="962"/>
          <ac:spMkLst>
            <pc:docMk/>
            <pc:sldMk cId="7568364" sldId="587"/>
            <ac:spMk id="47" creationId="{8FDB6B0D-8BB4-95DA-CF3C-DD794726E3BB}"/>
          </ac:spMkLst>
        </pc:spChg>
        <pc:spChg chg="mod modVis">
          <ac:chgData name="Bullinger, Marvin" userId="5b54ce5a-dc89-476f-af33-5abd75d5b1e8" providerId="ADAL" clId="{43B71669-8A80-4333-9349-B258A9296B49}" dt="2024-02-27T17:21:06.548" v="3394" actId="962"/>
          <ac:spMkLst>
            <pc:docMk/>
            <pc:sldMk cId="7568364" sldId="587"/>
            <ac:spMk id="48" creationId="{95453343-7162-B8B8-36F8-B31397F449FD}"/>
          </ac:spMkLst>
        </pc:spChg>
        <pc:spChg chg="mod modVis">
          <ac:chgData name="Bullinger, Marvin" userId="5b54ce5a-dc89-476f-af33-5abd75d5b1e8" providerId="ADAL" clId="{43B71669-8A80-4333-9349-B258A9296B49}" dt="2024-02-27T17:21:06.548" v="3395" actId="962"/>
          <ac:spMkLst>
            <pc:docMk/>
            <pc:sldMk cId="7568364" sldId="587"/>
            <ac:spMk id="49" creationId="{123CBC5E-9959-580C-B43C-4D38672EBA74}"/>
          </ac:spMkLst>
        </pc:spChg>
        <pc:spChg chg="mod modVis">
          <ac:chgData name="Bullinger, Marvin" userId="5b54ce5a-dc89-476f-af33-5abd75d5b1e8" providerId="ADAL" clId="{43B71669-8A80-4333-9349-B258A9296B49}" dt="2024-02-27T17:21:06.564" v="3396" actId="962"/>
          <ac:spMkLst>
            <pc:docMk/>
            <pc:sldMk cId="7568364" sldId="587"/>
            <ac:spMk id="50" creationId="{8048A268-DEF7-0A55-43DF-3E3DC3D3308D}"/>
          </ac:spMkLst>
        </pc:spChg>
        <pc:spChg chg="mod modVis">
          <ac:chgData name="Bullinger, Marvin" userId="5b54ce5a-dc89-476f-af33-5abd75d5b1e8" providerId="ADAL" clId="{43B71669-8A80-4333-9349-B258A9296B49}" dt="2024-02-27T17:21:06.564" v="3397" actId="962"/>
          <ac:spMkLst>
            <pc:docMk/>
            <pc:sldMk cId="7568364" sldId="587"/>
            <ac:spMk id="51" creationId="{533CF1E6-CC04-1526-E107-07A7B8659852}"/>
          </ac:spMkLst>
        </pc:spChg>
        <pc:spChg chg="mod modVis">
          <ac:chgData name="Bullinger, Marvin" userId="5b54ce5a-dc89-476f-af33-5abd75d5b1e8" providerId="ADAL" clId="{43B71669-8A80-4333-9349-B258A9296B49}" dt="2024-02-27T17:21:06.577" v="3398" actId="962"/>
          <ac:spMkLst>
            <pc:docMk/>
            <pc:sldMk cId="7568364" sldId="587"/>
            <ac:spMk id="52" creationId="{26A88955-403F-52C8-88F0-499940C6EB92}"/>
          </ac:spMkLst>
        </pc:spChg>
        <pc:spChg chg="mod modVis">
          <ac:chgData name="Bullinger, Marvin" userId="5b54ce5a-dc89-476f-af33-5abd75d5b1e8" providerId="ADAL" clId="{43B71669-8A80-4333-9349-B258A9296B49}" dt="2024-02-27T17:21:06.577" v="3399" actId="962"/>
          <ac:spMkLst>
            <pc:docMk/>
            <pc:sldMk cId="7568364" sldId="587"/>
            <ac:spMk id="53" creationId="{7D90DC88-723D-AFF6-8440-5824322A1BA3}"/>
          </ac:spMkLst>
        </pc:spChg>
        <pc:spChg chg="mod modVis">
          <ac:chgData name="Bullinger, Marvin" userId="5b54ce5a-dc89-476f-af33-5abd75d5b1e8" providerId="ADAL" clId="{43B71669-8A80-4333-9349-B258A9296B49}" dt="2024-02-27T17:21:06.577" v="3400" actId="962"/>
          <ac:spMkLst>
            <pc:docMk/>
            <pc:sldMk cId="7568364" sldId="587"/>
            <ac:spMk id="54" creationId="{6E6AEF1E-97A0-782B-AF10-14DD21FA8A5E}"/>
          </ac:spMkLst>
        </pc:spChg>
        <pc:spChg chg="mod modVis">
          <ac:chgData name="Bullinger, Marvin" userId="5b54ce5a-dc89-476f-af33-5abd75d5b1e8" providerId="ADAL" clId="{43B71669-8A80-4333-9349-B258A9296B49}" dt="2024-02-27T17:21:06.593" v="3401" actId="962"/>
          <ac:spMkLst>
            <pc:docMk/>
            <pc:sldMk cId="7568364" sldId="587"/>
            <ac:spMk id="55" creationId="{10D8131D-059E-AA11-9503-7B9A4BBD3AB2}"/>
          </ac:spMkLst>
        </pc:spChg>
        <pc:spChg chg="mod modVis">
          <ac:chgData name="Bullinger, Marvin" userId="5b54ce5a-dc89-476f-af33-5abd75d5b1e8" providerId="ADAL" clId="{43B71669-8A80-4333-9349-B258A9296B49}" dt="2024-02-27T17:21:06.601" v="3402" actId="962"/>
          <ac:spMkLst>
            <pc:docMk/>
            <pc:sldMk cId="7568364" sldId="587"/>
            <ac:spMk id="56" creationId="{4DF768EE-9822-C02B-BCDE-123B8EAE6007}"/>
          </ac:spMkLst>
        </pc:spChg>
        <pc:spChg chg="mod modVis">
          <ac:chgData name="Bullinger, Marvin" userId="5b54ce5a-dc89-476f-af33-5abd75d5b1e8" providerId="ADAL" clId="{43B71669-8A80-4333-9349-B258A9296B49}" dt="2024-02-27T17:21:06.609" v="3403" actId="962"/>
          <ac:spMkLst>
            <pc:docMk/>
            <pc:sldMk cId="7568364" sldId="587"/>
            <ac:spMk id="57" creationId="{B9A62FC7-1C9C-6DF8-7210-04C0CB954BF3}"/>
          </ac:spMkLst>
        </pc:spChg>
        <pc:spChg chg="mod modVis">
          <ac:chgData name="Bullinger, Marvin" userId="5b54ce5a-dc89-476f-af33-5abd75d5b1e8" providerId="ADAL" clId="{43B71669-8A80-4333-9349-B258A9296B49}" dt="2024-02-27T17:21:06.609" v="3404" actId="962"/>
          <ac:spMkLst>
            <pc:docMk/>
            <pc:sldMk cId="7568364" sldId="587"/>
            <ac:spMk id="58" creationId="{2EB76239-AE23-6274-A895-A775C53884CC}"/>
          </ac:spMkLst>
        </pc:spChg>
        <pc:spChg chg="mod modVis">
          <ac:chgData name="Bullinger, Marvin" userId="5b54ce5a-dc89-476f-af33-5abd75d5b1e8" providerId="ADAL" clId="{43B71669-8A80-4333-9349-B258A9296B49}" dt="2024-02-27T17:21:06.609" v="3405" actId="962"/>
          <ac:spMkLst>
            <pc:docMk/>
            <pc:sldMk cId="7568364" sldId="587"/>
            <ac:spMk id="59" creationId="{610CF94D-BC1A-16A0-DC17-E7F7A2E09A9E}"/>
          </ac:spMkLst>
        </pc:spChg>
        <pc:spChg chg="mod modVis">
          <ac:chgData name="Bullinger, Marvin" userId="5b54ce5a-dc89-476f-af33-5abd75d5b1e8" providerId="ADAL" clId="{43B71669-8A80-4333-9349-B258A9296B49}" dt="2024-02-27T17:21:06.626" v="3406" actId="962"/>
          <ac:spMkLst>
            <pc:docMk/>
            <pc:sldMk cId="7568364" sldId="587"/>
            <ac:spMk id="60" creationId="{E3A0A3FC-4A38-ACEC-0054-EC6E99C54833}"/>
          </ac:spMkLst>
        </pc:spChg>
        <pc:spChg chg="mod modVis">
          <ac:chgData name="Bullinger, Marvin" userId="5b54ce5a-dc89-476f-af33-5abd75d5b1e8" providerId="ADAL" clId="{43B71669-8A80-4333-9349-B258A9296B49}" dt="2024-02-27T17:21:06.626" v="3407" actId="962"/>
          <ac:spMkLst>
            <pc:docMk/>
            <pc:sldMk cId="7568364" sldId="587"/>
            <ac:spMk id="61" creationId="{1AA9760D-DB13-C879-5088-5C2BE7DCE338}"/>
          </ac:spMkLst>
        </pc:spChg>
        <pc:spChg chg="mod modVis">
          <ac:chgData name="Bullinger, Marvin" userId="5b54ce5a-dc89-476f-af33-5abd75d5b1e8" providerId="ADAL" clId="{43B71669-8A80-4333-9349-B258A9296B49}" dt="2024-02-27T17:21:06.642" v="3408" actId="962"/>
          <ac:spMkLst>
            <pc:docMk/>
            <pc:sldMk cId="7568364" sldId="587"/>
            <ac:spMk id="62" creationId="{A6D95D1C-830E-34DF-0713-DB8D322BEC62}"/>
          </ac:spMkLst>
        </pc:spChg>
        <pc:spChg chg="mod modVis">
          <ac:chgData name="Bullinger, Marvin" userId="5b54ce5a-dc89-476f-af33-5abd75d5b1e8" providerId="ADAL" clId="{43B71669-8A80-4333-9349-B258A9296B49}" dt="2024-02-27T17:21:06.642" v="3409" actId="962"/>
          <ac:spMkLst>
            <pc:docMk/>
            <pc:sldMk cId="7568364" sldId="587"/>
            <ac:spMk id="63" creationId="{58CBCAC0-7F05-7CFA-112D-AD046A1C3B43}"/>
          </ac:spMkLst>
        </pc:spChg>
        <pc:spChg chg="mod modVis">
          <ac:chgData name="Bullinger, Marvin" userId="5b54ce5a-dc89-476f-af33-5abd75d5b1e8" providerId="ADAL" clId="{43B71669-8A80-4333-9349-B258A9296B49}" dt="2024-02-27T17:21:06.658" v="3410" actId="962"/>
          <ac:spMkLst>
            <pc:docMk/>
            <pc:sldMk cId="7568364" sldId="587"/>
            <ac:spMk id="64" creationId="{172F073A-0FB2-1679-5CBD-CE6AA778D5C4}"/>
          </ac:spMkLst>
        </pc:spChg>
        <pc:spChg chg="mod modVis">
          <ac:chgData name="Bullinger, Marvin" userId="5b54ce5a-dc89-476f-af33-5abd75d5b1e8" providerId="ADAL" clId="{43B71669-8A80-4333-9349-B258A9296B49}" dt="2024-02-27T17:21:06.659" v="3411" actId="962"/>
          <ac:spMkLst>
            <pc:docMk/>
            <pc:sldMk cId="7568364" sldId="587"/>
            <ac:spMk id="65" creationId="{80A07AA2-9A3C-D140-7AF4-CE982BBE2F8F}"/>
          </ac:spMkLst>
        </pc:spChg>
        <pc:spChg chg="mod modVis">
          <ac:chgData name="Bullinger, Marvin" userId="5b54ce5a-dc89-476f-af33-5abd75d5b1e8" providerId="ADAL" clId="{43B71669-8A80-4333-9349-B258A9296B49}" dt="2024-02-27T17:21:06.659" v="3412" actId="962"/>
          <ac:spMkLst>
            <pc:docMk/>
            <pc:sldMk cId="7568364" sldId="587"/>
            <ac:spMk id="66" creationId="{A1BAFD8C-49F3-0580-9D23-A5AA2BD15EA9}"/>
          </ac:spMkLst>
        </pc:spChg>
        <pc:spChg chg="mod modVis">
          <ac:chgData name="Bullinger, Marvin" userId="5b54ce5a-dc89-476f-af33-5abd75d5b1e8" providerId="ADAL" clId="{43B71669-8A80-4333-9349-B258A9296B49}" dt="2024-02-27T17:21:06.677" v="3413" actId="962"/>
          <ac:spMkLst>
            <pc:docMk/>
            <pc:sldMk cId="7568364" sldId="587"/>
            <ac:spMk id="67" creationId="{2B334D4F-B98B-FE83-4A95-9099FF384CB3}"/>
          </ac:spMkLst>
        </pc:spChg>
        <pc:spChg chg="mod modVis">
          <ac:chgData name="Bullinger, Marvin" userId="5b54ce5a-dc89-476f-af33-5abd75d5b1e8" providerId="ADAL" clId="{43B71669-8A80-4333-9349-B258A9296B49}" dt="2024-02-27T17:21:06.677" v="3414" actId="962"/>
          <ac:spMkLst>
            <pc:docMk/>
            <pc:sldMk cId="7568364" sldId="587"/>
            <ac:spMk id="68" creationId="{FB522B23-F093-98EF-222D-0517A4AEC5D7}"/>
          </ac:spMkLst>
        </pc:spChg>
        <pc:spChg chg="mod modVis">
          <ac:chgData name="Bullinger, Marvin" userId="5b54ce5a-dc89-476f-af33-5abd75d5b1e8" providerId="ADAL" clId="{43B71669-8A80-4333-9349-B258A9296B49}" dt="2024-02-27T17:21:06.693" v="3415" actId="962"/>
          <ac:spMkLst>
            <pc:docMk/>
            <pc:sldMk cId="7568364" sldId="587"/>
            <ac:spMk id="69" creationId="{0C0D8075-9432-B19E-1E93-D95E150C7B93}"/>
          </ac:spMkLst>
        </pc:spChg>
        <pc:spChg chg="mod modVis">
          <ac:chgData name="Bullinger, Marvin" userId="5b54ce5a-dc89-476f-af33-5abd75d5b1e8" providerId="ADAL" clId="{43B71669-8A80-4333-9349-B258A9296B49}" dt="2024-02-27T17:21:06.693" v="3416" actId="962"/>
          <ac:spMkLst>
            <pc:docMk/>
            <pc:sldMk cId="7568364" sldId="587"/>
            <ac:spMk id="70" creationId="{5A89D27A-DB3C-8E58-0DA4-6A3488248AE4}"/>
          </ac:spMkLst>
        </pc:spChg>
        <pc:spChg chg="mod modVis">
          <ac:chgData name="Bullinger, Marvin" userId="5b54ce5a-dc89-476f-af33-5abd75d5b1e8" providerId="ADAL" clId="{43B71669-8A80-4333-9349-B258A9296B49}" dt="2024-02-27T17:21:06.701" v="3417" actId="962"/>
          <ac:spMkLst>
            <pc:docMk/>
            <pc:sldMk cId="7568364" sldId="587"/>
            <ac:spMk id="71" creationId="{F84D32EE-51D0-A6E6-37A9-56E2C90A2EE6}"/>
          </ac:spMkLst>
        </pc:spChg>
        <pc:spChg chg="mod modVis">
          <ac:chgData name="Bullinger, Marvin" userId="5b54ce5a-dc89-476f-af33-5abd75d5b1e8" providerId="ADAL" clId="{43B71669-8A80-4333-9349-B258A9296B49}" dt="2024-02-27T17:21:06.709" v="3418" actId="962"/>
          <ac:spMkLst>
            <pc:docMk/>
            <pc:sldMk cId="7568364" sldId="587"/>
            <ac:spMk id="72" creationId="{76601800-3FD3-9907-B359-44A750307E2A}"/>
          </ac:spMkLst>
        </pc:spChg>
        <pc:spChg chg="mod modVis">
          <ac:chgData name="Bullinger, Marvin" userId="5b54ce5a-dc89-476f-af33-5abd75d5b1e8" providerId="ADAL" clId="{43B71669-8A80-4333-9349-B258A9296B49}" dt="2024-02-27T17:21:06.717" v="3419" actId="962"/>
          <ac:spMkLst>
            <pc:docMk/>
            <pc:sldMk cId="7568364" sldId="587"/>
            <ac:spMk id="73" creationId="{A8771DE3-A1DE-B4E3-E016-AFC7EA96F0AE}"/>
          </ac:spMkLst>
        </pc:spChg>
        <pc:spChg chg="mod modVis">
          <ac:chgData name="Bullinger, Marvin" userId="5b54ce5a-dc89-476f-af33-5abd75d5b1e8" providerId="ADAL" clId="{43B71669-8A80-4333-9349-B258A9296B49}" dt="2024-02-27T17:21:06.717" v="3420" actId="962"/>
          <ac:spMkLst>
            <pc:docMk/>
            <pc:sldMk cId="7568364" sldId="587"/>
            <ac:spMk id="74" creationId="{D2C22243-F099-E649-B2B1-C84D0909EB05}"/>
          </ac:spMkLst>
        </pc:spChg>
        <pc:spChg chg="mod modVis">
          <ac:chgData name="Bullinger, Marvin" userId="5b54ce5a-dc89-476f-af33-5abd75d5b1e8" providerId="ADAL" clId="{43B71669-8A80-4333-9349-B258A9296B49}" dt="2024-02-27T17:21:06.733" v="3421" actId="962"/>
          <ac:spMkLst>
            <pc:docMk/>
            <pc:sldMk cId="7568364" sldId="587"/>
            <ac:spMk id="75" creationId="{5B17BBA1-4D48-D16E-7A99-FF4DB6A7A275}"/>
          </ac:spMkLst>
        </pc:spChg>
        <pc:spChg chg="mod modVis">
          <ac:chgData name="Bullinger, Marvin" userId="5b54ce5a-dc89-476f-af33-5abd75d5b1e8" providerId="ADAL" clId="{43B71669-8A80-4333-9349-B258A9296B49}" dt="2024-02-27T17:21:06.733" v="3422" actId="962"/>
          <ac:spMkLst>
            <pc:docMk/>
            <pc:sldMk cId="7568364" sldId="587"/>
            <ac:spMk id="76" creationId="{B17136D4-D5D0-B7FB-7530-9A258D05E392}"/>
          </ac:spMkLst>
        </pc:spChg>
        <pc:spChg chg="mod modVis">
          <ac:chgData name="Bullinger, Marvin" userId="5b54ce5a-dc89-476f-af33-5abd75d5b1e8" providerId="ADAL" clId="{43B71669-8A80-4333-9349-B258A9296B49}" dt="2024-02-27T17:21:06.749" v="3423" actId="962"/>
          <ac:spMkLst>
            <pc:docMk/>
            <pc:sldMk cId="7568364" sldId="587"/>
            <ac:spMk id="77" creationId="{4538B453-C99F-F824-0E6C-972302481A66}"/>
          </ac:spMkLst>
        </pc:spChg>
        <pc:spChg chg="mod modVis">
          <ac:chgData name="Bullinger, Marvin" userId="5b54ce5a-dc89-476f-af33-5abd75d5b1e8" providerId="ADAL" clId="{43B71669-8A80-4333-9349-B258A9296B49}" dt="2024-02-27T17:21:06.749" v="3424" actId="962"/>
          <ac:spMkLst>
            <pc:docMk/>
            <pc:sldMk cId="7568364" sldId="587"/>
            <ac:spMk id="78" creationId="{549D92AF-FBC9-08A9-F8BF-ED0F5CAC422F}"/>
          </ac:spMkLst>
        </pc:spChg>
        <pc:spChg chg="mod modVis">
          <ac:chgData name="Bullinger, Marvin" userId="5b54ce5a-dc89-476f-af33-5abd75d5b1e8" providerId="ADAL" clId="{43B71669-8A80-4333-9349-B258A9296B49}" dt="2024-02-27T17:21:06.749" v="3425" actId="962"/>
          <ac:spMkLst>
            <pc:docMk/>
            <pc:sldMk cId="7568364" sldId="587"/>
            <ac:spMk id="79" creationId="{0F361263-EF15-F69F-FA9B-7011AB414B7B}"/>
          </ac:spMkLst>
        </pc:spChg>
        <pc:spChg chg="mod modVis">
          <ac:chgData name="Bullinger, Marvin" userId="5b54ce5a-dc89-476f-af33-5abd75d5b1e8" providerId="ADAL" clId="{43B71669-8A80-4333-9349-B258A9296B49}" dt="2024-02-27T17:21:06.765" v="3426" actId="962"/>
          <ac:spMkLst>
            <pc:docMk/>
            <pc:sldMk cId="7568364" sldId="587"/>
            <ac:spMk id="80" creationId="{4393201C-7F75-8DE3-5D29-E0F004BAF4EB}"/>
          </ac:spMkLst>
        </pc:spChg>
        <pc:spChg chg="mod modVis">
          <ac:chgData name="Bullinger, Marvin" userId="5b54ce5a-dc89-476f-af33-5abd75d5b1e8" providerId="ADAL" clId="{43B71669-8A80-4333-9349-B258A9296B49}" dt="2024-02-27T17:21:06.777" v="3427" actId="962"/>
          <ac:spMkLst>
            <pc:docMk/>
            <pc:sldMk cId="7568364" sldId="587"/>
            <ac:spMk id="81" creationId="{58A4618A-0EE5-A1A2-45CF-1A655A837E0D}"/>
          </ac:spMkLst>
        </pc:spChg>
        <pc:spChg chg="mod modVis">
          <ac:chgData name="Bullinger, Marvin" userId="5b54ce5a-dc89-476f-af33-5abd75d5b1e8" providerId="ADAL" clId="{43B71669-8A80-4333-9349-B258A9296B49}" dt="2024-02-27T17:21:06.777" v="3428" actId="962"/>
          <ac:spMkLst>
            <pc:docMk/>
            <pc:sldMk cId="7568364" sldId="587"/>
            <ac:spMk id="82" creationId="{E135BF7A-AA67-D9C4-BAC0-4887DA5AF7CF}"/>
          </ac:spMkLst>
        </pc:spChg>
        <pc:spChg chg="mod modVis">
          <ac:chgData name="Bullinger, Marvin" userId="5b54ce5a-dc89-476f-af33-5abd75d5b1e8" providerId="ADAL" clId="{43B71669-8A80-4333-9349-B258A9296B49}" dt="2024-02-27T17:21:06.777" v="3429" actId="962"/>
          <ac:spMkLst>
            <pc:docMk/>
            <pc:sldMk cId="7568364" sldId="587"/>
            <ac:spMk id="83" creationId="{E17AA863-4A69-E850-BC5A-BC9333D3C75D}"/>
          </ac:spMkLst>
        </pc:spChg>
        <pc:spChg chg="mod modVis">
          <ac:chgData name="Bullinger, Marvin" userId="5b54ce5a-dc89-476f-af33-5abd75d5b1e8" providerId="ADAL" clId="{43B71669-8A80-4333-9349-B258A9296B49}" dt="2024-02-27T17:21:06.793" v="3430" actId="962"/>
          <ac:spMkLst>
            <pc:docMk/>
            <pc:sldMk cId="7568364" sldId="587"/>
            <ac:spMk id="84" creationId="{CB4106B6-9E03-6E1D-7FD7-B34824FA19C5}"/>
          </ac:spMkLst>
        </pc:spChg>
        <pc:spChg chg="mod modVis">
          <ac:chgData name="Bullinger, Marvin" userId="5b54ce5a-dc89-476f-af33-5abd75d5b1e8" providerId="ADAL" clId="{43B71669-8A80-4333-9349-B258A9296B49}" dt="2024-02-27T17:21:06.793" v="3431" actId="962"/>
          <ac:spMkLst>
            <pc:docMk/>
            <pc:sldMk cId="7568364" sldId="587"/>
            <ac:spMk id="85" creationId="{AFCC9E33-967C-D428-CE31-6658E3A6AED8}"/>
          </ac:spMkLst>
        </pc:spChg>
        <pc:spChg chg="mod modVis">
          <ac:chgData name="Bullinger, Marvin" userId="5b54ce5a-dc89-476f-af33-5abd75d5b1e8" providerId="ADAL" clId="{43B71669-8A80-4333-9349-B258A9296B49}" dt="2024-02-27T17:21:06.809" v="3432" actId="962"/>
          <ac:spMkLst>
            <pc:docMk/>
            <pc:sldMk cId="7568364" sldId="587"/>
            <ac:spMk id="86" creationId="{4447D2E8-6500-C8A4-6E8E-863243F56F9A}"/>
          </ac:spMkLst>
        </pc:spChg>
        <pc:spChg chg="mod modVis">
          <ac:chgData name="Bullinger, Marvin" userId="5b54ce5a-dc89-476f-af33-5abd75d5b1e8" providerId="ADAL" clId="{43B71669-8A80-4333-9349-B258A9296B49}" dt="2024-02-27T17:21:06.817" v="3433" actId="962"/>
          <ac:spMkLst>
            <pc:docMk/>
            <pc:sldMk cId="7568364" sldId="587"/>
            <ac:spMk id="87" creationId="{BEDACF24-F4F0-AB92-75E8-C5599105834A}"/>
          </ac:spMkLst>
        </pc:spChg>
        <pc:spChg chg="mod modVis">
          <ac:chgData name="Bullinger, Marvin" userId="5b54ce5a-dc89-476f-af33-5abd75d5b1e8" providerId="ADAL" clId="{43B71669-8A80-4333-9349-B258A9296B49}" dt="2024-02-27T17:21:06.833" v="3434" actId="962"/>
          <ac:spMkLst>
            <pc:docMk/>
            <pc:sldMk cId="7568364" sldId="587"/>
            <ac:spMk id="88" creationId="{3B3EBAEA-0470-583B-8BD1-6F9DB9770B21}"/>
          </ac:spMkLst>
        </pc:spChg>
        <pc:spChg chg="mod modVis">
          <ac:chgData name="Bullinger, Marvin" userId="5b54ce5a-dc89-476f-af33-5abd75d5b1e8" providerId="ADAL" clId="{43B71669-8A80-4333-9349-B258A9296B49}" dt="2024-02-27T17:21:06.849" v="3435" actId="962"/>
          <ac:spMkLst>
            <pc:docMk/>
            <pc:sldMk cId="7568364" sldId="587"/>
            <ac:spMk id="89" creationId="{14B815E8-8A36-B2D8-4102-4B576434B247}"/>
          </ac:spMkLst>
        </pc:spChg>
        <pc:spChg chg="mod modVis">
          <ac:chgData name="Bullinger, Marvin" userId="5b54ce5a-dc89-476f-af33-5abd75d5b1e8" providerId="ADAL" clId="{43B71669-8A80-4333-9349-B258A9296B49}" dt="2024-02-27T17:21:06.865" v="3436" actId="962"/>
          <ac:spMkLst>
            <pc:docMk/>
            <pc:sldMk cId="7568364" sldId="587"/>
            <ac:spMk id="90" creationId="{D7AE11AE-46B6-32DB-7B35-C99F8BF42F8D}"/>
          </ac:spMkLst>
        </pc:spChg>
        <pc:spChg chg="mod modVis">
          <ac:chgData name="Bullinger, Marvin" userId="5b54ce5a-dc89-476f-af33-5abd75d5b1e8" providerId="ADAL" clId="{43B71669-8A80-4333-9349-B258A9296B49}" dt="2024-02-27T17:21:06.873" v="3437" actId="962"/>
          <ac:spMkLst>
            <pc:docMk/>
            <pc:sldMk cId="7568364" sldId="587"/>
            <ac:spMk id="91" creationId="{7189A8FA-B287-7926-7772-C267A04AB72D}"/>
          </ac:spMkLst>
        </pc:spChg>
        <pc:spChg chg="mod modVis">
          <ac:chgData name="Bullinger, Marvin" userId="5b54ce5a-dc89-476f-af33-5abd75d5b1e8" providerId="ADAL" clId="{43B71669-8A80-4333-9349-B258A9296B49}" dt="2024-02-27T17:21:06.877" v="3438" actId="962"/>
          <ac:spMkLst>
            <pc:docMk/>
            <pc:sldMk cId="7568364" sldId="587"/>
            <ac:spMk id="92" creationId="{C12090C1-3952-AEC0-78F3-9F2B5AB1CFE3}"/>
          </ac:spMkLst>
        </pc:spChg>
        <pc:spChg chg="mod modVis">
          <ac:chgData name="Bullinger, Marvin" userId="5b54ce5a-dc89-476f-af33-5abd75d5b1e8" providerId="ADAL" clId="{43B71669-8A80-4333-9349-B258A9296B49}" dt="2024-02-27T17:21:06.886" v="3439" actId="962"/>
          <ac:spMkLst>
            <pc:docMk/>
            <pc:sldMk cId="7568364" sldId="587"/>
            <ac:spMk id="93" creationId="{EF682AB0-250F-46A8-1F3B-4A21B983293A}"/>
          </ac:spMkLst>
        </pc:spChg>
        <pc:spChg chg="mod modVis">
          <ac:chgData name="Bullinger, Marvin" userId="5b54ce5a-dc89-476f-af33-5abd75d5b1e8" providerId="ADAL" clId="{43B71669-8A80-4333-9349-B258A9296B49}" dt="2024-02-27T17:21:06.895" v="3440" actId="962"/>
          <ac:spMkLst>
            <pc:docMk/>
            <pc:sldMk cId="7568364" sldId="587"/>
            <ac:spMk id="94" creationId="{26D19E9E-6997-0AD0-63CA-12818384CA23}"/>
          </ac:spMkLst>
        </pc:spChg>
        <pc:spChg chg="mod modVis">
          <ac:chgData name="Bullinger, Marvin" userId="5b54ce5a-dc89-476f-af33-5abd75d5b1e8" providerId="ADAL" clId="{43B71669-8A80-4333-9349-B258A9296B49}" dt="2024-02-27T17:21:06.903" v="3441" actId="962"/>
          <ac:spMkLst>
            <pc:docMk/>
            <pc:sldMk cId="7568364" sldId="587"/>
            <ac:spMk id="95" creationId="{7AE242E6-A16F-C71E-FEC5-D0FCF0648AD8}"/>
          </ac:spMkLst>
        </pc:spChg>
        <pc:spChg chg="mod modVis">
          <ac:chgData name="Bullinger, Marvin" userId="5b54ce5a-dc89-476f-af33-5abd75d5b1e8" providerId="ADAL" clId="{43B71669-8A80-4333-9349-B258A9296B49}" dt="2024-02-27T17:21:06.919" v="3442" actId="962"/>
          <ac:spMkLst>
            <pc:docMk/>
            <pc:sldMk cId="7568364" sldId="587"/>
            <ac:spMk id="96" creationId="{032CB7FF-4585-67C7-DFCE-B3B8E110B84B}"/>
          </ac:spMkLst>
        </pc:spChg>
        <pc:spChg chg="mod modVis">
          <ac:chgData name="Bullinger, Marvin" userId="5b54ce5a-dc89-476f-af33-5abd75d5b1e8" providerId="ADAL" clId="{43B71669-8A80-4333-9349-B258A9296B49}" dt="2024-02-27T17:21:06.935" v="3443" actId="962"/>
          <ac:spMkLst>
            <pc:docMk/>
            <pc:sldMk cId="7568364" sldId="587"/>
            <ac:spMk id="97" creationId="{A3335B08-25E2-BDD6-F23E-B8B4A31FACAE}"/>
          </ac:spMkLst>
        </pc:spChg>
        <pc:spChg chg="mod modVis">
          <ac:chgData name="Bullinger, Marvin" userId="5b54ce5a-dc89-476f-af33-5abd75d5b1e8" providerId="ADAL" clId="{43B71669-8A80-4333-9349-B258A9296B49}" dt="2024-02-27T17:21:06.950" v="3444" actId="962"/>
          <ac:spMkLst>
            <pc:docMk/>
            <pc:sldMk cId="7568364" sldId="587"/>
            <ac:spMk id="98" creationId="{C0230D7A-22B5-9E73-472D-6A058BC85B49}"/>
          </ac:spMkLst>
        </pc:spChg>
        <pc:spChg chg="mod modVis">
          <ac:chgData name="Bullinger, Marvin" userId="5b54ce5a-dc89-476f-af33-5abd75d5b1e8" providerId="ADAL" clId="{43B71669-8A80-4333-9349-B258A9296B49}" dt="2024-02-27T17:21:06.950" v="3445" actId="962"/>
          <ac:spMkLst>
            <pc:docMk/>
            <pc:sldMk cId="7568364" sldId="587"/>
            <ac:spMk id="99" creationId="{EBFDB1E6-C06D-9517-B9D2-739C0ABCCFF1}"/>
          </ac:spMkLst>
        </pc:spChg>
        <pc:spChg chg="mod modVis">
          <ac:chgData name="Bullinger, Marvin" userId="5b54ce5a-dc89-476f-af33-5abd75d5b1e8" providerId="ADAL" clId="{43B71669-8A80-4333-9349-B258A9296B49}" dt="2024-02-27T17:21:06.950" v="3446" actId="962"/>
          <ac:spMkLst>
            <pc:docMk/>
            <pc:sldMk cId="7568364" sldId="587"/>
            <ac:spMk id="100" creationId="{C1DE9CF7-BC1D-0763-4F98-46A535EC6CFF}"/>
          </ac:spMkLst>
        </pc:spChg>
        <pc:spChg chg="mod modVis">
          <ac:chgData name="Bullinger, Marvin" userId="5b54ce5a-dc89-476f-af33-5abd75d5b1e8" providerId="ADAL" clId="{43B71669-8A80-4333-9349-B258A9296B49}" dt="2024-02-27T17:21:06.966" v="3447" actId="962"/>
          <ac:spMkLst>
            <pc:docMk/>
            <pc:sldMk cId="7568364" sldId="587"/>
            <ac:spMk id="101" creationId="{CBC99444-166C-9991-6844-1CFDF3ECAC3F}"/>
          </ac:spMkLst>
        </pc:spChg>
        <pc:cxnChg chg="del">
          <ac:chgData name="Bullinger, Marvin" userId="5b54ce5a-dc89-476f-af33-5abd75d5b1e8" providerId="ADAL" clId="{43B71669-8A80-4333-9349-B258A9296B49}" dt="2024-02-27T17:21:08.809" v="4329" actId="478"/>
          <ac:cxnSpMkLst>
            <pc:docMk/>
            <pc:sldMk cId="7568364" sldId="587"/>
            <ac:cxnSpMk id="43" creationId="{2E294848-3788-2F5D-DB47-BADB913C86BC}"/>
          </ac:cxnSpMkLst>
        </pc:cxnChg>
      </pc:sldChg>
      <pc:sldChg chg="delSp modSp del mod">
        <pc:chgData name="Bullinger, Marvin" userId="5b54ce5a-dc89-476f-af33-5abd75d5b1e8" providerId="ADAL" clId="{43B71669-8A80-4333-9349-B258A9296B49}" dt="2024-02-27T16:45:50.723" v="1020" actId="2696"/>
        <pc:sldMkLst>
          <pc:docMk/>
          <pc:sldMk cId="884871466" sldId="587"/>
        </pc:sldMkLst>
        <pc:spChg chg="del">
          <ac:chgData name="Bullinger, Marvin" userId="5b54ce5a-dc89-476f-af33-5abd75d5b1e8" providerId="ADAL" clId="{43B71669-8A80-4333-9349-B258A9296B49}" dt="2024-02-27T16:45:50.723" v="1018" actId="478"/>
          <ac:spMkLst>
            <pc:docMk/>
            <pc:sldMk cId="884871466" sldId="587"/>
            <ac:spMk id="42" creationId="{B859BD98-2D1E-1035-B1DA-8D3AC0D0F1D9}"/>
          </ac:spMkLst>
        </pc:spChg>
        <pc:spChg chg="mod">
          <ac:chgData name="Bullinger, Marvin" userId="5b54ce5a-dc89-476f-af33-5abd75d5b1e8" providerId="ADAL" clId="{43B71669-8A80-4333-9349-B258A9296B49}" dt="2024-02-27T16:45:49.567" v="244" actId="207"/>
          <ac:spMkLst>
            <pc:docMk/>
            <pc:sldMk cId="884871466" sldId="587"/>
            <ac:spMk id="44" creationId="{2490758F-6D23-73B8-D901-F9289C97FE34}"/>
          </ac:spMkLst>
        </pc:spChg>
        <pc:spChg chg="mod modVis">
          <ac:chgData name="Bullinger, Marvin" userId="5b54ce5a-dc89-476f-af33-5abd75d5b1e8" providerId="ADAL" clId="{43B71669-8A80-4333-9349-B258A9296B49}" dt="2024-02-27T16:45:49.606" v="245" actId="962"/>
          <ac:spMkLst>
            <pc:docMk/>
            <pc:sldMk cId="884871466" sldId="587"/>
            <ac:spMk id="46" creationId="{91910646-E50C-47AD-FBCD-F8D005705EAA}"/>
          </ac:spMkLst>
        </pc:spChg>
        <pc:spChg chg="mod modVis">
          <ac:chgData name="Bullinger, Marvin" userId="5b54ce5a-dc89-476f-af33-5abd75d5b1e8" providerId="ADAL" clId="{43B71669-8A80-4333-9349-B258A9296B49}" dt="2024-02-27T16:45:49.606" v="246" actId="962"/>
          <ac:spMkLst>
            <pc:docMk/>
            <pc:sldMk cId="884871466" sldId="587"/>
            <ac:spMk id="47" creationId="{0EAF2246-6C8D-AC5A-B534-5EEC1F4C0566}"/>
          </ac:spMkLst>
        </pc:spChg>
        <pc:spChg chg="mod modVis">
          <ac:chgData name="Bullinger, Marvin" userId="5b54ce5a-dc89-476f-af33-5abd75d5b1e8" providerId="ADAL" clId="{43B71669-8A80-4333-9349-B258A9296B49}" dt="2024-02-27T16:45:49.606" v="247" actId="962"/>
          <ac:spMkLst>
            <pc:docMk/>
            <pc:sldMk cId="884871466" sldId="587"/>
            <ac:spMk id="48" creationId="{0DDE65E2-4703-9B9A-5091-8BF309F8D434}"/>
          </ac:spMkLst>
        </pc:spChg>
        <pc:spChg chg="mod modVis">
          <ac:chgData name="Bullinger, Marvin" userId="5b54ce5a-dc89-476f-af33-5abd75d5b1e8" providerId="ADAL" clId="{43B71669-8A80-4333-9349-B258A9296B49}" dt="2024-02-27T16:45:49.621" v="248" actId="962"/>
          <ac:spMkLst>
            <pc:docMk/>
            <pc:sldMk cId="884871466" sldId="587"/>
            <ac:spMk id="49" creationId="{2557F567-7E83-74C8-F720-ACE08B07E15F}"/>
          </ac:spMkLst>
        </pc:spChg>
        <pc:spChg chg="mod modVis">
          <ac:chgData name="Bullinger, Marvin" userId="5b54ce5a-dc89-476f-af33-5abd75d5b1e8" providerId="ADAL" clId="{43B71669-8A80-4333-9349-B258A9296B49}" dt="2024-02-27T16:45:49.626" v="249" actId="962"/>
          <ac:spMkLst>
            <pc:docMk/>
            <pc:sldMk cId="884871466" sldId="587"/>
            <ac:spMk id="50" creationId="{E1EA5218-B68C-2B9E-3CC0-01C4DDAEB920}"/>
          </ac:spMkLst>
        </pc:spChg>
        <pc:spChg chg="mod modVis">
          <ac:chgData name="Bullinger, Marvin" userId="5b54ce5a-dc89-476f-af33-5abd75d5b1e8" providerId="ADAL" clId="{43B71669-8A80-4333-9349-B258A9296B49}" dt="2024-02-27T16:45:49.626" v="250" actId="962"/>
          <ac:spMkLst>
            <pc:docMk/>
            <pc:sldMk cId="884871466" sldId="587"/>
            <ac:spMk id="51" creationId="{0DCFF1B2-116D-D48F-239B-3337AF1E6EEA}"/>
          </ac:spMkLst>
        </pc:spChg>
        <pc:spChg chg="mod modVis">
          <ac:chgData name="Bullinger, Marvin" userId="5b54ce5a-dc89-476f-af33-5abd75d5b1e8" providerId="ADAL" clId="{43B71669-8A80-4333-9349-B258A9296B49}" dt="2024-02-27T16:45:49.626" v="251" actId="962"/>
          <ac:spMkLst>
            <pc:docMk/>
            <pc:sldMk cId="884871466" sldId="587"/>
            <ac:spMk id="52" creationId="{7BA3304E-97B4-5BCF-D6EE-101F0F5725FD}"/>
          </ac:spMkLst>
        </pc:spChg>
        <pc:spChg chg="mod modVis">
          <ac:chgData name="Bullinger, Marvin" userId="5b54ce5a-dc89-476f-af33-5abd75d5b1e8" providerId="ADAL" clId="{43B71669-8A80-4333-9349-B258A9296B49}" dt="2024-02-27T16:45:49.626" v="252" actId="962"/>
          <ac:spMkLst>
            <pc:docMk/>
            <pc:sldMk cId="884871466" sldId="587"/>
            <ac:spMk id="53" creationId="{7A1C5CE3-557D-6FFE-2E83-BC1A79F891BA}"/>
          </ac:spMkLst>
        </pc:spChg>
        <pc:spChg chg="mod modVis">
          <ac:chgData name="Bullinger, Marvin" userId="5b54ce5a-dc89-476f-af33-5abd75d5b1e8" providerId="ADAL" clId="{43B71669-8A80-4333-9349-B258A9296B49}" dt="2024-02-27T16:45:49.642" v="253" actId="962"/>
          <ac:spMkLst>
            <pc:docMk/>
            <pc:sldMk cId="884871466" sldId="587"/>
            <ac:spMk id="54" creationId="{2E48E4BE-BBAB-D495-2176-C742AA846CAD}"/>
          </ac:spMkLst>
        </pc:spChg>
        <pc:spChg chg="mod modVis">
          <ac:chgData name="Bullinger, Marvin" userId="5b54ce5a-dc89-476f-af33-5abd75d5b1e8" providerId="ADAL" clId="{43B71669-8A80-4333-9349-B258A9296B49}" dt="2024-02-27T16:45:49.642" v="254" actId="962"/>
          <ac:spMkLst>
            <pc:docMk/>
            <pc:sldMk cId="884871466" sldId="587"/>
            <ac:spMk id="55" creationId="{51E1C4B8-CD18-819D-2C3F-B668321140DD}"/>
          </ac:spMkLst>
        </pc:spChg>
        <pc:spChg chg="mod modVis">
          <ac:chgData name="Bullinger, Marvin" userId="5b54ce5a-dc89-476f-af33-5abd75d5b1e8" providerId="ADAL" clId="{43B71669-8A80-4333-9349-B258A9296B49}" dt="2024-02-27T16:45:49.642" v="255" actId="962"/>
          <ac:spMkLst>
            <pc:docMk/>
            <pc:sldMk cId="884871466" sldId="587"/>
            <ac:spMk id="56" creationId="{B0924EED-281E-98A7-8712-75E4DF966B9B}"/>
          </ac:spMkLst>
        </pc:spChg>
        <pc:spChg chg="mod modVis">
          <ac:chgData name="Bullinger, Marvin" userId="5b54ce5a-dc89-476f-af33-5abd75d5b1e8" providerId="ADAL" clId="{43B71669-8A80-4333-9349-B258A9296B49}" dt="2024-02-27T16:45:49.658" v="256" actId="962"/>
          <ac:spMkLst>
            <pc:docMk/>
            <pc:sldMk cId="884871466" sldId="587"/>
            <ac:spMk id="57" creationId="{81394CD2-F3E3-36A9-9DB2-F061396A4B2B}"/>
          </ac:spMkLst>
        </pc:spChg>
        <pc:spChg chg="mod modVis">
          <ac:chgData name="Bullinger, Marvin" userId="5b54ce5a-dc89-476f-af33-5abd75d5b1e8" providerId="ADAL" clId="{43B71669-8A80-4333-9349-B258A9296B49}" dt="2024-02-27T16:45:49.658" v="257" actId="962"/>
          <ac:spMkLst>
            <pc:docMk/>
            <pc:sldMk cId="884871466" sldId="587"/>
            <ac:spMk id="58" creationId="{6E1574BD-FAAD-BE06-5FE1-D3D3D0D3276C}"/>
          </ac:spMkLst>
        </pc:spChg>
        <pc:spChg chg="mod modVis">
          <ac:chgData name="Bullinger, Marvin" userId="5b54ce5a-dc89-476f-af33-5abd75d5b1e8" providerId="ADAL" clId="{43B71669-8A80-4333-9349-B258A9296B49}" dt="2024-02-27T16:45:49.658" v="258" actId="962"/>
          <ac:spMkLst>
            <pc:docMk/>
            <pc:sldMk cId="884871466" sldId="587"/>
            <ac:spMk id="59" creationId="{42F5989A-63F7-01B9-FB0A-04069130D893}"/>
          </ac:spMkLst>
        </pc:spChg>
        <pc:spChg chg="mod modVis">
          <ac:chgData name="Bullinger, Marvin" userId="5b54ce5a-dc89-476f-af33-5abd75d5b1e8" providerId="ADAL" clId="{43B71669-8A80-4333-9349-B258A9296B49}" dt="2024-02-27T16:45:49.673" v="259" actId="962"/>
          <ac:spMkLst>
            <pc:docMk/>
            <pc:sldMk cId="884871466" sldId="587"/>
            <ac:spMk id="60" creationId="{2B087EAD-F60F-8C47-B2AD-6405353A845F}"/>
          </ac:spMkLst>
        </pc:spChg>
        <pc:spChg chg="mod modVis">
          <ac:chgData name="Bullinger, Marvin" userId="5b54ce5a-dc89-476f-af33-5abd75d5b1e8" providerId="ADAL" clId="{43B71669-8A80-4333-9349-B258A9296B49}" dt="2024-02-27T16:45:49.673" v="260" actId="962"/>
          <ac:spMkLst>
            <pc:docMk/>
            <pc:sldMk cId="884871466" sldId="587"/>
            <ac:spMk id="61" creationId="{BCF9809B-89EB-F074-1C49-432EFC41F3FF}"/>
          </ac:spMkLst>
        </pc:spChg>
        <pc:spChg chg="mod modVis">
          <ac:chgData name="Bullinger, Marvin" userId="5b54ce5a-dc89-476f-af33-5abd75d5b1e8" providerId="ADAL" clId="{43B71669-8A80-4333-9349-B258A9296B49}" dt="2024-02-27T16:45:49.673" v="261" actId="962"/>
          <ac:spMkLst>
            <pc:docMk/>
            <pc:sldMk cId="884871466" sldId="587"/>
            <ac:spMk id="62" creationId="{6E2F44C1-9785-F3F3-1EB5-973EA68FE759}"/>
          </ac:spMkLst>
        </pc:spChg>
        <pc:spChg chg="mod modVis">
          <ac:chgData name="Bullinger, Marvin" userId="5b54ce5a-dc89-476f-af33-5abd75d5b1e8" providerId="ADAL" clId="{43B71669-8A80-4333-9349-B258A9296B49}" dt="2024-02-27T16:45:49.673" v="262" actId="962"/>
          <ac:spMkLst>
            <pc:docMk/>
            <pc:sldMk cId="884871466" sldId="587"/>
            <ac:spMk id="63" creationId="{3277CFA3-BDA0-0570-4339-21F7BB01D50A}"/>
          </ac:spMkLst>
        </pc:spChg>
        <pc:spChg chg="mod modVis">
          <ac:chgData name="Bullinger, Marvin" userId="5b54ce5a-dc89-476f-af33-5abd75d5b1e8" providerId="ADAL" clId="{43B71669-8A80-4333-9349-B258A9296B49}" dt="2024-02-27T16:45:49.689" v="263" actId="962"/>
          <ac:spMkLst>
            <pc:docMk/>
            <pc:sldMk cId="884871466" sldId="587"/>
            <ac:spMk id="64" creationId="{05F53663-DAD8-2405-563E-11B83941EA4E}"/>
          </ac:spMkLst>
        </pc:spChg>
        <pc:spChg chg="mod modVis">
          <ac:chgData name="Bullinger, Marvin" userId="5b54ce5a-dc89-476f-af33-5abd75d5b1e8" providerId="ADAL" clId="{43B71669-8A80-4333-9349-B258A9296B49}" dt="2024-02-27T16:45:49.689" v="264" actId="962"/>
          <ac:spMkLst>
            <pc:docMk/>
            <pc:sldMk cId="884871466" sldId="587"/>
            <ac:spMk id="65" creationId="{AC5C713C-1482-2742-FF22-34DA46EB3F38}"/>
          </ac:spMkLst>
        </pc:spChg>
        <pc:spChg chg="mod modVis">
          <ac:chgData name="Bullinger, Marvin" userId="5b54ce5a-dc89-476f-af33-5abd75d5b1e8" providerId="ADAL" clId="{43B71669-8A80-4333-9349-B258A9296B49}" dt="2024-02-27T16:45:49.689" v="265" actId="962"/>
          <ac:spMkLst>
            <pc:docMk/>
            <pc:sldMk cId="884871466" sldId="587"/>
            <ac:spMk id="66" creationId="{7666EE22-B4C4-D1B8-75C2-C6293ABF5803}"/>
          </ac:spMkLst>
        </pc:spChg>
        <pc:spChg chg="mod modVis">
          <ac:chgData name="Bullinger, Marvin" userId="5b54ce5a-dc89-476f-af33-5abd75d5b1e8" providerId="ADAL" clId="{43B71669-8A80-4333-9349-B258A9296B49}" dt="2024-02-27T16:45:49.711" v="266" actId="962"/>
          <ac:spMkLst>
            <pc:docMk/>
            <pc:sldMk cId="884871466" sldId="587"/>
            <ac:spMk id="67" creationId="{44356A89-3B70-DE3E-64D9-A39018D8104A}"/>
          </ac:spMkLst>
        </pc:spChg>
        <pc:spChg chg="mod modVis">
          <ac:chgData name="Bullinger, Marvin" userId="5b54ce5a-dc89-476f-af33-5abd75d5b1e8" providerId="ADAL" clId="{43B71669-8A80-4333-9349-B258A9296B49}" dt="2024-02-27T16:45:49.714" v="267" actId="962"/>
          <ac:spMkLst>
            <pc:docMk/>
            <pc:sldMk cId="884871466" sldId="587"/>
            <ac:spMk id="68" creationId="{E64397D8-7BD8-C465-9F49-B893E2B0EDD7}"/>
          </ac:spMkLst>
        </pc:spChg>
        <pc:spChg chg="mod modVis">
          <ac:chgData name="Bullinger, Marvin" userId="5b54ce5a-dc89-476f-af33-5abd75d5b1e8" providerId="ADAL" clId="{43B71669-8A80-4333-9349-B258A9296B49}" dt="2024-02-27T16:45:49.714" v="268" actId="962"/>
          <ac:spMkLst>
            <pc:docMk/>
            <pc:sldMk cId="884871466" sldId="587"/>
            <ac:spMk id="69" creationId="{0FC5EC51-99CC-142A-F40D-71E2EFBA9E16}"/>
          </ac:spMkLst>
        </pc:spChg>
        <pc:spChg chg="mod modVis">
          <ac:chgData name="Bullinger, Marvin" userId="5b54ce5a-dc89-476f-af33-5abd75d5b1e8" providerId="ADAL" clId="{43B71669-8A80-4333-9349-B258A9296B49}" dt="2024-02-27T16:45:49.714" v="269" actId="962"/>
          <ac:spMkLst>
            <pc:docMk/>
            <pc:sldMk cId="884871466" sldId="587"/>
            <ac:spMk id="70" creationId="{B8E2FF33-6C4C-ADE3-81DA-3A0B99AF62A4}"/>
          </ac:spMkLst>
        </pc:spChg>
        <pc:spChg chg="mod modVis">
          <ac:chgData name="Bullinger, Marvin" userId="5b54ce5a-dc89-476f-af33-5abd75d5b1e8" providerId="ADAL" clId="{43B71669-8A80-4333-9349-B258A9296B49}" dt="2024-02-27T16:45:49.726" v="270" actId="962"/>
          <ac:spMkLst>
            <pc:docMk/>
            <pc:sldMk cId="884871466" sldId="587"/>
            <ac:spMk id="71" creationId="{8A096FBC-1947-0FE4-8689-D703E2D57935}"/>
          </ac:spMkLst>
        </pc:spChg>
        <pc:spChg chg="mod modVis">
          <ac:chgData name="Bullinger, Marvin" userId="5b54ce5a-dc89-476f-af33-5abd75d5b1e8" providerId="ADAL" clId="{43B71669-8A80-4333-9349-B258A9296B49}" dt="2024-02-27T16:45:49.726" v="271" actId="962"/>
          <ac:spMkLst>
            <pc:docMk/>
            <pc:sldMk cId="884871466" sldId="587"/>
            <ac:spMk id="72" creationId="{220FEF71-194A-7819-9ED1-CD89DD882734}"/>
          </ac:spMkLst>
        </pc:spChg>
        <pc:spChg chg="mod modVis">
          <ac:chgData name="Bullinger, Marvin" userId="5b54ce5a-dc89-476f-af33-5abd75d5b1e8" providerId="ADAL" clId="{43B71669-8A80-4333-9349-B258A9296B49}" dt="2024-02-27T16:45:49.726" v="272" actId="962"/>
          <ac:spMkLst>
            <pc:docMk/>
            <pc:sldMk cId="884871466" sldId="587"/>
            <ac:spMk id="73" creationId="{6B3339FF-F1A6-196D-6BD1-7BE263FF12F9}"/>
          </ac:spMkLst>
        </pc:spChg>
        <pc:spChg chg="mod modVis">
          <ac:chgData name="Bullinger, Marvin" userId="5b54ce5a-dc89-476f-af33-5abd75d5b1e8" providerId="ADAL" clId="{43B71669-8A80-4333-9349-B258A9296B49}" dt="2024-02-27T16:45:49.742" v="273" actId="962"/>
          <ac:spMkLst>
            <pc:docMk/>
            <pc:sldMk cId="884871466" sldId="587"/>
            <ac:spMk id="74" creationId="{340306BB-50E8-8A08-6443-DFDB037FBD42}"/>
          </ac:spMkLst>
        </pc:spChg>
        <pc:spChg chg="mod modVis">
          <ac:chgData name="Bullinger, Marvin" userId="5b54ce5a-dc89-476f-af33-5abd75d5b1e8" providerId="ADAL" clId="{43B71669-8A80-4333-9349-B258A9296B49}" dt="2024-02-27T16:45:49.742" v="274" actId="962"/>
          <ac:spMkLst>
            <pc:docMk/>
            <pc:sldMk cId="884871466" sldId="587"/>
            <ac:spMk id="75" creationId="{0867A426-EDAB-25C2-677A-DB1CBD853392}"/>
          </ac:spMkLst>
        </pc:spChg>
        <pc:spChg chg="mod modVis">
          <ac:chgData name="Bullinger, Marvin" userId="5b54ce5a-dc89-476f-af33-5abd75d5b1e8" providerId="ADAL" clId="{43B71669-8A80-4333-9349-B258A9296B49}" dt="2024-02-27T16:45:49.742" v="275" actId="962"/>
          <ac:spMkLst>
            <pc:docMk/>
            <pc:sldMk cId="884871466" sldId="587"/>
            <ac:spMk id="76" creationId="{CF984E07-677E-F673-3CEF-F16CC97A032A}"/>
          </ac:spMkLst>
        </pc:spChg>
        <pc:spChg chg="mod modVis">
          <ac:chgData name="Bullinger, Marvin" userId="5b54ce5a-dc89-476f-af33-5abd75d5b1e8" providerId="ADAL" clId="{43B71669-8A80-4333-9349-B258A9296B49}" dt="2024-02-27T16:45:49.742" v="276" actId="962"/>
          <ac:spMkLst>
            <pc:docMk/>
            <pc:sldMk cId="884871466" sldId="587"/>
            <ac:spMk id="77" creationId="{30B9760E-EB02-1968-7D83-33A33ACEBBA0}"/>
          </ac:spMkLst>
        </pc:spChg>
        <pc:spChg chg="mod modVis">
          <ac:chgData name="Bullinger, Marvin" userId="5b54ce5a-dc89-476f-af33-5abd75d5b1e8" providerId="ADAL" clId="{43B71669-8A80-4333-9349-B258A9296B49}" dt="2024-02-27T16:45:49.758" v="277" actId="962"/>
          <ac:spMkLst>
            <pc:docMk/>
            <pc:sldMk cId="884871466" sldId="587"/>
            <ac:spMk id="78" creationId="{CA56C251-571E-2007-1C4C-A2CC7438FB86}"/>
          </ac:spMkLst>
        </pc:spChg>
        <pc:spChg chg="mod modVis">
          <ac:chgData name="Bullinger, Marvin" userId="5b54ce5a-dc89-476f-af33-5abd75d5b1e8" providerId="ADAL" clId="{43B71669-8A80-4333-9349-B258A9296B49}" dt="2024-02-27T16:45:49.758" v="278" actId="962"/>
          <ac:spMkLst>
            <pc:docMk/>
            <pc:sldMk cId="884871466" sldId="587"/>
            <ac:spMk id="79" creationId="{CF93C935-D4CB-09AE-A1AD-5337FF10ACE4}"/>
          </ac:spMkLst>
        </pc:spChg>
        <pc:spChg chg="mod modVis">
          <ac:chgData name="Bullinger, Marvin" userId="5b54ce5a-dc89-476f-af33-5abd75d5b1e8" providerId="ADAL" clId="{43B71669-8A80-4333-9349-B258A9296B49}" dt="2024-02-27T16:45:49.758" v="279" actId="962"/>
          <ac:spMkLst>
            <pc:docMk/>
            <pc:sldMk cId="884871466" sldId="587"/>
            <ac:spMk id="80" creationId="{7B7705E7-3BC8-FFBC-ADC2-938331EFCFAC}"/>
          </ac:spMkLst>
        </pc:spChg>
        <pc:spChg chg="mod modVis">
          <ac:chgData name="Bullinger, Marvin" userId="5b54ce5a-dc89-476f-af33-5abd75d5b1e8" providerId="ADAL" clId="{43B71669-8A80-4333-9349-B258A9296B49}" dt="2024-02-27T16:45:49.773" v="280" actId="962"/>
          <ac:spMkLst>
            <pc:docMk/>
            <pc:sldMk cId="884871466" sldId="587"/>
            <ac:spMk id="81" creationId="{1CB83B3D-508E-1EE1-B61E-AFD7AEB000F3}"/>
          </ac:spMkLst>
        </pc:spChg>
        <pc:spChg chg="mod modVis">
          <ac:chgData name="Bullinger, Marvin" userId="5b54ce5a-dc89-476f-af33-5abd75d5b1e8" providerId="ADAL" clId="{43B71669-8A80-4333-9349-B258A9296B49}" dt="2024-02-27T16:45:49.773" v="281" actId="962"/>
          <ac:spMkLst>
            <pc:docMk/>
            <pc:sldMk cId="884871466" sldId="587"/>
            <ac:spMk id="82" creationId="{D1C2C6F8-8EC1-2C83-F2AF-ED20D610AEC6}"/>
          </ac:spMkLst>
        </pc:spChg>
        <pc:spChg chg="mod modVis">
          <ac:chgData name="Bullinger, Marvin" userId="5b54ce5a-dc89-476f-af33-5abd75d5b1e8" providerId="ADAL" clId="{43B71669-8A80-4333-9349-B258A9296B49}" dt="2024-02-27T16:45:49.773" v="282" actId="962"/>
          <ac:spMkLst>
            <pc:docMk/>
            <pc:sldMk cId="884871466" sldId="587"/>
            <ac:spMk id="83" creationId="{B9C9A18E-A4A7-B63C-6553-54EC73BC147B}"/>
          </ac:spMkLst>
        </pc:spChg>
        <pc:spChg chg="mod modVis">
          <ac:chgData name="Bullinger, Marvin" userId="5b54ce5a-dc89-476f-af33-5abd75d5b1e8" providerId="ADAL" clId="{43B71669-8A80-4333-9349-B258A9296B49}" dt="2024-02-27T16:45:49.773" v="283" actId="962"/>
          <ac:spMkLst>
            <pc:docMk/>
            <pc:sldMk cId="884871466" sldId="587"/>
            <ac:spMk id="84" creationId="{07EBCD49-E79A-7D63-32FF-DB1EBB23C463}"/>
          </ac:spMkLst>
        </pc:spChg>
        <pc:spChg chg="mod modVis">
          <ac:chgData name="Bullinger, Marvin" userId="5b54ce5a-dc89-476f-af33-5abd75d5b1e8" providerId="ADAL" clId="{43B71669-8A80-4333-9349-B258A9296B49}" dt="2024-02-27T16:45:49.789" v="284" actId="962"/>
          <ac:spMkLst>
            <pc:docMk/>
            <pc:sldMk cId="884871466" sldId="587"/>
            <ac:spMk id="85" creationId="{102F7DD1-F9EB-4DD0-A1CF-A3ECABED245D}"/>
          </ac:spMkLst>
        </pc:spChg>
        <pc:spChg chg="mod modVis">
          <ac:chgData name="Bullinger, Marvin" userId="5b54ce5a-dc89-476f-af33-5abd75d5b1e8" providerId="ADAL" clId="{43B71669-8A80-4333-9349-B258A9296B49}" dt="2024-02-27T16:45:49.789" v="285" actId="962"/>
          <ac:spMkLst>
            <pc:docMk/>
            <pc:sldMk cId="884871466" sldId="587"/>
            <ac:spMk id="86" creationId="{25E261E3-8170-F3E0-D996-07365DBCFD6E}"/>
          </ac:spMkLst>
        </pc:spChg>
        <pc:spChg chg="mod modVis">
          <ac:chgData name="Bullinger, Marvin" userId="5b54ce5a-dc89-476f-af33-5abd75d5b1e8" providerId="ADAL" clId="{43B71669-8A80-4333-9349-B258A9296B49}" dt="2024-02-27T16:45:49.789" v="286" actId="962"/>
          <ac:spMkLst>
            <pc:docMk/>
            <pc:sldMk cId="884871466" sldId="587"/>
            <ac:spMk id="87" creationId="{3727F67E-0FB4-E3C0-740B-8EF8065E63EE}"/>
          </ac:spMkLst>
        </pc:spChg>
        <pc:spChg chg="mod modVis">
          <ac:chgData name="Bullinger, Marvin" userId="5b54ce5a-dc89-476f-af33-5abd75d5b1e8" providerId="ADAL" clId="{43B71669-8A80-4333-9349-B258A9296B49}" dt="2024-02-27T16:45:49.805" v="287" actId="962"/>
          <ac:spMkLst>
            <pc:docMk/>
            <pc:sldMk cId="884871466" sldId="587"/>
            <ac:spMk id="88" creationId="{F79BEF42-063E-961B-8FF8-ACA8A3A79AFD}"/>
          </ac:spMkLst>
        </pc:spChg>
        <pc:spChg chg="mod modVis">
          <ac:chgData name="Bullinger, Marvin" userId="5b54ce5a-dc89-476f-af33-5abd75d5b1e8" providerId="ADAL" clId="{43B71669-8A80-4333-9349-B258A9296B49}" dt="2024-02-27T16:45:49.810" v="288" actId="962"/>
          <ac:spMkLst>
            <pc:docMk/>
            <pc:sldMk cId="884871466" sldId="587"/>
            <ac:spMk id="89" creationId="{A8C93462-93BB-D840-A325-6DE93E65DEDB}"/>
          </ac:spMkLst>
        </pc:spChg>
        <pc:spChg chg="mod modVis">
          <ac:chgData name="Bullinger, Marvin" userId="5b54ce5a-dc89-476f-af33-5abd75d5b1e8" providerId="ADAL" clId="{43B71669-8A80-4333-9349-B258A9296B49}" dt="2024-02-27T16:45:49.815" v="289" actId="962"/>
          <ac:spMkLst>
            <pc:docMk/>
            <pc:sldMk cId="884871466" sldId="587"/>
            <ac:spMk id="90" creationId="{AD0050CF-CF8C-F78E-DB79-72841D94C8E3}"/>
          </ac:spMkLst>
        </pc:spChg>
        <pc:spChg chg="mod modVis">
          <ac:chgData name="Bullinger, Marvin" userId="5b54ce5a-dc89-476f-af33-5abd75d5b1e8" providerId="ADAL" clId="{43B71669-8A80-4333-9349-B258A9296B49}" dt="2024-02-27T16:45:49.820" v="290" actId="962"/>
          <ac:spMkLst>
            <pc:docMk/>
            <pc:sldMk cId="884871466" sldId="587"/>
            <ac:spMk id="91" creationId="{0226B8D2-43AB-14DE-7C39-FC138C2D9DDE}"/>
          </ac:spMkLst>
        </pc:spChg>
        <pc:spChg chg="mod modVis">
          <ac:chgData name="Bullinger, Marvin" userId="5b54ce5a-dc89-476f-af33-5abd75d5b1e8" providerId="ADAL" clId="{43B71669-8A80-4333-9349-B258A9296B49}" dt="2024-02-27T16:45:49.824" v="291" actId="962"/>
          <ac:spMkLst>
            <pc:docMk/>
            <pc:sldMk cId="884871466" sldId="587"/>
            <ac:spMk id="92" creationId="{C7ABA5BC-A810-4609-69D4-C48EDE033510}"/>
          </ac:spMkLst>
        </pc:spChg>
        <pc:spChg chg="mod modVis">
          <ac:chgData name="Bullinger, Marvin" userId="5b54ce5a-dc89-476f-af33-5abd75d5b1e8" providerId="ADAL" clId="{43B71669-8A80-4333-9349-B258A9296B49}" dt="2024-02-27T16:45:49.827" v="292" actId="962"/>
          <ac:spMkLst>
            <pc:docMk/>
            <pc:sldMk cId="884871466" sldId="587"/>
            <ac:spMk id="93" creationId="{8FAE2629-C5C0-5B24-CEFA-5D021E5CDBFC}"/>
          </ac:spMkLst>
        </pc:spChg>
        <pc:cxnChg chg="del">
          <ac:chgData name="Bullinger, Marvin" userId="5b54ce5a-dc89-476f-af33-5abd75d5b1e8" providerId="ADAL" clId="{43B71669-8A80-4333-9349-B258A9296B49}" dt="2024-02-27T16:45:50.723" v="1019" actId="478"/>
          <ac:cxnSpMkLst>
            <pc:docMk/>
            <pc:sldMk cId="884871466" sldId="587"/>
            <ac:cxnSpMk id="43" creationId="{02A573C9-C96B-0C73-621D-A9FF43F5CE54}"/>
          </ac:cxnSpMkLst>
        </pc:cxnChg>
      </pc:sldChg>
      <pc:sldChg chg="del">
        <pc:chgData name="Bullinger, Marvin" userId="5b54ce5a-dc89-476f-af33-5abd75d5b1e8" providerId="ADAL" clId="{43B71669-8A80-4333-9349-B258A9296B49}" dt="2024-02-27T16:45:50.723" v="1017" actId="2696"/>
        <pc:sldMkLst>
          <pc:docMk/>
          <pc:sldMk cId="683180748" sldId="588"/>
        </pc:sldMkLst>
      </pc:sldChg>
      <pc:sldChg chg="del">
        <pc:chgData name="Bullinger, Marvin" userId="5b54ce5a-dc89-476f-af33-5abd75d5b1e8" providerId="ADAL" clId="{43B71669-8A80-4333-9349-B258A9296B49}" dt="2024-02-27T17:21:08.809" v="4327" actId="2696"/>
        <pc:sldMkLst>
          <pc:docMk/>
          <pc:sldMk cId="976721441" sldId="588"/>
        </pc:sldMkLst>
      </pc:sldChg>
      <pc:sldChg chg="del">
        <pc:chgData name="Bullinger, Marvin" userId="5b54ce5a-dc89-476f-af33-5abd75d5b1e8" providerId="ADAL" clId="{43B71669-8A80-4333-9349-B258A9296B49}" dt="2024-02-27T16:45:50.707" v="1016" actId="2696"/>
        <pc:sldMkLst>
          <pc:docMk/>
          <pc:sldMk cId="99068889" sldId="589"/>
        </pc:sldMkLst>
      </pc:sldChg>
      <pc:sldChg chg="del">
        <pc:chgData name="Bullinger, Marvin" userId="5b54ce5a-dc89-476f-af33-5abd75d5b1e8" providerId="ADAL" clId="{43B71669-8A80-4333-9349-B258A9296B49}" dt="2024-02-27T17:21:08.793" v="4326" actId="2696"/>
        <pc:sldMkLst>
          <pc:docMk/>
          <pc:sldMk cId="2588143715" sldId="589"/>
        </pc:sldMkLst>
      </pc:sldChg>
      <pc:sldChg chg="addSp delSp modSp del mod ord replTag">
        <pc:chgData name="Bullinger, Marvin" userId="5b54ce5a-dc89-476f-af33-5abd75d5b1e8" providerId="ADAL" clId="{43B71669-8A80-4333-9349-B258A9296B49}" dt="2024-02-27T16:56:30.589" v="3389" actId="47"/>
        <pc:sldMkLst>
          <pc:docMk/>
          <pc:sldMk cId="65447628" sldId="590"/>
        </pc:sldMkLst>
        <pc:spChg chg="del">
          <ac:chgData name="Bullinger, Marvin" userId="5b54ce5a-dc89-476f-af33-5abd75d5b1e8" providerId="ADAL" clId="{43B71669-8A80-4333-9349-B258A9296B49}" dt="2024-02-27T16:45:50.707" v="1013" actId="478"/>
          <ac:spMkLst>
            <pc:docMk/>
            <pc:sldMk cId="65447628" sldId="590"/>
            <ac:spMk id="2" creationId="{43428E74-3158-A25B-CBF0-E8C370F4A19F}"/>
          </ac:spMkLst>
        </pc:spChg>
        <pc:spChg chg="del">
          <ac:chgData name="Bullinger, Marvin" userId="5b54ce5a-dc89-476f-af33-5abd75d5b1e8" providerId="ADAL" clId="{43B71669-8A80-4333-9349-B258A9296B49}" dt="2024-02-27T16:45:50.707" v="1012" actId="478"/>
          <ac:spMkLst>
            <pc:docMk/>
            <pc:sldMk cId="65447628" sldId="590"/>
            <ac:spMk id="3" creationId="{95F90129-90D5-8302-F277-01F2D181F7C6}"/>
          </ac:spMkLst>
        </pc:spChg>
        <pc:spChg chg="del">
          <ac:chgData name="Bullinger, Marvin" userId="5b54ce5a-dc89-476f-af33-5abd75d5b1e8" providerId="ADAL" clId="{43B71669-8A80-4333-9349-B258A9296B49}" dt="2024-02-27T16:45:50.707" v="1011" actId="478"/>
          <ac:spMkLst>
            <pc:docMk/>
            <pc:sldMk cId="65447628" sldId="590"/>
            <ac:spMk id="4" creationId="{2D09F3A8-89B2-F8FB-3BAB-EA6942B8B965}"/>
          </ac:spMkLst>
        </pc:spChg>
        <pc:spChg chg="del">
          <ac:chgData name="Bullinger, Marvin" userId="5b54ce5a-dc89-476f-af33-5abd75d5b1e8" providerId="ADAL" clId="{43B71669-8A80-4333-9349-B258A9296B49}" dt="2024-02-27T16:45:50.707" v="1010" actId="478"/>
          <ac:spMkLst>
            <pc:docMk/>
            <pc:sldMk cId="65447628" sldId="590"/>
            <ac:spMk id="5" creationId="{8C02F5BD-171C-D544-C9F2-54D8738878C7}"/>
          </ac:spMkLst>
        </pc:spChg>
        <pc:spChg chg="del">
          <ac:chgData name="Bullinger, Marvin" userId="5b54ce5a-dc89-476f-af33-5abd75d5b1e8" providerId="ADAL" clId="{43B71669-8A80-4333-9349-B258A9296B49}" dt="2024-02-27T16:45:50.707" v="1009" actId="478"/>
          <ac:spMkLst>
            <pc:docMk/>
            <pc:sldMk cId="65447628" sldId="590"/>
            <ac:spMk id="6" creationId="{E973AC0B-02A9-CF79-71F8-6DDB4E7657BD}"/>
          </ac:spMkLst>
        </pc:spChg>
        <pc:spChg chg="del">
          <ac:chgData name="Bullinger, Marvin" userId="5b54ce5a-dc89-476f-af33-5abd75d5b1e8" providerId="ADAL" clId="{43B71669-8A80-4333-9349-B258A9296B49}" dt="2024-02-27T16:45:50.707" v="1008" actId="478"/>
          <ac:spMkLst>
            <pc:docMk/>
            <pc:sldMk cId="65447628" sldId="590"/>
            <ac:spMk id="7" creationId="{63ADF79D-6BA2-EF4F-5825-19713938833F}"/>
          </ac:spMkLst>
        </pc:spChg>
        <pc:spChg chg="del">
          <ac:chgData name="Bullinger, Marvin" userId="5b54ce5a-dc89-476f-af33-5abd75d5b1e8" providerId="ADAL" clId="{43B71669-8A80-4333-9349-B258A9296B49}" dt="2024-02-27T16:45:50.707" v="1007" actId="478"/>
          <ac:spMkLst>
            <pc:docMk/>
            <pc:sldMk cId="65447628" sldId="590"/>
            <ac:spMk id="8" creationId="{DD74A9F0-7F32-2B9C-C18D-D7AA3B8D7FAD}"/>
          </ac:spMkLst>
        </pc:spChg>
        <pc:spChg chg="del">
          <ac:chgData name="Bullinger, Marvin" userId="5b54ce5a-dc89-476f-af33-5abd75d5b1e8" providerId="ADAL" clId="{43B71669-8A80-4333-9349-B258A9296B49}" dt="2024-02-27T16:45:50.707" v="1006" actId="478"/>
          <ac:spMkLst>
            <pc:docMk/>
            <pc:sldMk cId="65447628" sldId="590"/>
            <ac:spMk id="9" creationId="{DBFCC4A0-3EB7-2758-7007-D3C00F27BD0C}"/>
          </ac:spMkLst>
        </pc:spChg>
        <pc:spChg chg="del">
          <ac:chgData name="Bullinger, Marvin" userId="5b54ce5a-dc89-476f-af33-5abd75d5b1e8" providerId="ADAL" clId="{43B71669-8A80-4333-9349-B258A9296B49}" dt="2024-02-27T16:45:50.707" v="1005" actId="478"/>
          <ac:spMkLst>
            <pc:docMk/>
            <pc:sldMk cId="65447628" sldId="590"/>
            <ac:spMk id="10" creationId="{684E3C58-709B-A091-BA69-C18E0520ED75}"/>
          </ac:spMkLst>
        </pc:spChg>
        <pc:spChg chg="del">
          <ac:chgData name="Bullinger, Marvin" userId="5b54ce5a-dc89-476f-af33-5abd75d5b1e8" providerId="ADAL" clId="{43B71669-8A80-4333-9349-B258A9296B49}" dt="2024-02-27T16:45:50.707" v="1004" actId="478"/>
          <ac:spMkLst>
            <pc:docMk/>
            <pc:sldMk cId="65447628" sldId="590"/>
            <ac:spMk id="11" creationId="{7B144710-A2A9-7CF4-3E3B-12987D434746}"/>
          </ac:spMkLst>
        </pc:spChg>
        <pc:spChg chg="del">
          <ac:chgData name="Bullinger, Marvin" userId="5b54ce5a-dc89-476f-af33-5abd75d5b1e8" providerId="ADAL" clId="{43B71669-8A80-4333-9349-B258A9296B49}" dt="2024-02-27T16:45:50.707" v="1003" actId="478"/>
          <ac:spMkLst>
            <pc:docMk/>
            <pc:sldMk cId="65447628" sldId="590"/>
            <ac:spMk id="12" creationId="{59494700-66B1-C420-02D3-E9B56535E8A7}"/>
          </ac:spMkLst>
        </pc:spChg>
        <pc:spChg chg="del">
          <ac:chgData name="Bullinger, Marvin" userId="5b54ce5a-dc89-476f-af33-5abd75d5b1e8" providerId="ADAL" clId="{43B71669-8A80-4333-9349-B258A9296B49}" dt="2024-02-27T16:45:50.707" v="1002" actId="478"/>
          <ac:spMkLst>
            <pc:docMk/>
            <pc:sldMk cId="65447628" sldId="590"/>
            <ac:spMk id="13" creationId="{8D1C578B-866F-05F5-49E3-CF26E0143116}"/>
          </ac:spMkLst>
        </pc:spChg>
        <pc:spChg chg="del">
          <ac:chgData name="Bullinger, Marvin" userId="5b54ce5a-dc89-476f-af33-5abd75d5b1e8" providerId="ADAL" clId="{43B71669-8A80-4333-9349-B258A9296B49}" dt="2024-02-27T16:45:50.707" v="1001" actId="478"/>
          <ac:spMkLst>
            <pc:docMk/>
            <pc:sldMk cId="65447628" sldId="590"/>
            <ac:spMk id="14" creationId="{EB870FA2-0496-6495-EF04-EFD528A907FA}"/>
          </ac:spMkLst>
        </pc:spChg>
        <pc:spChg chg="del">
          <ac:chgData name="Bullinger, Marvin" userId="5b54ce5a-dc89-476f-af33-5abd75d5b1e8" providerId="ADAL" clId="{43B71669-8A80-4333-9349-B258A9296B49}" dt="2024-02-27T16:45:50.707" v="1000" actId="478"/>
          <ac:spMkLst>
            <pc:docMk/>
            <pc:sldMk cId="65447628" sldId="590"/>
            <ac:spMk id="15" creationId="{6DD45788-CF70-504A-EBF8-82F2B23AD6D1}"/>
          </ac:spMkLst>
        </pc:spChg>
        <pc:spChg chg="del">
          <ac:chgData name="Bullinger, Marvin" userId="5b54ce5a-dc89-476f-af33-5abd75d5b1e8" providerId="ADAL" clId="{43B71669-8A80-4333-9349-B258A9296B49}" dt="2024-02-27T16:45:50.707" v="999" actId="478"/>
          <ac:spMkLst>
            <pc:docMk/>
            <pc:sldMk cId="65447628" sldId="590"/>
            <ac:spMk id="16" creationId="{EA9A19A8-68DC-4D7F-D5E2-20ADEDA8FC38}"/>
          </ac:spMkLst>
        </pc:spChg>
        <pc:spChg chg="del mod replST">
          <ac:chgData name="Bullinger, Marvin" userId="5b54ce5a-dc89-476f-af33-5abd75d5b1e8" providerId="ADAL" clId="{43B71669-8A80-4333-9349-B258A9296B49}" dt="2024-02-27T16:46:20.939" v="1754" actId="478"/>
          <ac:spMkLst>
            <pc:docMk/>
            <pc:sldMk cId="65447628" sldId="590"/>
            <ac:spMk id="17" creationId="{2955475C-3425-5DDE-2A8C-43A2FF5714AE}"/>
          </ac:spMkLst>
        </pc:spChg>
        <pc:spChg chg="del">
          <ac:chgData name="Bullinger, Marvin" userId="5b54ce5a-dc89-476f-af33-5abd75d5b1e8" providerId="ADAL" clId="{43B71669-8A80-4333-9349-B258A9296B49}" dt="2024-02-27T16:45:50.707" v="998" actId="478"/>
          <ac:spMkLst>
            <pc:docMk/>
            <pc:sldMk cId="65447628" sldId="590"/>
            <ac:spMk id="18" creationId="{87DCFF71-BCD9-ABCF-2F5E-E6FFCD94DB7E}"/>
          </ac:spMkLst>
        </pc:spChg>
        <pc:spChg chg="del">
          <ac:chgData name="Bullinger, Marvin" userId="5b54ce5a-dc89-476f-af33-5abd75d5b1e8" providerId="ADAL" clId="{43B71669-8A80-4333-9349-B258A9296B49}" dt="2024-02-27T16:45:50.707" v="997" actId="478"/>
          <ac:spMkLst>
            <pc:docMk/>
            <pc:sldMk cId="65447628" sldId="590"/>
            <ac:spMk id="19" creationId="{5778CCA1-EC5D-4AEE-9C8A-E3BCD7D716F4}"/>
          </ac:spMkLst>
        </pc:spChg>
        <pc:spChg chg="del">
          <ac:chgData name="Bullinger, Marvin" userId="5b54ce5a-dc89-476f-af33-5abd75d5b1e8" providerId="ADAL" clId="{43B71669-8A80-4333-9349-B258A9296B49}" dt="2024-02-27T16:45:50.707" v="996" actId="478"/>
          <ac:spMkLst>
            <pc:docMk/>
            <pc:sldMk cId="65447628" sldId="590"/>
            <ac:spMk id="20" creationId="{9A52A555-1BFF-68BF-91EF-E57D624CFB8A}"/>
          </ac:spMkLst>
        </pc:spChg>
        <pc:spChg chg="del">
          <ac:chgData name="Bullinger, Marvin" userId="5b54ce5a-dc89-476f-af33-5abd75d5b1e8" providerId="ADAL" clId="{43B71669-8A80-4333-9349-B258A9296B49}" dt="2024-02-27T16:45:50.691" v="995" actId="478"/>
          <ac:spMkLst>
            <pc:docMk/>
            <pc:sldMk cId="65447628" sldId="590"/>
            <ac:spMk id="21" creationId="{204185DD-E675-30FB-07AD-85E2DC413C22}"/>
          </ac:spMkLst>
        </pc:spChg>
        <pc:spChg chg="del">
          <ac:chgData name="Bullinger, Marvin" userId="5b54ce5a-dc89-476f-af33-5abd75d5b1e8" providerId="ADAL" clId="{43B71669-8A80-4333-9349-B258A9296B49}" dt="2024-02-27T16:45:50.691" v="994" actId="478"/>
          <ac:spMkLst>
            <pc:docMk/>
            <pc:sldMk cId="65447628" sldId="590"/>
            <ac:spMk id="22" creationId="{EA4EB425-0813-2376-9B5B-B211643CD31E}"/>
          </ac:spMkLst>
        </pc:spChg>
        <pc:spChg chg="del">
          <ac:chgData name="Bullinger, Marvin" userId="5b54ce5a-dc89-476f-af33-5abd75d5b1e8" providerId="ADAL" clId="{43B71669-8A80-4333-9349-B258A9296B49}" dt="2024-02-27T16:45:50.691" v="993" actId="478"/>
          <ac:spMkLst>
            <pc:docMk/>
            <pc:sldMk cId="65447628" sldId="590"/>
            <ac:spMk id="23" creationId="{EAABF889-29D4-C54C-DE54-8A6873419F61}"/>
          </ac:spMkLst>
        </pc:spChg>
        <pc:spChg chg="del">
          <ac:chgData name="Bullinger, Marvin" userId="5b54ce5a-dc89-476f-af33-5abd75d5b1e8" providerId="ADAL" clId="{43B71669-8A80-4333-9349-B258A9296B49}" dt="2024-02-27T16:45:50.691" v="992" actId="478"/>
          <ac:spMkLst>
            <pc:docMk/>
            <pc:sldMk cId="65447628" sldId="590"/>
            <ac:spMk id="24" creationId="{9E922044-70A2-4B11-7692-D9613B0DD832}"/>
          </ac:spMkLst>
        </pc:spChg>
        <pc:spChg chg="del">
          <ac:chgData name="Bullinger, Marvin" userId="5b54ce5a-dc89-476f-af33-5abd75d5b1e8" providerId="ADAL" clId="{43B71669-8A80-4333-9349-B258A9296B49}" dt="2024-02-27T16:45:50.691" v="991" actId="478"/>
          <ac:spMkLst>
            <pc:docMk/>
            <pc:sldMk cId="65447628" sldId="590"/>
            <ac:spMk id="25" creationId="{1F34AC75-38DC-A02D-D0D1-F16D7F0F6232}"/>
          </ac:spMkLst>
        </pc:spChg>
        <pc:spChg chg="mod">
          <ac:chgData name="Bullinger, Marvin" userId="5b54ce5a-dc89-476f-af33-5abd75d5b1e8" providerId="ADAL" clId="{43B71669-8A80-4333-9349-B258A9296B49}" dt="2024-02-27T16:53:49.050" v="3382"/>
          <ac:spMkLst>
            <pc:docMk/>
            <pc:sldMk cId="65447628" sldId="590"/>
            <ac:spMk id="26" creationId="{2408C707-A628-8A1F-3D55-503056174490}"/>
          </ac:spMkLst>
        </pc:spChg>
        <pc:spChg chg="mod">
          <ac:chgData name="Bullinger, Marvin" userId="5b54ce5a-dc89-476f-af33-5abd75d5b1e8" providerId="ADAL" clId="{43B71669-8A80-4333-9349-B258A9296B49}" dt="2024-02-27T16:53:49.050" v="3382"/>
          <ac:spMkLst>
            <pc:docMk/>
            <pc:sldMk cId="65447628" sldId="590"/>
            <ac:spMk id="27" creationId="{8AEEF1BA-1518-B536-3976-525608C72180}"/>
          </ac:spMkLst>
        </pc:spChg>
        <pc:spChg chg="del">
          <ac:chgData name="Bullinger, Marvin" userId="5b54ce5a-dc89-476f-af33-5abd75d5b1e8" providerId="ADAL" clId="{43B71669-8A80-4333-9349-B258A9296B49}" dt="2024-02-27T16:45:50.691" v="990" actId="478"/>
          <ac:spMkLst>
            <pc:docMk/>
            <pc:sldMk cId="65447628" sldId="590"/>
            <ac:spMk id="28" creationId="{472CA27F-C31F-733E-4E75-F459E64F732F}"/>
          </ac:spMkLst>
        </pc:spChg>
        <pc:spChg chg="del">
          <ac:chgData name="Bullinger, Marvin" userId="5b54ce5a-dc89-476f-af33-5abd75d5b1e8" providerId="ADAL" clId="{43B71669-8A80-4333-9349-B258A9296B49}" dt="2024-02-27T16:45:50.691" v="989" actId="478"/>
          <ac:spMkLst>
            <pc:docMk/>
            <pc:sldMk cId="65447628" sldId="590"/>
            <ac:spMk id="29" creationId="{0EF2151E-8285-5A60-0253-C378A040C92E}"/>
          </ac:spMkLst>
        </pc:spChg>
        <pc:spChg chg="del">
          <ac:chgData name="Bullinger, Marvin" userId="5b54ce5a-dc89-476f-af33-5abd75d5b1e8" providerId="ADAL" clId="{43B71669-8A80-4333-9349-B258A9296B49}" dt="2024-02-27T16:45:50.691" v="988" actId="478"/>
          <ac:spMkLst>
            <pc:docMk/>
            <pc:sldMk cId="65447628" sldId="590"/>
            <ac:spMk id="30" creationId="{BCD7892A-0CEE-0319-DEC5-10F68475C370}"/>
          </ac:spMkLst>
        </pc:spChg>
        <pc:spChg chg="del">
          <ac:chgData name="Bullinger, Marvin" userId="5b54ce5a-dc89-476f-af33-5abd75d5b1e8" providerId="ADAL" clId="{43B71669-8A80-4333-9349-B258A9296B49}" dt="2024-02-27T16:45:50.691" v="987" actId="478"/>
          <ac:spMkLst>
            <pc:docMk/>
            <pc:sldMk cId="65447628" sldId="590"/>
            <ac:spMk id="31" creationId="{9124AE54-A542-CC19-B74F-99659C641FD4}"/>
          </ac:spMkLst>
        </pc:spChg>
        <pc:spChg chg="del">
          <ac:chgData name="Bullinger, Marvin" userId="5b54ce5a-dc89-476f-af33-5abd75d5b1e8" providerId="ADAL" clId="{43B71669-8A80-4333-9349-B258A9296B49}" dt="2024-02-27T16:45:50.691" v="986" actId="478"/>
          <ac:spMkLst>
            <pc:docMk/>
            <pc:sldMk cId="65447628" sldId="590"/>
            <ac:spMk id="32" creationId="{46277ED7-A052-80B3-6276-D7BCA447103B}"/>
          </ac:spMkLst>
        </pc:spChg>
        <pc:spChg chg="del">
          <ac:chgData name="Bullinger, Marvin" userId="5b54ce5a-dc89-476f-af33-5abd75d5b1e8" providerId="ADAL" clId="{43B71669-8A80-4333-9349-B258A9296B49}" dt="2024-02-27T16:45:50.691" v="985" actId="478"/>
          <ac:spMkLst>
            <pc:docMk/>
            <pc:sldMk cId="65447628" sldId="590"/>
            <ac:spMk id="33" creationId="{587A190C-9BEC-38ED-6FC2-9F66C77B8520}"/>
          </ac:spMkLst>
        </pc:spChg>
        <pc:spChg chg="del">
          <ac:chgData name="Bullinger, Marvin" userId="5b54ce5a-dc89-476f-af33-5abd75d5b1e8" providerId="ADAL" clId="{43B71669-8A80-4333-9349-B258A9296B49}" dt="2024-02-27T16:45:50.691" v="984" actId="478"/>
          <ac:spMkLst>
            <pc:docMk/>
            <pc:sldMk cId="65447628" sldId="590"/>
            <ac:spMk id="34" creationId="{88624226-2570-AB5F-2F29-C8E57CD36E08}"/>
          </ac:spMkLst>
        </pc:spChg>
        <pc:spChg chg="del">
          <ac:chgData name="Bullinger, Marvin" userId="5b54ce5a-dc89-476f-af33-5abd75d5b1e8" providerId="ADAL" clId="{43B71669-8A80-4333-9349-B258A9296B49}" dt="2024-02-27T16:45:50.691" v="983" actId="478"/>
          <ac:spMkLst>
            <pc:docMk/>
            <pc:sldMk cId="65447628" sldId="590"/>
            <ac:spMk id="35" creationId="{7B3B6E81-30EB-371C-CFBA-C78B2965B8CA}"/>
          </ac:spMkLst>
        </pc:spChg>
        <pc:spChg chg="del">
          <ac:chgData name="Bullinger, Marvin" userId="5b54ce5a-dc89-476f-af33-5abd75d5b1e8" providerId="ADAL" clId="{43B71669-8A80-4333-9349-B258A9296B49}" dt="2024-02-27T16:45:50.691" v="982" actId="478"/>
          <ac:spMkLst>
            <pc:docMk/>
            <pc:sldMk cId="65447628" sldId="590"/>
            <ac:spMk id="36" creationId="{0FC16C9B-7571-FAFB-807A-CAF4A9103579}"/>
          </ac:spMkLst>
        </pc:spChg>
        <pc:spChg chg="del">
          <ac:chgData name="Bullinger, Marvin" userId="5b54ce5a-dc89-476f-af33-5abd75d5b1e8" providerId="ADAL" clId="{43B71669-8A80-4333-9349-B258A9296B49}" dt="2024-02-27T16:45:50.691" v="981" actId="478"/>
          <ac:spMkLst>
            <pc:docMk/>
            <pc:sldMk cId="65447628" sldId="590"/>
            <ac:spMk id="37" creationId="{D6975932-8918-665E-CE2D-43B3ED41234E}"/>
          </ac:spMkLst>
        </pc:spChg>
        <pc:spChg chg="del">
          <ac:chgData name="Bullinger, Marvin" userId="5b54ce5a-dc89-476f-af33-5abd75d5b1e8" providerId="ADAL" clId="{43B71669-8A80-4333-9349-B258A9296B49}" dt="2024-02-27T16:45:50.691" v="980" actId="478"/>
          <ac:spMkLst>
            <pc:docMk/>
            <pc:sldMk cId="65447628" sldId="590"/>
            <ac:spMk id="38" creationId="{16225443-8DEC-0C72-39A9-69394D966B3B}"/>
          </ac:spMkLst>
        </pc:spChg>
        <pc:spChg chg="del">
          <ac:chgData name="Bullinger, Marvin" userId="5b54ce5a-dc89-476f-af33-5abd75d5b1e8" providerId="ADAL" clId="{43B71669-8A80-4333-9349-B258A9296B49}" dt="2024-02-27T16:45:50.691" v="979" actId="478"/>
          <ac:spMkLst>
            <pc:docMk/>
            <pc:sldMk cId="65447628" sldId="590"/>
            <ac:spMk id="39" creationId="{136D8BE5-11E5-54C3-3FD1-4D806F3AA22F}"/>
          </ac:spMkLst>
        </pc:spChg>
        <pc:spChg chg="del">
          <ac:chgData name="Bullinger, Marvin" userId="5b54ce5a-dc89-476f-af33-5abd75d5b1e8" providerId="ADAL" clId="{43B71669-8A80-4333-9349-B258A9296B49}" dt="2024-02-27T16:45:50.691" v="978" actId="478"/>
          <ac:spMkLst>
            <pc:docMk/>
            <pc:sldMk cId="65447628" sldId="590"/>
            <ac:spMk id="40" creationId="{C08F152B-5C11-EF8D-7B05-6BB31B706F84}"/>
          </ac:spMkLst>
        </pc:spChg>
        <pc:spChg chg="del">
          <ac:chgData name="Bullinger, Marvin" userId="5b54ce5a-dc89-476f-af33-5abd75d5b1e8" providerId="ADAL" clId="{43B71669-8A80-4333-9349-B258A9296B49}" dt="2024-02-27T16:45:50.691" v="977" actId="478"/>
          <ac:spMkLst>
            <pc:docMk/>
            <pc:sldMk cId="65447628" sldId="590"/>
            <ac:spMk id="41" creationId="{583C0B6E-9609-7039-5302-09243456A0CB}"/>
          </ac:spMkLst>
        </pc:spChg>
        <pc:spChg chg="add mod">
          <ac:chgData name="Bullinger, Marvin" userId="5b54ce5a-dc89-476f-af33-5abd75d5b1e8" providerId="ADAL" clId="{43B71669-8A80-4333-9349-B258A9296B49}" dt="2024-02-27T16:46:20.939" v="1754" actId="478"/>
          <ac:spMkLst>
            <pc:docMk/>
            <pc:sldMk cId="65447628" sldId="590"/>
            <ac:spMk id="80" creationId="{0393DC4E-FDE0-F83E-70B0-5AE238259FE1}"/>
          </ac:spMkLst>
        </pc:spChg>
        <pc:spChg chg="add del mod replST">
          <ac:chgData name="Bullinger, Marvin" userId="5b54ce5a-dc89-476f-af33-5abd75d5b1e8" providerId="ADAL" clId="{43B71669-8A80-4333-9349-B258A9296B49}" dt="2024-02-27T16:53:49.050" v="3382"/>
          <ac:spMkLst>
            <pc:docMk/>
            <pc:sldMk cId="65447628" sldId="590"/>
            <ac:spMk id="81" creationId="{95508651-D0A4-02BE-DCCD-F3EE47A39842}"/>
          </ac:spMkLst>
        </pc:spChg>
        <pc:spChg chg="del">
          <ac:chgData name="Bullinger, Marvin" userId="5b54ce5a-dc89-476f-af33-5abd75d5b1e8" providerId="ADAL" clId="{43B71669-8A80-4333-9349-B258A9296B49}" dt="2024-02-27T16:46:20.959" v="1783" actId="478"/>
          <ac:spMkLst>
            <pc:docMk/>
            <pc:sldMk cId="65447628" sldId="590"/>
            <ac:spMk id="82" creationId="{79186510-FC35-555F-F11F-531C5CF38604}"/>
          </ac:spMkLst>
        </pc:spChg>
        <pc:spChg chg="del">
          <ac:chgData name="Bullinger, Marvin" userId="5b54ce5a-dc89-476f-af33-5abd75d5b1e8" providerId="ADAL" clId="{43B71669-8A80-4333-9349-B258A9296B49}" dt="2024-02-27T16:46:20.959" v="1782" actId="478"/>
          <ac:spMkLst>
            <pc:docMk/>
            <pc:sldMk cId="65447628" sldId="590"/>
            <ac:spMk id="83" creationId="{9CEF71EB-B366-9687-32BA-D29A56574175}"/>
          </ac:spMkLst>
        </pc:spChg>
        <pc:spChg chg="del">
          <ac:chgData name="Bullinger, Marvin" userId="5b54ce5a-dc89-476f-af33-5abd75d5b1e8" providerId="ADAL" clId="{43B71669-8A80-4333-9349-B258A9296B49}" dt="2024-02-27T16:46:20.959" v="1781" actId="478"/>
          <ac:spMkLst>
            <pc:docMk/>
            <pc:sldMk cId="65447628" sldId="590"/>
            <ac:spMk id="84" creationId="{1FA33825-973E-3FC6-48AB-AB8624612E39}"/>
          </ac:spMkLst>
        </pc:spChg>
        <pc:spChg chg="del">
          <ac:chgData name="Bullinger, Marvin" userId="5b54ce5a-dc89-476f-af33-5abd75d5b1e8" providerId="ADAL" clId="{43B71669-8A80-4333-9349-B258A9296B49}" dt="2024-02-27T16:46:20.959" v="1780" actId="478"/>
          <ac:spMkLst>
            <pc:docMk/>
            <pc:sldMk cId="65447628" sldId="590"/>
            <ac:spMk id="85" creationId="{AF9285BC-2A95-5625-DD78-E1DD1B9E3B9E}"/>
          </ac:spMkLst>
        </pc:spChg>
        <pc:spChg chg="del">
          <ac:chgData name="Bullinger, Marvin" userId="5b54ce5a-dc89-476f-af33-5abd75d5b1e8" providerId="ADAL" clId="{43B71669-8A80-4333-9349-B258A9296B49}" dt="2024-02-27T16:46:20.959" v="1779" actId="478"/>
          <ac:spMkLst>
            <pc:docMk/>
            <pc:sldMk cId="65447628" sldId="590"/>
            <ac:spMk id="86" creationId="{CC78C36A-90B5-B400-79FF-1E070054F0DF}"/>
          </ac:spMkLst>
        </pc:spChg>
        <pc:spChg chg="del">
          <ac:chgData name="Bullinger, Marvin" userId="5b54ce5a-dc89-476f-af33-5abd75d5b1e8" providerId="ADAL" clId="{43B71669-8A80-4333-9349-B258A9296B49}" dt="2024-02-27T16:46:20.959" v="1778" actId="478"/>
          <ac:spMkLst>
            <pc:docMk/>
            <pc:sldMk cId="65447628" sldId="590"/>
            <ac:spMk id="87" creationId="{E9256508-A910-EBED-15E1-E1AAB2386D91}"/>
          </ac:spMkLst>
        </pc:spChg>
        <pc:spChg chg="del">
          <ac:chgData name="Bullinger, Marvin" userId="5b54ce5a-dc89-476f-af33-5abd75d5b1e8" providerId="ADAL" clId="{43B71669-8A80-4333-9349-B258A9296B49}" dt="2024-02-27T16:46:20.959" v="1775" actId="478"/>
          <ac:spMkLst>
            <pc:docMk/>
            <pc:sldMk cId="65447628" sldId="590"/>
            <ac:spMk id="88" creationId="{2B58FB9B-C743-40E0-3D1A-BDFEAA6D4944}"/>
          </ac:spMkLst>
        </pc:spChg>
        <pc:spChg chg="del">
          <ac:chgData name="Bullinger, Marvin" userId="5b54ce5a-dc89-476f-af33-5abd75d5b1e8" providerId="ADAL" clId="{43B71669-8A80-4333-9349-B258A9296B49}" dt="2024-02-27T16:46:20.959" v="1774" actId="478"/>
          <ac:spMkLst>
            <pc:docMk/>
            <pc:sldMk cId="65447628" sldId="590"/>
            <ac:spMk id="89" creationId="{C8A1D27D-09AB-9DDE-6C1F-0E8BF37D751D}"/>
          </ac:spMkLst>
        </pc:spChg>
        <pc:spChg chg="del">
          <ac:chgData name="Bullinger, Marvin" userId="5b54ce5a-dc89-476f-af33-5abd75d5b1e8" providerId="ADAL" clId="{43B71669-8A80-4333-9349-B258A9296B49}" dt="2024-02-27T16:46:20.959" v="1773" actId="478"/>
          <ac:spMkLst>
            <pc:docMk/>
            <pc:sldMk cId="65447628" sldId="590"/>
            <ac:spMk id="90" creationId="{085DF644-ACDB-5889-594B-CD5DDC79B168}"/>
          </ac:spMkLst>
        </pc:spChg>
        <pc:spChg chg="del">
          <ac:chgData name="Bullinger, Marvin" userId="5b54ce5a-dc89-476f-af33-5abd75d5b1e8" providerId="ADAL" clId="{43B71669-8A80-4333-9349-B258A9296B49}" dt="2024-02-27T16:46:20.959" v="1772" actId="478"/>
          <ac:spMkLst>
            <pc:docMk/>
            <pc:sldMk cId="65447628" sldId="590"/>
            <ac:spMk id="91" creationId="{B4DF7D56-1F83-DE61-9D08-05E74C803B99}"/>
          </ac:spMkLst>
        </pc:spChg>
        <pc:spChg chg="del">
          <ac:chgData name="Bullinger, Marvin" userId="5b54ce5a-dc89-476f-af33-5abd75d5b1e8" providerId="ADAL" clId="{43B71669-8A80-4333-9349-B258A9296B49}" dt="2024-02-27T16:46:20.959" v="1771" actId="478"/>
          <ac:spMkLst>
            <pc:docMk/>
            <pc:sldMk cId="65447628" sldId="590"/>
            <ac:spMk id="92" creationId="{45D65B2D-3EF7-0129-57FE-E3AFEE31EDDA}"/>
          </ac:spMkLst>
        </pc:spChg>
        <pc:spChg chg="del">
          <ac:chgData name="Bullinger, Marvin" userId="5b54ce5a-dc89-476f-af33-5abd75d5b1e8" providerId="ADAL" clId="{43B71669-8A80-4333-9349-B258A9296B49}" dt="2024-02-27T16:46:20.959" v="1770" actId="478"/>
          <ac:spMkLst>
            <pc:docMk/>
            <pc:sldMk cId="65447628" sldId="590"/>
            <ac:spMk id="93" creationId="{10E663D4-3599-2466-7CC7-4B51C8F87E7E}"/>
          </ac:spMkLst>
        </pc:spChg>
        <pc:spChg chg="del">
          <ac:chgData name="Bullinger, Marvin" userId="5b54ce5a-dc89-476f-af33-5abd75d5b1e8" providerId="ADAL" clId="{43B71669-8A80-4333-9349-B258A9296B49}" dt="2024-02-27T16:46:20.969" v="1791" actId="478"/>
          <ac:spMkLst>
            <pc:docMk/>
            <pc:sldMk cId="65447628" sldId="590"/>
            <ac:spMk id="94" creationId="{551CE4A3-6BF3-E40F-CA81-FD29BEE3273C}"/>
          </ac:spMkLst>
        </pc:spChg>
        <pc:spChg chg="del">
          <ac:chgData name="Bullinger, Marvin" userId="5b54ce5a-dc89-476f-af33-5abd75d5b1e8" providerId="ADAL" clId="{43B71669-8A80-4333-9349-B258A9296B49}" dt="2024-02-27T16:46:20.969" v="1790" actId="478"/>
          <ac:spMkLst>
            <pc:docMk/>
            <pc:sldMk cId="65447628" sldId="590"/>
            <ac:spMk id="95" creationId="{82A43A37-2811-C726-FD24-85455AD1EC7C}"/>
          </ac:spMkLst>
        </pc:spChg>
        <pc:spChg chg="del">
          <ac:chgData name="Bullinger, Marvin" userId="5b54ce5a-dc89-476f-af33-5abd75d5b1e8" providerId="ADAL" clId="{43B71669-8A80-4333-9349-B258A9296B49}" dt="2024-02-27T16:46:20.967" v="1789" actId="478"/>
          <ac:spMkLst>
            <pc:docMk/>
            <pc:sldMk cId="65447628" sldId="590"/>
            <ac:spMk id="96" creationId="{75AB9E4C-2229-ECAA-FDD5-37278493D1A5}"/>
          </ac:spMkLst>
        </pc:spChg>
        <pc:spChg chg="del">
          <ac:chgData name="Bullinger, Marvin" userId="5b54ce5a-dc89-476f-af33-5abd75d5b1e8" providerId="ADAL" clId="{43B71669-8A80-4333-9349-B258A9296B49}" dt="2024-02-27T16:46:20.967" v="1788" actId="478"/>
          <ac:spMkLst>
            <pc:docMk/>
            <pc:sldMk cId="65447628" sldId="590"/>
            <ac:spMk id="97" creationId="{74B934C8-18EA-3734-5296-831827C87761}"/>
          </ac:spMkLst>
        </pc:spChg>
        <pc:spChg chg="del">
          <ac:chgData name="Bullinger, Marvin" userId="5b54ce5a-dc89-476f-af33-5abd75d5b1e8" providerId="ADAL" clId="{43B71669-8A80-4333-9349-B258A9296B49}" dt="2024-02-27T16:46:20.967" v="1787" actId="478"/>
          <ac:spMkLst>
            <pc:docMk/>
            <pc:sldMk cId="65447628" sldId="590"/>
            <ac:spMk id="98" creationId="{5DD97CBD-B7DE-FC98-A858-31EA4786BBA9}"/>
          </ac:spMkLst>
        </pc:spChg>
        <pc:spChg chg="del">
          <ac:chgData name="Bullinger, Marvin" userId="5b54ce5a-dc89-476f-af33-5abd75d5b1e8" providerId="ADAL" clId="{43B71669-8A80-4333-9349-B258A9296B49}" dt="2024-02-27T16:46:20.967" v="1786" actId="478"/>
          <ac:spMkLst>
            <pc:docMk/>
            <pc:sldMk cId="65447628" sldId="590"/>
            <ac:spMk id="99" creationId="{814C9071-44C0-A37C-3C8D-8C3FC08F2A4B}"/>
          </ac:spMkLst>
        </pc:spChg>
        <pc:spChg chg="del">
          <ac:chgData name="Bullinger, Marvin" userId="5b54ce5a-dc89-476f-af33-5abd75d5b1e8" providerId="ADAL" clId="{43B71669-8A80-4333-9349-B258A9296B49}" dt="2024-02-27T16:46:20.967" v="1785" actId="478"/>
          <ac:spMkLst>
            <pc:docMk/>
            <pc:sldMk cId="65447628" sldId="590"/>
            <ac:spMk id="100" creationId="{5E110154-4177-578D-5422-26C28B00048F}"/>
          </ac:spMkLst>
        </pc:spChg>
        <pc:spChg chg="del">
          <ac:chgData name="Bullinger, Marvin" userId="5b54ce5a-dc89-476f-af33-5abd75d5b1e8" providerId="ADAL" clId="{43B71669-8A80-4333-9349-B258A9296B49}" dt="2024-02-27T16:46:20.959" v="1784" actId="478"/>
          <ac:spMkLst>
            <pc:docMk/>
            <pc:sldMk cId="65447628" sldId="590"/>
            <ac:spMk id="101" creationId="{80013AC4-E2B2-F4C2-00AC-CF83F9537ACB}"/>
          </ac:spMkLst>
        </pc:spChg>
        <pc:spChg chg="del">
          <ac:chgData name="Bullinger, Marvin" userId="5b54ce5a-dc89-476f-af33-5abd75d5b1e8" providerId="ADAL" clId="{43B71669-8A80-4333-9349-B258A9296B49}" dt="2024-02-27T16:46:20.959" v="1776" actId="478"/>
          <ac:spMkLst>
            <pc:docMk/>
            <pc:sldMk cId="65447628" sldId="590"/>
            <ac:spMk id="102" creationId="{E585D4A3-9337-1122-9837-B6BDBF3613AA}"/>
          </ac:spMkLst>
        </pc:spChg>
        <pc:spChg chg="del">
          <ac:chgData name="Bullinger, Marvin" userId="5b54ce5a-dc89-476f-af33-5abd75d5b1e8" providerId="ADAL" clId="{43B71669-8A80-4333-9349-B258A9296B49}" dt="2024-02-27T16:46:20.959" v="1769" actId="478"/>
          <ac:spMkLst>
            <pc:docMk/>
            <pc:sldMk cId="65447628" sldId="590"/>
            <ac:spMk id="103" creationId="{D5740621-BC9A-CB88-E9E1-C297C7AE2481}"/>
          </ac:spMkLst>
        </pc:spChg>
        <pc:spChg chg="del">
          <ac:chgData name="Bullinger, Marvin" userId="5b54ce5a-dc89-476f-af33-5abd75d5b1e8" providerId="ADAL" clId="{43B71669-8A80-4333-9349-B258A9296B49}" dt="2024-02-27T16:46:20.959" v="1777" actId="478"/>
          <ac:spMkLst>
            <pc:docMk/>
            <pc:sldMk cId="65447628" sldId="590"/>
            <ac:spMk id="104" creationId="{8D8131A2-D7E0-D2D8-2966-0F88C86CB42A}"/>
          </ac:spMkLst>
        </pc:spChg>
        <pc:spChg chg="del">
          <ac:chgData name="Bullinger, Marvin" userId="5b54ce5a-dc89-476f-af33-5abd75d5b1e8" providerId="ADAL" clId="{43B71669-8A80-4333-9349-B258A9296B49}" dt="2024-02-27T16:46:20.959" v="1768" actId="478"/>
          <ac:spMkLst>
            <pc:docMk/>
            <pc:sldMk cId="65447628" sldId="590"/>
            <ac:spMk id="105" creationId="{4B79567B-63B6-AE10-CE2E-D66CF7A6B01C}"/>
          </ac:spMkLst>
        </pc:spChg>
        <pc:spChg chg="del">
          <ac:chgData name="Bullinger, Marvin" userId="5b54ce5a-dc89-476f-af33-5abd75d5b1e8" providerId="ADAL" clId="{43B71669-8A80-4333-9349-B258A9296B49}" dt="2024-02-27T16:46:20.959" v="1767" actId="478"/>
          <ac:spMkLst>
            <pc:docMk/>
            <pc:sldMk cId="65447628" sldId="590"/>
            <ac:spMk id="106" creationId="{9C7B661B-231A-E780-F501-88244DA41722}"/>
          </ac:spMkLst>
        </pc:spChg>
        <pc:spChg chg="del">
          <ac:chgData name="Bullinger, Marvin" userId="5b54ce5a-dc89-476f-af33-5abd75d5b1e8" providerId="ADAL" clId="{43B71669-8A80-4333-9349-B258A9296B49}" dt="2024-02-27T16:46:20.959" v="1766" actId="478"/>
          <ac:spMkLst>
            <pc:docMk/>
            <pc:sldMk cId="65447628" sldId="590"/>
            <ac:spMk id="107" creationId="{419C88A9-789C-46BD-04AE-F2EEF71A0F55}"/>
          </ac:spMkLst>
        </pc:spChg>
        <pc:spChg chg="del">
          <ac:chgData name="Bullinger, Marvin" userId="5b54ce5a-dc89-476f-af33-5abd75d5b1e8" providerId="ADAL" clId="{43B71669-8A80-4333-9349-B258A9296B49}" dt="2024-02-27T16:46:20.957" v="1765" actId="478"/>
          <ac:spMkLst>
            <pc:docMk/>
            <pc:sldMk cId="65447628" sldId="590"/>
            <ac:spMk id="108" creationId="{F6B1A41B-2FA6-96B4-52FB-BC4A971DA9DA}"/>
          </ac:spMkLst>
        </pc:spChg>
        <pc:spChg chg="del">
          <ac:chgData name="Bullinger, Marvin" userId="5b54ce5a-dc89-476f-af33-5abd75d5b1e8" providerId="ADAL" clId="{43B71669-8A80-4333-9349-B258A9296B49}" dt="2024-02-27T16:46:20.957" v="1764" actId="478"/>
          <ac:spMkLst>
            <pc:docMk/>
            <pc:sldMk cId="65447628" sldId="590"/>
            <ac:spMk id="109" creationId="{9FACF7BD-5829-242C-288F-DA1E55616F26}"/>
          </ac:spMkLst>
        </pc:spChg>
        <pc:spChg chg="del">
          <ac:chgData name="Bullinger, Marvin" userId="5b54ce5a-dc89-476f-af33-5abd75d5b1e8" providerId="ADAL" clId="{43B71669-8A80-4333-9349-B258A9296B49}" dt="2024-02-27T16:46:20.957" v="1763" actId="478"/>
          <ac:spMkLst>
            <pc:docMk/>
            <pc:sldMk cId="65447628" sldId="590"/>
            <ac:spMk id="110" creationId="{CF9D0945-E19D-4521-0126-327D483773E4}"/>
          </ac:spMkLst>
        </pc:spChg>
        <pc:spChg chg="del">
          <ac:chgData name="Bullinger, Marvin" userId="5b54ce5a-dc89-476f-af33-5abd75d5b1e8" providerId="ADAL" clId="{43B71669-8A80-4333-9349-B258A9296B49}" dt="2024-02-27T16:46:20.957" v="1762" actId="478"/>
          <ac:spMkLst>
            <pc:docMk/>
            <pc:sldMk cId="65447628" sldId="590"/>
            <ac:spMk id="111" creationId="{5C79F838-2872-5CC9-5221-8679CEBDCF86}"/>
          </ac:spMkLst>
        </pc:spChg>
        <pc:spChg chg="del">
          <ac:chgData name="Bullinger, Marvin" userId="5b54ce5a-dc89-476f-af33-5abd75d5b1e8" providerId="ADAL" clId="{43B71669-8A80-4333-9349-B258A9296B49}" dt="2024-02-27T16:46:20.957" v="1761" actId="478"/>
          <ac:spMkLst>
            <pc:docMk/>
            <pc:sldMk cId="65447628" sldId="590"/>
            <ac:spMk id="112" creationId="{393265C8-54F6-4314-EAF5-871FA88C1A7B}"/>
          </ac:spMkLst>
        </pc:spChg>
        <pc:spChg chg="del">
          <ac:chgData name="Bullinger, Marvin" userId="5b54ce5a-dc89-476f-af33-5abd75d5b1e8" providerId="ADAL" clId="{43B71669-8A80-4333-9349-B258A9296B49}" dt="2024-02-27T16:46:20.947" v="1760" actId="478"/>
          <ac:spMkLst>
            <pc:docMk/>
            <pc:sldMk cId="65447628" sldId="590"/>
            <ac:spMk id="113" creationId="{679864D5-78E1-3D8A-9B0E-56AFD7BF5CDC}"/>
          </ac:spMkLst>
        </pc:spChg>
        <pc:spChg chg="del">
          <ac:chgData name="Bullinger, Marvin" userId="5b54ce5a-dc89-476f-af33-5abd75d5b1e8" providerId="ADAL" clId="{43B71669-8A80-4333-9349-B258A9296B49}" dt="2024-02-27T16:46:20.947" v="1759" actId="478"/>
          <ac:spMkLst>
            <pc:docMk/>
            <pc:sldMk cId="65447628" sldId="590"/>
            <ac:spMk id="114" creationId="{B3365189-7532-CB6D-2995-EFAD4EE2A07F}"/>
          </ac:spMkLst>
        </pc:spChg>
        <pc:spChg chg="del">
          <ac:chgData name="Bullinger, Marvin" userId="5b54ce5a-dc89-476f-af33-5abd75d5b1e8" providerId="ADAL" clId="{43B71669-8A80-4333-9349-B258A9296B49}" dt="2024-02-27T16:46:20.947" v="1758" actId="478"/>
          <ac:spMkLst>
            <pc:docMk/>
            <pc:sldMk cId="65447628" sldId="590"/>
            <ac:spMk id="115" creationId="{479DF4BD-C6E5-7311-7B0E-D637BC474710}"/>
          </ac:spMkLst>
        </pc:spChg>
        <pc:spChg chg="del">
          <ac:chgData name="Bullinger, Marvin" userId="5b54ce5a-dc89-476f-af33-5abd75d5b1e8" providerId="ADAL" clId="{43B71669-8A80-4333-9349-B258A9296B49}" dt="2024-02-27T16:46:20.947" v="1757" actId="478"/>
          <ac:spMkLst>
            <pc:docMk/>
            <pc:sldMk cId="65447628" sldId="590"/>
            <ac:spMk id="116" creationId="{1D6EBF72-8C1F-8334-82C2-BE81F7D3797B}"/>
          </ac:spMkLst>
        </pc:spChg>
        <pc:spChg chg="del">
          <ac:chgData name="Bullinger, Marvin" userId="5b54ce5a-dc89-476f-af33-5abd75d5b1e8" providerId="ADAL" clId="{43B71669-8A80-4333-9349-B258A9296B49}" dt="2024-02-27T16:46:20.947" v="1756" actId="478"/>
          <ac:spMkLst>
            <pc:docMk/>
            <pc:sldMk cId="65447628" sldId="590"/>
            <ac:spMk id="117" creationId="{B24B85F1-E96C-7335-54D0-9E8B0492B696}"/>
          </ac:spMkLst>
        </pc:spChg>
        <pc:spChg chg="del">
          <ac:chgData name="Bullinger, Marvin" userId="5b54ce5a-dc89-476f-af33-5abd75d5b1e8" providerId="ADAL" clId="{43B71669-8A80-4333-9349-B258A9296B49}" dt="2024-02-27T16:46:20.947" v="1755" actId="478"/>
          <ac:spMkLst>
            <pc:docMk/>
            <pc:sldMk cId="65447628" sldId="590"/>
            <ac:spMk id="118" creationId="{5C2308E3-F6E6-F0AA-01EC-A02A41D90F39}"/>
          </ac:spMkLst>
        </pc:spChg>
        <pc:spChg chg="add">
          <ac:chgData name="Bullinger, Marvin" userId="5b54ce5a-dc89-476f-af33-5abd75d5b1e8" providerId="ADAL" clId="{43B71669-8A80-4333-9349-B258A9296B49}" dt="2024-02-27T16:53:49.050" v="3382"/>
          <ac:spMkLst>
            <pc:docMk/>
            <pc:sldMk cId="65447628" sldId="590"/>
            <ac:spMk id="119" creationId="{6D3991AA-A149-6911-1700-5C3C6562EC4C}"/>
          </ac:spMkLst>
        </pc:spChg>
        <pc:spChg chg="add">
          <ac:chgData name="Bullinger, Marvin" userId="5b54ce5a-dc89-476f-af33-5abd75d5b1e8" providerId="ADAL" clId="{43B71669-8A80-4333-9349-B258A9296B49}" dt="2024-02-27T16:53:49.050" v="3382"/>
          <ac:spMkLst>
            <pc:docMk/>
            <pc:sldMk cId="65447628" sldId="590"/>
            <ac:spMk id="120" creationId="{7A328624-CFA6-A364-BC69-8A5F94A88CA7}"/>
          </ac:spMkLst>
        </pc:spChg>
        <pc:spChg chg="add">
          <ac:chgData name="Bullinger, Marvin" userId="5b54ce5a-dc89-476f-af33-5abd75d5b1e8" providerId="ADAL" clId="{43B71669-8A80-4333-9349-B258A9296B49}" dt="2024-02-27T16:53:49.050" v="3382"/>
          <ac:spMkLst>
            <pc:docMk/>
            <pc:sldMk cId="65447628" sldId="590"/>
            <ac:spMk id="121" creationId="{2C2E2D94-B067-AE29-19C9-44E9BF266DD8}"/>
          </ac:spMkLst>
        </pc:spChg>
        <pc:spChg chg="add">
          <ac:chgData name="Bullinger, Marvin" userId="5b54ce5a-dc89-476f-af33-5abd75d5b1e8" providerId="ADAL" clId="{43B71669-8A80-4333-9349-B258A9296B49}" dt="2024-02-27T16:53:49.050" v="3382"/>
          <ac:spMkLst>
            <pc:docMk/>
            <pc:sldMk cId="65447628" sldId="590"/>
            <ac:spMk id="122" creationId="{10643334-6B19-44C9-9D74-119D3F7A6F7C}"/>
          </ac:spMkLst>
        </pc:spChg>
        <pc:spChg chg="add">
          <ac:chgData name="Bullinger, Marvin" userId="5b54ce5a-dc89-476f-af33-5abd75d5b1e8" providerId="ADAL" clId="{43B71669-8A80-4333-9349-B258A9296B49}" dt="2024-02-27T16:53:49.050" v="3382"/>
          <ac:spMkLst>
            <pc:docMk/>
            <pc:sldMk cId="65447628" sldId="590"/>
            <ac:spMk id="123" creationId="{917C7269-618E-DEEB-B484-42FC751118EF}"/>
          </ac:spMkLst>
        </pc:spChg>
        <pc:spChg chg="add">
          <ac:chgData name="Bullinger, Marvin" userId="5b54ce5a-dc89-476f-af33-5abd75d5b1e8" providerId="ADAL" clId="{43B71669-8A80-4333-9349-B258A9296B49}" dt="2024-02-27T16:53:49.050" v="3382"/>
          <ac:spMkLst>
            <pc:docMk/>
            <pc:sldMk cId="65447628" sldId="590"/>
            <ac:spMk id="124" creationId="{7E161BA0-CEBC-5FE9-4A5C-C46E423D089E}"/>
          </ac:spMkLst>
        </pc:spChg>
        <pc:spChg chg="add">
          <ac:chgData name="Bullinger, Marvin" userId="5b54ce5a-dc89-476f-af33-5abd75d5b1e8" providerId="ADAL" clId="{43B71669-8A80-4333-9349-B258A9296B49}" dt="2024-02-27T16:53:49.050" v="3382"/>
          <ac:spMkLst>
            <pc:docMk/>
            <pc:sldMk cId="65447628" sldId="590"/>
            <ac:spMk id="125" creationId="{D43B9DAB-E317-7A12-6789-30C2C9940C01}"/>
          </ac:spMkLst>
        </pc:spChg>
        <pc:spChg chg="add">
          <ac:chgData name="Bullinger, Marvin" userId="5b54ce5a-dc89-476f-af33-5abd75d5b1e8" providerId="ADAL" clId="{43B71669-8A80-4333-9349-B258A9296B49}" dt="2024-02-27T16:53:49.050" v="3382"/>
          <ac:spMkLst>
            <pc:docMk/>
            <pc:sldMk cId="65447628" sldId="590"/>
            <ac:spMk id="126" creationId="{34E7F4C9-2051-63DE-D877-D763CE6FFD60}"/>
          </ac:spMkLst>
        </pc:spChg>
        <pc:spChg chg="add">
          <ac:chgData name="Bullinger, Marvin" userId="5b54ce5a-dc89-476f-af33-5abd75d5b1e8" providerId="ADAL" clId="{43B71669-8A80-4333-9349-B258A9296B49}" dt="2024-02-27T16:53:49.050" v="3382"/>
          <ac:spMkLst>
            <pc:docMk/>
            <pc:sldMk cId="65447628" sldId="590"/>
            <ac:spMk id="127" creationId="{5EF5BA4C-B8AE-DAD8-7607-A4CFB6940F32}"/>
          </ac:spMkLst>
        </pc:spChg>
        <pc:spChg chg="add">
          <ac:chgData name="Bullinger, Marvin" userId="5b54ce5a-dc89-476f-af33-5abd75d5b1e8" providerId="ADAL" clId="{43B71669-8A80-4333-9349-B258A9296B49}" dt="2024-02-27T16:53:49.050" v="3382"/>
          <ac:spMkLst>
            <pc:docMk/>
            <pc:sldMk cId="65447628" sldId="590"/>
            <ac:spMk id="128" creationId="{9D4DF3B9-6A78-E701-34B7-79ED301202BC}"/>
          </ac:spMkLst>
        </pc:spChg>
        <pc:spChg chg="add">
          <ac:chgData name="Bullinger, Marvin" userId="5b54ce5a-dc89-476f-af33-5abd75d5b1e8" providerId="ADAL" clId="{43B71669-8A80-4333-9349-B258A9296B49}" dt="2024-02-27T16:53:49.050" v="3382"/>
          <ac:spMkLst>
            <pc:docMk/>
            <pc:sldMk cId="65447628" sldId="590"/>
            <ac:spMk id="129" creationId="{57EA32F4-1C92-2AD3-6366-D55642F53CD1}"/>
          </ac:spMkLst>
        </pc:spChg>
        <pc:spChg chg="add">
          <ac:chgData name="Bullinger, Marvin" userId="5b54ce5a-dc89-476f-af33-5abd75d5b1e8" providerId="ADAL" clId="{43B71669-8A80-4333-9349-B258A9296B49}" dt="2024-02-27T16:53:49.050" v="3382"/>
          <ac:spMkLst>
            <pc:docMk/>
            <pc:sldMk cId="65447628" sldId="590"/>
            <ac:spMk id="130" creationId="{E72AF086-E1D4-06ED-D804-1639200CD45A}"/>
          </ac:spMkLst>
        </pc:spChg>
        <pc:spChg chg="add">
          <ac:chgData name="Bullinger, Marvin" userId="5b54ce5a-dc89-476f-af33-5abd75d5b1e8" providerId="ADAL" clId="{43B71669-8A80-4333-9349-B258A9296B49}" dt="2024-02-27T16:53:49.050" v="3382"/>
          <ac:spMkLst>
            <pc:docMk/>
            <pc:sldMk cId="65447628" sldId="590"/>
            <ac:spMk id="131" creationId="{BE88E2FC-F433-7D81-203D-05ABA2BA4C2C}"/>
          </ac:spMkLst>
        </pc:spChg>
        <pc:spChg chg="add">
          <ac:chgData name="Bullinger, Marvin" userId="5b54ce5a-dc89-476f-af33-5abd75d5b1e8" providerId="ADAL" clId="{43B71669-8A80-4333-9349-B258A9296B49}" dt="2024-02-27T16:53:49.050" v="3382"/>
          <ac:spMkLst>
            <pc:docMk/>
            <pc:sldMk cId="65447628" sldId="590"/>
            <ac:spMk id="132" creationId="{F64D5D42-0CE5-E5A9-A630-FE25460A73E9}"/>
          </ac:spMkLst>
        </pc:spChg>
        <pc:spChg chg="add">
          <ac:chgData name="Bullinger, Marvin" userId="5b54ce5a-dc89-476f-af33-5abd75d5b1e8" providerId="ADAL" clId="{43B71669-8A80-4333-9349-B258A9296B49}" dt="2024-02-27T16:53:49.050" v="3382"/>
          <ac:spMkLst>
            <pc:docMk/>
            <pc:sldMk cId="65447628" sldId="590"/>
            <ac:spMk id="133" creationId="{89F7AEC8-4421-7516-F906-7DB9FD1B6D26}"/>
          </ac:spMkLst>
        </pc:spChg>
        <pc:spChg chg="add">
          <ac:chgData name="Bullinger, Marvin" userId="5b54ce5a-dc89-476f-af33-5abd75d5b1e8" providerId="ADAL" clId="{43B71669-8A80-4333-9349-B258A9296B49}" dt="2024-02-27T16:53:49.050" v="3382"/>
          <ac:spMkLst>
            <pc:docMk/>
            <pc:sldMk cId="65447628" sldId="590"/>
            <ac:spMk id="134" creationId="{82D01F92-5AA2-EA95-CC7D-4516AF99B9AA}"/>
          </ac:spMkLst>
        </pc:spChg>
        <pc:spChg chg="add">
          <ac:chgData name="Bullinger, Marvin" userId="5b54ce5a-dc89-476f-af33-5abd75d5b1e8" providerId="ADAL" clId="{43B71669-8A80-4333-9349-B258A9296B49}" dt="2024-02-27T16:53:49.050" v="3382"/>
          <ac:spMkLst>
            <pc:docMk/>
            <pc:sldMk cId="65447628" sldId="590"/>
            <ac:spMk id="135" creationId="{6DC5384F-04B3-1215-E0EF-D55A535A841C}"/>
          </ac:spMkLst>
        </pc:spChg>
        <pc:spChg chg="add">
          <ac:chgData name="Bullinger, Marvin" userId="5b54ce5a-dc89-476f-af33-5abd75d5b1e8" providerId="ADAL" clId="{43B71669-8A80-4333-9349-B258A9296B49}" dt="2024-02-27T16:53:49.050" v="3382"/>
          <ac:spMkLst>
            <pc:docMk/>
            <pc:sldMk cId="65447628" sldId="590"/>
            <ac:spMk id="136" creationId="{E0ECDDCE-B3E4-03D5-040B-3442B62E6F9D}"/>
          </ac:spMkLst>
        </pc:spChg>
        <pc:spChg chg="add">
          <ac:chgData name="Bullinger, Marvin" userId="5b54ce5a-dc89-476f-af33-5abd75d5b1e8" providerId="ADAL" clId="{43B71669-8A80-4333-9349-B258A9296B49}" dt="2024-02-27T16:53:49.050" v="3382"/>
          <ac:spMkLst>
            <pc:docMk/>
            <pc:sldMk cId="65447628" sldId="590"/>
            <ac:spMk id="137" creationId="{C704478F-9C91-052E-8568-466C7AEE0A24}"/>
          </ac:spMkLst>
        </pc:spChg>
        <pc:spChg chg="add">
          <ac:chgData name="Bullinger, Marvin" userId="5b54ce5a-dc89-476f-af33-5abd75d5b1e8" providerId="ADAL" clId="{43B71669-8A80-4333-9349-B258A9296B49}" dt="2024-02-27T16:53:49.050" v="3382"/>
          <ac:spMkLst>
            <pc:docMk/>
            <pc:sldMk cId="65447628" sldId="590"/>
            <ac:spMk id="138" creationId="{09C3097F-B96C-002B-39AC-7709582102C0}"/>
          </ac:spMkLst>
        </pc:spChg>
        <pc:spChg chg="add">
          <ac:chgData name="Bullinger, Marvin" userId="5b54ce5a-dc89-476f-af33-5abd75d5b1e8" providerId="ADAL" clId="{43B71669-8A80-4333-9349-B258A9296B49}" dt="2024-02-27T16:53:49.050" v="3382"/>
          <ac:spMkLst>
            <pc:docMk/>
            <pc:sldMk cId="65447628" sldId="590"/>
            <ac:spMk id="139" creationId="{D089CB44-2553-1172-948A-6247131D2279}"/>
          </ac:spMkLst>
        </pc:spChg>
        <pc:spChg chg="add">
          <ac:chgData name="Bullinger, Marvin" userId="5b54ce5a-dc89-476f-af33-5abd75d5b1e8" providerId="ADAL" clId="{43B71669-8A80-4333-9349-B258A9296B49}" dt="2024-02-27T16:53:49.050" v="3382"/>
          <ac:spMkLst>
            <pc:docMk/>
            <pc:sldMk cId="65447628" sldId="590"/>
            <ac:spMk id="140" creationId="{4942A606-C548-C8D7-D88A-9938A73D8CA1}"/>
          </ac:spMkLst>
        </pc:spChg>
        <pc:spChg chg="add">
          <ac:chgData name="Bullinger, Marvin" userId="5b54ce5a-dc89-476f-af33-5abd75d5b1e8" providerId="ADAL" clId="{43B71669-8A80-4333-9349-B258A9296B49}" dt="2024-02-27T16:53:49.050" v="3382"/>
          <ac:spMkLst>
            <pc:docMk/>
            <pc:sldMk cId="65447628" sldId="590"/>
            <ac:spMk id="141" creationId="{F1FC01BD-E852-CCC9-0086-A9A22C0C7F24}"/>
          </ac:spMkLst>
        </pc:spChg>
        <pc:spChg chg="add">
          <ac:chgData name="Bullinger, Marvin" userId="5b54ce5a-dc89-476f-af33-5abd75d5b1e8" providerId="ADAL" clId="{43B71669-8A80-4333-9349-B258A9296B49}" dt="2024-02-27T16:53:49.050" v="3382"/>
          <ac:spMkLst>
            <pc:docMk/>
            <pc:sldMk cId="65447628" sldId="590"/>
            <ac:spMk id="142" creationId="{557A0D86-1EAE-45EA-4531-9F9F61ECBB22}"/>
          </ac:spMkLst>
        </pc:spChg>
        <pc:spChg chg="add">
          <ac:chgData name="Bullinger, Marvin" userId="5b54ce5a-dc89-476f-af33-5abd75d5b1e8" providerId="ADAL" clId="{43B71669-8A80-4333-9349-B258A9296B49}" dt="2024-02-27T16:53:49.050" v="3382"/>
          <ac:spMkLst>
            <pc:docMk/>
            <pc:sldMk cId="65447628" sldId="590"/>
            <ac:spMk id="143" creationId="{C226D5C2-C248-48BA-110E-AC56FB70151F}"/>
          </ac:spMkLst>
        </pc:spChg>
        <pc:spChg chg="add">
          <ac:chgData name="Bullinger, Marvin" userId="5b54ce5a-dc89-476f-af33-5abd75d5b1e8" providerId="ADAL" clId="{43B71669-8A80-4333-9349-B258A9296B49}" dt="2024-02-27T16:53:49.050" v="3382"/>
          <ac:spMkLst>
            <pc:docMk/>
            <pc:sldMk cId="65447628" sldId="590"/>
            <ac:spMk id="144" creationId="{52DE38A5-6C02-1097-FD35-548593A150B7}"/>
          </ac:spMkLst>
        </pc:spChg>
        <pc:spChg chg="add">
          <ac:chgData name="Bullinger, Marvin" userId="5b54ce5a-dc89-476f-af33-5abd75d5b1e8" providerId="ADAL" clId="{43B71669-8A80-4333-9349-B258A9296B49}" dt="2024-02-27T16:53:49.050" v="3382"/>
          <ac:spMkLst>
            <pc:docMk/>
            <pc:sldMk cId="65447628" sldId="590"/>
            <ac:spMk id="145" creationId="{5603B29F-C1ED-A887-EDC2-1D95768A4014}"/>
          </ac:spMkLst>
        </pc:spChg>
        <pc:spChg chg="add">
          <ac:chgData name="Bullinger, Marvin" userId="5b54ce5a-dc89-476f-af33-5abd75d5b1e8" providerId="ADAL" clId="{43B71669-8A80-4333-9349-B258A9296B49}" dt="2024-02-27T16:53:49.050" v="3382"/>
          <ac:spMkLst>
            <pc:docMk/>
            <pc:sldMk cId="65447628" sldId="590"/>
            <ac:spMk id="146" creationId="{478FDDD4-436E-54F0-1A0A-1FB73963E326}"/>
          </ac:spMkLst>
        </pc:spChg>
        <pc:spChg chg="add">
          <ac:chgData name="Bullinger, Marvin" userId="5b54ce5a-dc89-476f-af33-5abd75d5b1e8" providerId="ADAL" clId="{43B71669-8A80-4333-9349-B258A9296B49}" dt="2024-02-27T16:53:49.050" v="3382"/>
          <ac:spMkLst>
            <pc:docMk/>
            <pc:sldMk cId="65447628" sldId="590"/>
            <ac:spMk id="147" creationId="{4DB241B5-CE70-4205-A532-158E27D1D546}"/>
          </ac:spMkLst>
        </pc:spChg>
        <pc:spChg chg="add">
          <ac:chgData name="Bullinger, Marvin" userId="5b54ce5a-dc89-476f-af33-5abd75d5b1e8" providerId="ADAL" clId="{43B71669-8A80-4333-9349-B258A9296B49}" dt="2024-02-27T16:53:49.050" v="3382"/>
          <ac:spMkLst>
            <pc:docMk/>
            <pc:sldMk cId="65447628" sldId="590"/>
            <ac:spMk id="148" creationId="{7DFBA20F-B2DE-CAE0-63F2-BDC96CB0EA15}"/>
          </ac:spMkLst>
        </pc:spChg>
        <pc:spChg chg="add">
          <ac:chgData name="Bullinger, Marvin" userId="5b54ce5a-dc89-476f-af33-5abd75d5b1e8" providerId="ADAL" clId="{43B71669-8A80-4333-9349-B258A9296B49}" dt="2024-02-27T16:53:49.050" v="3382"/>
          <ac:spMkLst>
            <pc:docMk/>
            <pc:sldMk cId="65447628" sldId="590"/>
            <ac:spMk id="149" creationId="{41CC7F53-EFDE-38A4-DA2F-6017D64AA4D4}"/>
          </ac:spMkLst>
        </pc:spChg>
        <pc:spChg chg="add">
          <ac:chgData name="Bullinger, Marvin" userId="5b54ce5a-dc89-476f-af33-5abd75d5b1e8" providerId="ADAL" clId="{43B71669-8A80-4333-9349-B258A9296B49}" dt="2024-02-27T16:53:49.050" v="3382"/>
          <ac:spMkLst>
            <pc:docMk/>
            <pc:sldMk cId="65447628" sldId="590"/>
            <ac:spMk id="150" creationId="{0F031E31-8C53-FF8F-EFB1-0BC7C1AD8607}"/>
          </ac:spMkLst>
        </pc:spChg>
        <pc:spChg chg="add">
          <ac:chgData name="Bullinger, Marvin" userId="5b54ce5a-dc89-476f-af33-5abd75d5b1e8" providerId="ADAL" clId="{43B71669-8A80-4333-9349-B258A9296B49}" dt="2024-02-27T16:53:49.050" v="3382"/>
          <ac:spMkLst>
            <pc:docMk/>
            <pc:sldMk cId="65447628" sldId="590"/>
            <ac:spMk id="151" creationId="{8BA5C6F6-F266-A5B3-8895-FB1BE6284BF6}"/>
          </ac:spMkLst>
        </pc:spChg>
        <pc:spChg chg="add">
          <ac:chgData name="Bullinger, Marvin" userId="5b54ce5a-dc89-476f-af33-5abd75d5b1e8" providerId="ADAL" clId="{43B71669-8A80-4333-9349-B258A9296B49}" dt="2024-02-27T16:53:49.050" v="3382"/>
          <ac:spMkLst>
            <pc:docMk/>
            <pc:sldMk cId="65447628" sldId="590"/>
            <ac:spMk id="152" creationId="{56BE8EBC-90F0-57C0-B7A9-9927FD7911B1}"/>
          </ac:spMkLst>
        </pc:spChg>
        <pc:spChg chg="add">
          <ac:chgData name="Bullinger, Marvin" userId="5b54ce5a-dc89-476f-af33-5abd75d5b1e8" providerId="ADAL" clId="{43B71669-8A80-4333-9349-B258A9296B49}" dt="2024-02-27T16:53:49.050" v="3382"/>
          <ac:spMkLst>
            <pc:docMk/>
            <pc:sldMk cId="65447628" sldId="590"/>
            <ac:spMk id="153" creationId="{4FB12B50-F27B-9E88-A07D-1C04205D84CF}"/>
          </ac:spMkLst>
        </pc:spChg>
        <pc:spChg chg="add">
          <ac:chgData name="Bullinger, Marvin" userId="5b54ce5a-dc89-476f-af33-5abd75d5b1e8" providerId="ADAL" clId="{43B71669-8A80-4333-9349-B258A9296B49}" dt="2024-02-27T16:53:49.050" v="3382"/>
          <ac:spMkLst>
            <pc:docMk/>
            <pc:sldMk cId="65447628" sldId="590"/>
            <ac:spMk id="154" creationId="{9C789EC2-8EC4-E0A5-7634-AABF864DB949}"/>
          </ac:spMkLst>
        </pc:spChg>
        <pc:spChg chg="add">
          <ac:chgData name="Bullinger, Marvin" userId="5b54ce5a-dc89-476f-af33-5abd75d5b1e8" providerId="ADAL" clId="{43B71669-8A80-4333-9349-B258A9296B49}" dt="2024-02-27T16:53:49.050" v="3382"/>
          <ac:spMkLst>
            <pc:docMk/>
            <pc:sldMk cId="65447628" sldId="590"/>
            <ac:spMk id="155" creationId="{C13B2260-277A-28AF-CFBD-B012F65E43CC}"/>
          </ac:spMkLst>
        </pc:spChg>
        <pc:spChg chg="add del mod">
          <ac:chgData name="Bullinger, Marvin" userId="5b54ce5a-dc89-476f-af33-5abd75d5b1e8" providerId="ADAL" clId="{43B71669-8A80-4333-9349-B258A9296B49}" dt="2024-02-27T16:53:49.050" v="3382"/>
          <ac:spMkLst>
            <pc:docMk/>
            <pc:sldMk cId="65447628" sldId="590"/>
            <ac:spMk id="157" creationId="{88985FDA-59F4-DAE1-C1AA-292F5A303A43}"/>
          </ac:spMkLst>
        </pc:spChg>
        <pc:spChg chg="mod replST delST">
          <ac:chgData name="Bullinger, Marvin" userId="5b54ce5a-dc89-476f-af33-5abd75d5b1e8" providerId="ADAL" clId="{43B71669-8A80-4333-9349-B258A9296B49}" dt="2024-02-27T16:53:49.050" v="3382"/>
          <ac:spMkLst>
            <pc:docMk/>
            <pc:sldMk cId="65447628" sldId="590"/>
            <ac:spMk id="158" creationId="{32CFBF0E-77D7-7772-C95E-C3E5F2EDEDB5}"/>
          </ac:spMkLst>
        </pc:spChg>
        <pc:spChg chg="add del">
          <ac:chgData name="Bullinger, Marvin" userId="5b54ce5a-dc89-476f-af33-5abd75d5b1e8" providerId="ADAL" clId="{43B71669-8A80-4333-9349-B258A9296B49}" dt="2024-02-27T16:53:49.050" v="3382"/>
          <ac:spMkLst>
            <pc:docMk/>
            <pc:sldMk cId="65447628" sldId="590"/>
            <ac:spMk id="159" creationId="{7D6B3B27-48A3-0FD5-31BD-964406168209}"/>
          </ac:spMkLst>
        </pc:spChg>
        <pc:spChg chg="add del">
          <ac:chgData name="Bullinger, Marvin" userId="5b54ce5a-dc89-476f-af33-5abd75d5b1e8" providerId="ADAL" clId="{43B71669-8A80-4333-9349-B258A9296B49}" dt="2024-02-27T16:53:49.050" v="3382"/>
          <ac:spMkLst>
            <pc:docMk/>
            <pc:sldMk cId="65447628" sldId="590"/>
            <ac:spMk id="160" creationId="{CBB776C9-5069-6649-8F92-D67D5C6423B9}"/>
          </ac:spMkLst>
        </pc:spChg>
        <pc:spChg chg="add del">
          <ac:chgData name="Bullinger, Marvin" userId="5b54ce5a-dc89-476f-af33-5abd75d5b1e8" providerId="ADAL" clId="{43B71669-8A80-4333-9349-B258A9296B49}" dt="2024-02-27T16:53:49.050" v="3382"/>
          <ac:spMkLst>
            <pc:docMk/>
            <pc:sldMk cId="65447628" sldId="590"/>
            <ac:spMk id="161" creationId="{85E02649-CA92-0023-762C-B8B4F952D65D}"/>
          </ac:spMkLst>
        </pc:spChg>
        <pc:spChg chg="add del">
          <ac:chgData name="Bullinger, Marvin" userId="5b54ce5a-dc89-476f-af33-5abd75d5b1e8" providerId="ADAL" clId="{43B71669-8A80-4333-9349-B258A9296B49}" dt="2024-02-27T16:53:49.050" v="3382"/>
          <ac:spMkLst>
            <pc:docMk/>
            <pc:sldMk cId="65447628" sldId="590"/>
            <ac:spMk id="162" creationId="{820111EE-C4BD-9FDA-5D15-41F8B31AE800}"/>
          </ac:spMkLst>
        </pc:spChg>
        <pc:spChg chg="add del">
          <ac:chgData name="Bullinger, Marvin" userId="5b54ce5a-dc89-476f-af33-5abd75d5b1e8" providerId="ADAL" clId="{43B71669-8A80-4333-9349-B258A9296B49}" dt="2024-02-27T16:53:49.050" v="3382"/>
          <ac:spMkLst>
            <pc:docMk/>
            <pc:sldMk cId="65447628" sldId="590"/>
            <ac:spMk id="163" creationId="{42F77361-8DBF-4730-CB53-025CBD4CF1A5}"/>
          </ac:spMkLst>
        </pc:spChg>
        <pc:spChg chg="add del">
          <ac:chgData name="Bullinger, Marvin" userId="5b54ce5a-dc89-476f-af33-5abd75d5b1e8" providerId="ADAL" clId="{43B71669-8A80-4333-9349-B258A9296B49}" dt="2024-02-27T16:53:49.050" v="3382"/>
          <ac:spMkLst>
            <pc:docMk/>
            <pc:sldMk cId="65447628" sldId="590"/>
            <ac:spMk id="164" creationId="{B44F4D0C-E123-1592-3427-3EB581A36FB0}"/>
          </ac:spMkLst>
        </pc:spChg>
        <pc:spChg chg="add del">
          <ac:chgData name="Bullinger, Marvin" userId="5b54ce5a-dc89-476f-af33-5abd75d5b1e8" providerId="ADAL" clId="{43B71669-8A80-4333-9349-B258A9296B49}" dt="2024-02-27T16:53:49.050" v="3382"/>
          <ac:spMkLst>
            <pc:docMk/>
            <pc:sldMk cId="65447628" sldId="590"/>
            <ac:spMk id="165" creationId="{043ABEA5-7B45-A2F5-4859-DCE4A7A53158}"/>
          </ac:spMkLst>
        </pc:spChg>
        <pc:spChg chg="add del">
          <ac:chgData name="Bullinger, Marvin" userId="5b54ce5a-dc89-476f-af33-5abd75d5b1e8" providerId="ADAL" clId="{43B71669-8A80-4333-9349-B258A9296B49}" dt="2024-02-27T16:53:49.050" v="3382"/>
          <ac:spMkLst>
            <pc:docMk/>
            <pc:sldMk cId="65447628" sldId="590"/>
            <ac:spMk id="166" creationId="{893F3DFD-E46B-8521-9E73-70B1D25C1579}"/>
          </ac:spMkLst>
        </pc:spChg>
        <pc:spChg chg="add del">
          <ac:chgData name="Bullinger, Marvin" userId="5b54ce5a-dc89-476f-af33-5abd75d5b1e8" providerId="ADAL" clId="{43B71669-8A80-4333-9349-B258A9296B49}" dt="2024-02-27T16:53:49.050" v="3382"/>
          <ac:spMkLst>
            <pc:docMk/>
            <pc:sldMk cId="65447628" sldId="590"/>
            <ac:spMk id="167" creationId="{546503F7-B405-73BE-AC21-EA18D8E39BF2}"/>
          </ac:spMkLst>
        </pc:spChg>
        <pc:spChg chg="add del">
          <ac:chgData name="Bullinger, Marvin" userId="5b54ce5a-dc89-476f-af33-5abd75d5b1e8" providerId="ADAL" clId="{43B71669-8A80-4333-9349-B258A9296B49}" dt="2024-02-27T16:53:49.050" v="3382"/>
          <ac:spMkLst>
            <pc:docMk/>
            <pc:sldMk cId="65447628" sldId="590"/>
            <ac:spMk id="168" creationId="{7C1F4D16-DE56-849F-5743-A761367E4C0D}"/>
          </ac:spMkLst>
        </pc:spChg>
        <pc:spChg chg="add del">
          <ac:chgData name="Bullinger, Marvin" userId="5b54ce5a-dc89-476f-af33-5abd75d5b1e8" providerId="ADAL" clId="{43B71669-8A80-4333-9349-B258A9296B49}" dt="2024-02-27T16:53:49.050" v="3382"/>
          <ac:spMkLst>
            <pc:docMk/>
            <pc:sldMk cId="65447628" sldId="590"/>
            <ac:spMk id="169" creationId="{47790C4C-750E-81B4-793C-7603F6486F9B}"/>
          </ac:spMkLst>
        </pc:spChg>
        <pc:spChg chg="add del">
          <ac:chgData name="Bullinger, Marvin" userId="5b54ce5a-dc89-476f-af33-5abd75d5b1e8" providerId="ADAL" clId="{43B71669-8A80-4333-9349-B258A9296B49}" dt="2024-02-27T16:53:49.050" v="3382"/>
          <ac:spMkLst>
            <pc:docMk/>
            <pc:sldMk cId="65447628" sldId="590"/>
            <ac:spMk id="170" creationId="{2DBDA1CD-B7DD-BFE7-0E2A-9DFEC365AE61}"/>
          </ac:spMkLst>
        </pc:spChg>
        <pc:spChg chg="add del">
          <ac:chgData name="Bullinger, Marvin" userId="5b54ce5a-dc89-476f-af33-5abd75d5b1e8" providerId="ADAL" clId="{43B71669-8A80-4333-9349-B258A9296B49}" dt="2024-02-27T16:53:49.050" v="3382"/>
          <ac:spMkLst>
            <pc:docMk/>
            <pc:sldMk cId="65447628" sldId="590"/>
            <ac:spMk id="171" creationId="{608003C7-2D12-6AF1-12A8-75E5816699E3}"/>
          </ac:spMkLst>
        </pc:spChg>
        <pc:spChg chg="add del">
          <ac:chgData name="Bullinger, Marvin" userId="5b54ce5a-dc89-476f-af33-5abd75d5b1e8" providerId="ADAL" clId="{43B71669-8A80-4333-9349-B258A9296B49}" dt="2024-02-27T16:53:49.050" v="3382"/>
          <ac:spMkLst>
            <pc:docMk/>
            <pc:sldMk cId="65447628" sldId="590"/>
            <ac:spMk id="172" creationId="{08894E98-0F7E-48C6-CA80-20AA8B028919}"/>
          </ac:spMkLst>
        </pc:spChg>
        <pc:spChg chg="add del">
          <ac:chgData name="Bullinger, Marvin" userId="5b54ce5a-dc89-476f-af33-5abd75d5b1e8" providerId="ADAL" clId="{43B71669-8A80-4333-9349-B258A9296B49}" dt="2024-02-27T16:53:49.050" v="3382"/>
          <ac:spMkLst>
            <pc:docMk/>
            <pc:sldMk cId="65447628" sldId="590"/>
            <ac:spMk id="173" creationId="{2BE3680F-17EF-A34F-27E1-E625405F6AAA}"/>
          </ac:spMkLst>
        </pc:spChg>
        <pc:spChg chg="add del">
          <ac:chgData name="Bullinger, Marvin" userId="5b54ce5a-dc89-476f-af33-5abd75d5b1e8" providerId="ADAL" clId="{43B71669-8A80-4333-9349-B258A9296B49}" dt="2024-02-27T16:53:49.050" v="3382"/>
          <ac:spMkLst>
            <pc:docMk/>
            <pc:sldMk cId="65447628" sldId="590"/>
            <ac:spMk id="174" creationId="{2ECAC402-B2BA-E0C9-FC2D-1BB6CE019F24}"/>
          </ac:spMkLst>
        </pc:spChg>
        <pc:spChg chg="add del">
          <ac:chgData name="Bullinger, Marvin" userId="5b54ce5a-dc89-476f-af33-5abd75d5b1e8" providerId="ADAL" clId="{43B71669-8A80-4333-9349-B258A9296B49}" dt="2024-02-27T16:53:49.050" v="3382"/>
          <ac:spMkLst>
            <pc:docMk/>
            <pc:sldMk cId="65447628" sldId="590"/>
            <ac:spMk id="175" creationId="{865E8C89-DA4E-AC22-470F-D69F22C411D5}"/>
          </ac:spMkLst>
        </pc:spChg>
        <pc:spChg chg="add del">
          <ac:chgData name="Bullinger, Marvin" userId="5b54ce5a-dc89-476f-af33-5abd75d5b1e8" providerId="ADAL" clId="{43B71669-8A80-4333-9349-B258A9296B49}" dt="2024-02-27T16:53:49.050" v="3382"/>
          <ac:spMkLst>
            <pc:docMk/>
            <pc:sldMk cId="65447628" sldId="590"/>
            <ac:spMk id="176" creationId="{12D11758-EAEF-98E4-0827-7405AA4CABA9}"/>
          </ac:spMkLst>
        </pc:spChg>
        <pc:spChg chg="add del">
          <ac:chgData name="Bullinger, Marvin" userId="5b54ce5a-dc89-476f-af33-5abd75d5b1e8" providerId="ADAL" clId="{43B71669-8A80-4333-9349-B258A9296B49}" dt="2024-02-27T16:53:49.050" v="3382"/>
          <ac:spMkLst>
            <pc:docMk/>
            <pc:sldMk cId="65447628" sldId="590"/>
            <ac:spMk id="177" creationId="{73484DF5-2D5D-D576-E6A9-F62FDDAF7C91}"/>
          </ac:spMkLst>
        </pc:spChg>
        <pc:spChg chg="add del">
          <ac:chgData name="Bullinger, Marvin" userId="5b54ce5a-dc89-476f-af33-5abd75d5b1e8" providerId="ADAL" clId="{43B71669-8A80-4333-9349-B258A9296B49}" dt="2024-02-27T16:53:49.050" v="3382"/>
          <ac:spMkLst>
            <pc:docMk/>
            <pc:sldMk cId="65447628" sldId="590"/>
            <ac:spMk id="178" creationId="{A19CA248-5FEC-3955-62FE-5E1E331D7A19}"/>
          </ac:spMkLst>
        </pc:spChg>
        <pc:spChg chg="add del">
          <ac:chgData name="Bullinger, Marvin" userId="5b54ce5a-dc89-476f-af33-5abd75d5b1e8" providerId="ADAL" clId="{43B71669-8A80-4333-9349-B258A9296B49}" dt="2024-02-27T16:53:49.050" v="3382"/>
          <ac:spMkLst>
            <pc:docMk/>
            <pc:sldMk cId="65447628" sldId="590"/>
            <ac:spMk id="179" creationId="{155398A4-9E19-3A95-1E36-7C29DE6F22A8}"/>
          </ac:spMkLst>
        </pc:spChg>
        <pc:spChg chg="add del">
          <ac:chgData name="Bullinger, Marvin" userId="5b54ce5a-dc89-476f-af33-5abd75d5b1e8" providerId="ADAL" clId="{43B71669-8A80-4333-9349-B258A9296B49}" dt="2024-02-27T16:53:49.050" v="3382"/>
          <ac:spMkLst>
            <pc:docMk/>
            <pc:sldMk cId="65447628" sldId="590"/>
            <ac:spMk id="180" creationId="{21ECF791-7E49-B1DF-FEBC-67AC486895F7}"/>
          </ac:spMkLst>
        </pc:spChg>
        <pc:spChg chg="add del">
          <ac:chgData name="Bullinger, Marvin" userId="5b54ce5a-dc89-476f-af33-5abd75d5b1e8" providerId="ADAL" clId="{43B71669-8A80-4333-9349-B258A9296B49}" dt="2024-02-27T16:53:49.050" v="3382"/>
          <ac:spMkLst>
            <pc:docMk/>
            <pc:sldMk cId="65447628" sldId="590"/>
            <ac:spMk id="181" creationId="{AD8C48C3-5198-BCD8-0D99-392ED43FFAF3}"/>
          </ac:spMkLst>
        </pc:spChg>
        <pc:spChg chg="add del">
          <ac:chgData name="Bullinger, Marvin" userId="5b54ce5a-dc89-476f-af33-5abd75d5b1e8" providerId="ADAL" clId="{43B71669-8A80-4333-9349-B258A9296B49}" dt="2024-02-27T16:53:49.050" v="3382"/>
          <ac:spMkLst>
            <pc:docMk/>
            <pc:sldMk cId="65447628" sldId="590"/>
            <ac:spMk id="182" creationId="{76AA993B-1B6E-6BEC-B0D9-53214A8881CD}"/>
          </ac:spMkLst>
        </pc:spChg>
        <pc:spChg chg="add del">
          <ac:chgData name="Bullinger, Marvin" userId="5b54ce5a-dc89-476f-af33-5abd75d5b1e8" providerId="ADAL" clId="{43B71669-8A80-4333-9349-B258A9296B49}" dt="2024-02-27T16:53:49.050" v="3382"/>
          <ac:spMkLst>
            <pc:docMk/>
            <pc:sldMk cId="65447628" sldId="590"/>
            <ac:spMk id="183" creationId="{F7A12E8D-69E4-B1DA-C195-0AF637577C10}"/>
          </ac:spMkLst>
        </pc:spChg>
        <pc:spChg chg="add del">
          <ac:chgData name="Bullinger, Marvin" userId="5b54ce5a-dc89-476f-af33-5abd75d5b1e8" providerId="ADAL" clId="{43B71669-8A80-4333-9349-B258A9296B49}" dt="2024-02-27T16:53:49.050" v="3382"/>
          <ac:spMkLst>
            <pc:docMk/>
            <pc:sldMk cId="65447628" sldId="590"/>
            <ac:spMk id="184" creationId="{98103FB2-B20C-FB48-508A-01BDECF090CB}"/>
          </ac:spMkLst>
        </pc:spChg>
        <pc:spChg chg="add del">
          <ac:chgData name="Bullinger, Marvin" userId="5b54ce5a-dc89-476f-af33-5abd75d5b1e8" providerId="ADAL" clId="{43B71669-8A80-4333-9349-B258A9296B49}" dt="2024-02-27T16:53:49.050" v="3382"/>
          <ac:spMkLst>
            <pc:docMk/>
            <pc:sldMk cId="65447628" sldId="590"/>
            <ac:spMk id="185" creationId="{C952A9F5-F7FA-B26E-4FE1-E8EDEA8B0A12}"/>
          </ac:spMkLst>
        </pc:spChg>
        <pc:spChg chg="add del">
          <ac:chgData name="Bullinger, Marvin" userId="5b54ce5a-dc89-476f-af33-5abd75d5b1e8" providerId="ADAL" clId="{43B71669-8A80-4333-9349-B258A9296B49}" dt="2024-02-27T16:53:49.050" v="3382"/>
          <ac:spMkLst>
            <pc:docMk/>
            <pc:sldMk cId="65447628" sldId="590"/>
            <ac:spMk id="186" creationId="{E29344EA-DE46-8822-9D35-71B242B15F0C}"/>
          </ac:spMkLst>
        </pc:spChg>
        <pc:spChg chg="add del">
          <ac:chgData name="Bullinger, Marvin" userId="5b54ce5a-dc89-476f-af33-5abd75d5b1e8" providerId="ADAL" clId="{43B71669-8A80-4333-9349-B258A9296B49}" dt="2024-02-27T16:53:49.050" v="3382"/>
          <ac:spMkLst>
            <pc:docMk/>
            <pc:sldMk cId="65447628" sldId="590"/>
            <ac:spMk id="187" creationId="{7C00B81D-9D25-E533-1BA0-6C622F83400E}"/>
          </ac:spMkLst>
        </pc:spChg>
        <pc:spChg chg="add del">
          <ac:chgData name="Bullinger, Marvin" userId="5b54ce5a-dc89-476f-af33-5abd75d5b1e8" providerId="ADAL" clId="{43B71669-8A80-4333-9349-B258A9296B49}" dt="2024-02-27T16:53:49.050" v="3382"/>
          <ac:spMkLst>
            <pc:docMk/>
            <pc:sldMk cId="65447628" sldId="590"/>
            <ac:spMk id="188" creationId="{F6F04F0E-7D98-E264-C84D-1D0C03DB5903}"/>
          </ac:spMkLst>
        </pc:spChg>
        <pc:spChg chg="add del">
          <ac:chgData name="Bullinger, Marvin" userId="5b54ce5a-dc89-476f-af33-5abd75d5b1e8" providerId="ADAL" clId="{43B71669-8A80-4333-9349-B258A9296B49}" dt="2024-02-27T16:53:49.050" v="3382"/>
          <ac:spMkLst>
            <pc:docMk/>
            <pc:sldMk cId="65447628" sldId="590"/>
            <ac:spMk id="189" creationId="{4C03CAC2-7F8B-C1A4-EFDF-E315AA59D3CB}"/>
          </ac:spMkLst>
        </pc:spChg>
        <pc:spChg chg="add del">
          <ac:chgData name="Bullinger, Marvin" userId="5b54ce5a-dc89-476f-af33-5abd75d5b1e8" providerId="ADAL" clId="{43B71669-8A80-4333-9349-B258A9296B49}" dt="2024-02-27T16:53:49.050" v="3382"/>
          <ac:spMkLst>
            <pc:docMk/>
            <pc:sldMk cId="65447628" sldId="590"/>
            <ac:spMk id="190" creationId="{330CDF11-D817-A908-D94F-CA1149E65258}"/>
          </ac:spMkLst>
        </pc:spChg>
        <pc:spChg chg="add del">
          <ac:chgData name="Bullinger, Marvin" userId="5b54ce5a-dc89-476f-af33-5abd75d5b1e8" providerId="ADAL" clId="{43B71669-8A80-4333-9349-B258A9296B49}" dt="2024-02-27T16:53:49.050" v="3382"/>
          <ac:spMkLst>
            <pc:docMk/>
            <pc:sldMk cId="65447628" sldId="590"/>
            <ac:spMk id="191" creationId="{1C7EF523-BDEB-7442-460B-80624A084BC6}"/>
          </ac:spMkLst>
        </pc:spChg>
        <pc:spChg chg="add del">
          <ac:chgData name="Bullinger, Marvin" userId="5b54ce5a-dc89-476f-af33-5abd75d5b1e8" providerId="ADAL" clId="{43B71669-8A80-4333-9349-B258A9296B49}" dt="2024-02-27T16:53:49.050" v="3382"/>
          <ac:spMkLst>
            <pc:docMk/>
            <pc:sldMk cId="65447628" sldId="590"/>
            <ac:spMk id="192" creationId="{7F16A38B-C739-1904-4410-047C80532235}"/>
          </ac:spMkLst>
        </pc:spChg>
        <pc:spChg chg="add del">
          <ac:chgData name="Bullinger, Marvin" userId="5b54ce5a-dc89-476f-af33-5abd75d5b1e8" providerId="ADAL" clId="{43B71669-8A80-4333-9349-B258A9296B49}" dt="2024-02-27T16:53:49.050" v="3382"/>
          <ac:spMkLst>
            <pc:docMk/>
            <pc:sldMk cId="65447628" sldId="590"/>
            <ac:spMk id="193" creationId="{4F078316-ED98-6456-574A-DE7E8D4E876A}"/>
          </ac:spMkLst>
        </pc:spChg>
        <pc:spChg chg="add del">
          <ac:chgData name="Bullinger, Marvin" userId="5b54ce5a-dc89-476f-af33-5abd75d5b1e8" providerId="ADAL" clId="{43B71669-8A80-4333-9349-B258A9296B49}" dt="2024-02-27T16:53:49.050" v="3382"/>
          <ac:spMkLst>
            <pc:docMk/>
            <pc:sldMk cId="65447628" sldId="590"/>
            <ac:spMk id="194" creationId="{1D38B053-A0D6-2D57-5505-C532A6668D0E}"/>
          </ac:spMkLst>
        </pc:spChg>
        <pc:spChg chg="add del">
          <ac:chgData name="Bullinger, Marvin" userId="5b54ce5a-dc89-476f-af33-5abd75d5b1e8" providerId="ADAL" clId="{43B71669-8A80-4333-9349-B258A9296B49}" dt="2024-02-27T16:53:49.050" v="3382"/>
          <ac:spMkLst>
            <pc:docMk/>
            <pc:sldMk cId="65447628" sldId="590"/>
            <ac:spMk id="195" creationId="{9D545C5A-4287-CFE2-713D-0272F6760B7D}"/>
          </ac:spMkLst>
        </pc:spChg>
      </pc:sldChg>
      <pc:sldChg chg="addSp delSp modSp mod replTag">
        <pc:chgData name="Bullinger, Marvin" userId="5b54ce5a-dc89-476f-af33-5abd75d5b1e8" providerId="ADAL" clId="{43B71669-8A80-4333-9349-B258A9296B49}" dt="2024-02-27T17:27:38.355" v="7745"/>
        <pc:sldMkLst>
          <pc:docMk/>
          <pc:sldMk cId="2468756552" sldId="590"/>
        </pc:sldMkLst>
        <pc:spChg chg="del">
          <ac:chgData name="Bullinger, Marvin" userId="5b54ce5a-dc89-476f-af33-5abd75d5b1e8" providerId="ADAL" clId="{43B71669-8A80-4333-9349-B258A9296B49}" dt="2024-02-27T17:21:07.608" v="3799" actId="478"/>
          <ac:spMkLst>
            <pc:docMk/>
            <pc:sldMk cId="2468756552" sldId="590"/>
            <ac:spMk id="2" creationId="{DC14A709-22EC-AE8C-5AB0-1AA963B07786}"/>
          </ac:spMkLst>
        </pc:spChg>
        <pc:spChg chg="del">
          <ac:chgData name="Bullinger, Marvin" userId="5b54ce5a-dc89-476f-af33-5abd75d5b1e8" providerId="ADAL" clId="{43B71669-8A80-4333-9349-B258A9296B49}" dt="2024-02-27T17:21:07.608" v="3798" actId="478"/>
          <ac:spMkLst>
            <pc:docMk/>
            <pc:sldMk cId="2468756552" sldId="590"/>
            <ac:spMk id="3" creationId="{0AD1867F-D56E-9F0C-6515-2CDBCCA07DA8}"/>
          </ac:spMkLst>
        </pc:spChg>
        <pc:spChg chg="del">
          <ac:chgData name="Bullinger, Marvin" userId="5b54ce5a-dc89-476f-af33-5abd75d5b1e8" providerId="ADAL" clId="{43B71669-8A80-4333-9349-B258A9296B49}" dt="2024-02-27T17:21:07.608" v="3797" actId="478"/>
          <ac:spMkLst>
            <pc:docMk/>
            <pc:sldMk cId="2468756552" sldId="590"/>
            <ac:spMk id="4" creationId="{35CBC733-494E-BF94-60E6-A82A5AF08F8C}"/>
          </ac:spMkLst>
        </pc:spChg>
        <pc:spChg chg="del">
          <ac:chgData name="Bullinger, Marvin" userId="5b54ce5a-dc89-476f-af33-5abd75d5b1e8" providerId="ADAL" clId="{43B71669-8A80-4333-9349-B258A9296B49}" dt="2024-02-27T17:21:07.608" v="3796" actId="478"/>
          <ac:spMkLst>
            <pc:docMk/>
            <pc:sldMk cId="2468756552" sldId="590"/>
            <ac:spMk id="5" creationId="{A6C4E58C-2F91-8C88-4A61-E2DE846ED376}"/>
          </ac:spMkLst>
        </pc:spChg>
        <pc:spChg chg="del">
          <ac:chgData name="Bullinger, Marvin" userId="5b54ce5a-dc89-476f-af33-5abd75d5b1e8" providerId="ADAL" clId="{43B71669-8A80-4333-9349-B258A9296B49}" dt="2024-02-27T17:21:07.608" v="3795" actId="478"/>
          <ac:spMkLst>
            <pc:docMk/>
            <pc:sldMk cId="2468756552" sldId="590"/>
            <ac:spMk id="6" creationId="{B0C8DEBE-FD37-6606-B76A-BD0FE3B32669}"/>
          </ac:spMkLst>
        </pc:spChg>
        <pc:spChg chg="del">
          <ac:chgData name="Bullinger, Marvin" userId="5b54ce5a-dc89-476f-af33-5abd75d5b1e8" providerId="ADAL" clId="{43B71669-8A80-4333-9349-B258A9296B49}" dt="2024-02-27T17:21:07.608" v="3794" actId="478"/>
          <ac:spMkLst>
            <pc:docMk/>
            <pc:sldMk cId="2468756552" sldId="590"/>
            <ac:spMk id="7" creationId="{9B733C46-956D-915A-B0C2-EB2BA9468727}"/>
          </ac:spMkLst>
        </pc:spChg>
        <pc:spChg chg="del">
          <ac:chgData name="Bullinger, Marvin" userId="5b54ce5a-dc89-476f-af33-5abd75d5b1e8" providerId="ADAL" clId="{43B71669-8A80-4333-9349-B258A9296B49}" dt="2024-02-27T17:21:07.608" v="3793" actId="478"/>
          <ac:spMkLst>
            <pc:docMk/>
            <pc:sldMk cId="2468756552" sldId="590"/>
            <ac:spMk id="8" creationId="{8374AEDC-0818-5633-590D-DB44896B4842}"/>
          </ac:spMkLst>
        </pc:spChg>
        <pc:spChg chg="del">
          <ac:chgData name="Bullinger, Marvin" userId="5b54ce5a-dc89-476f-af33-5abd75d5b1e8" providerId="ADAL" clId="{43B71669-8A80-4333-9349-B258A9296B49}" dt="2024-02-27T17:21:07.608" v="3792" actId="478"/>
          <ac:spMkLst>
            <pc:docMk/>
            <pc:sldMk cId="2468756552" sldId="590"/>
            <ac:spMk id="9" creationId="{D43BEF8A-045A-6177-CBD8-CEE6882263A7}"/>
          </ac:spMkLst>
        </pc:spChg>
        <pc:spChg chg="del">
          <ac:chgData name="Bullinger, Marvin" userId="5b54ce5a-dc89-476f-af33-5abd75d5b1e8" providerId="ADAL" clId="{43B71669-8A80-4333-9349-B258A9296B49}" dt="2024-02-27T17:21:07.608" v="3791" actId="478"/>
          <ac:spMkLst>
            <pc:docMk/>
            <pc:sldMk cId="2468756552" sldId="590"/>
            <ac:spMk id="10" creationId="{7F586E63-ED38-43B2-EA86-57814E7C227F}"/>
          </ac:spMkLst>
        </pc:spChg>
        <pc:spChg chg="del">
          <ac:chgData name="Bullinger, Marvin" userId="5b54ce5a-dc89-476f-af33-5abd75d5b1e8" providerId="ADAL" clId="{43B71669-8A80-4333-9349-B258A9296B49}" dt="2024-02-27T17:21:07.608" v="3790" actId="478"/>
          <ac:spMkLst>
            <pc:docMk/>
            <pc:sldMk cId="2468756552" sldId="590"/>
            <ac:spMk id="11" creationId="{67A33FF2-03C1-4DF3-07B3-A4A73555EE65}"/>
          </ac:spMkLst>
        </pc:spChg>
        <pc:spChg chg="del">
          <ac:chgData name="Bullinger, Marvin" userId="5b54ce5a-dc89-476f-af33-5abd75d5b1e8" providerId="ADAL" clId="{43B71669-8A80-4333-9349-B258A9296B49}" dt="2024-02-27T17:21:07.608" v="3789" actId="478"/>
          <ac:spMkLst>
            <pc:docMk/>
            <pc:sldMk cId="2468756552" sldId="590"/>
            <ac:spMk id="12" creationId="{F6D22351-C134-6881-FD9D-80E2F0CDDB21}"/>
          </ac:spMkLst>
        </pc:spChg>
        <pc:spChg chg="del">
          <ac:chgData name="Bullinger, Marvin" userId="5b54ce5a-dc89-476f-af33-5abd75d5b1e8" providerId="ADAL" clId="{43B71669-8A80-4333-9349-B258A9296B49}" dt="2024-02-27T17:21:07.608" v="3788" actId="478"/>
          <ac:spMkLst>
            <pc:docMk/>
            <pc:sldMk cId="2468756552" sldId="590"/>
            <ac:spMk id="13" creationId="{EA8EB29F-DD1B-4EBC-66FE-218F1FA25405}"/>
          </ac:spMkLst>
        </pc:spChg>
        <pc:spChg chg="del">
          <ac:chgData name="Bullinger, Marvin" userId="5b54ce5a-dc89-476f-af33-5abd75d5b1e8" providerId="ADAL" clId="{43B71669-8A80-4333-9349-B258A9296B49}" dt="2024-02-27T17:21:07.608" v="3787" actId="478"/>
          <ac:spMkLst>
            <pc:docMk/>
            <pc:sldMk cId="2468756552" sldId="590"/>
            <ac:spMk id="14" creationId="{A0906EC0-BE38-9BEF-3DAF-4FCA26C2007E}"/>
          </ac:spMkLst>
        </pc:spChg>
        <pc:spChg chg="del">
          <ac:chgData name="Bullinger, Marvin" userId="5b54ce5a-dc89-476f-af33-5abd75d5b1e8" providerId="ADAL" clId="{43B71669-8A80-4333-9349-B258A9296B49}" dt="2024-02-27T17:21:07.608" v="3786" actId="478"/>
          <ac:spMkLst>
            <pc:docMk/>
            <pc:sldMk cId="2468756552" sldId="590"/>
            <ac:spMk id="15" creationId="{FF200021-D036-0041-3CAA-BA3508BCCA56}"/>
          </ac:spMkLst>
        </pc:spChg>
        <pc:spChg chg="del">
          <ac:chgData name="Bullinger, Marvin" userId="5b54ce5a-dc89-476f-af33-5abd75d5b1e8" providerId="ADAL" clId="{43B71669-8A80-4333-9349-B258A9296B49}" dt="2024-02-27T17:21:07.608" v="3785" actId="478"/>
          <ac:spMkLst>
            <pc:docMk/>
            <pc:sldMk cId="2468756552" sldId="590"/>
            <ac:spMk id="16" creationId="{2A4781D7-4638-321F-A2A0-03B971AD2EE6}"/>
          </ac:spMkLst>
        </pc:spChg>
        <pc:spChg chg="del mod ord replST">
          <ac:chgData name="Bullinger, Marvin" userId="5b54ce5a-dc89-476f-af33-5abd75d5b1e8" providerId="ADAL" clId="{43B71669-8A80-4333-9349-B258A9296B49}" dt="2024-02-27T17:26:23.479" v="4804" actId="478"/>
          <ac:spMkLst>
            <pc:docMk/>
            <pc:sldMk cId="2468756552" sldId="590"/>
            <ac:spMk id="17" creationId="{3430A377-2DFC-2B8A-8B72-1D621F540F7B}"/>
          </ac:spMkLst>
        </pc:spChg>
        <pc:spChg chg="del">
          <ac:chgData name="Bullinger, Marvin" userId="5b54ce5a-dc89-476f-af33-5abd75d5b1e8" providerId="ADAL" clId="{43B71669-8A80-4333-9349-B258A9296B49}" dt="2024-02-27T17:21:07.608" v="3784" actId="478"/>
          <ac:spMkLst>
            <pc:docMk/>
            <pc:sldMk cId="2468756552" sldId="590"/>
            <ac:spMk id="18" creationId="{4026577B-535E-96EA-6567-5C7F2172F893}"/>
          </ac:spMkLst>
        </pc:spChg>
        <pc:spChg chg="del">
          <ac:chgData name="Bullinger, Marvin" userId="5b54ce5a-dc89-476f-af33-5abd75d5b1e8" providerId="ADAL" clId="{43B71669-8A80-4333-9349-B258A9296B49}" dt="2024-02-27T17:21:07.608" v="3783" actId="478"/>
          <ac:spMkLst>
            <pc:docMk/>
            <pc:sldMk cId="2468756552" sldId="590"/>
            <ac:spMk id="19" creationId="{A39098DC-984C-179B-FF04-0D2E62D10AC1}"/>
          </ac:spMkLst>
        </pc:spChg>
        <pc:spChg chg="del">
          <ac:chgData name="Bullinger, Marvin" userId="5b54ce5a-dc89-476f-af33-5abd75d5b1e8" providerId="ADAL" clId="{43B71669-8A80-4333-9349-B258A9296B49}" dt="2024-02-27T17:21:07.608" v="3782" actId="478"/>
          <ac:spMkLst>
            <pc:docMk/>
            <pc:sldMk cId="2468756552" sldId="590"/>
            <ac:spMk id="20" creationId="{4F39D989-8E9A-8750-9525-44587C7687E1}"/>
          </ac:spMkLst>
        </pc:spChg>
        <pc:spChg chg="del">
          <ac:chgData name="Bullinger, Marvin" userId="5b54ce5a-dc89-476f-af33-5abd75d5b1e8" providerId="ADAL" clId="{43B71669-8A80-4333-9349-B258A9296B49}" dt="2024-02-27T17:21:07.608" v="3781" actId="478"/>
          <ac:spMkLst>
            <pc:docMk/>
            <pc:sldMk cId="2468756552" sldId="590"/>
            <ac:spMk id="21" creationId="{01CDD455-FEC1-EA12-72F5-726AA75E3CE9}"/>
          </ac:spMkLst>
        </pc:spChg>
        <pc:spChg chg="del">
          <ac:chgData name="Bullinger, Marvin" userId="5b54ce5a-dc89-476f-af33-5abd75d5b1e8" providerId="ADAL" clId="{43B71669-8A80-4333-9349-B258A9296B49}" dt="2024-02-27T17:21:07.608" v="3780" actId="478"/>
          <ac:spMkLst>
            <pc:docMk/>
            <pc:sldMk cId="2468756552" sldId="590"/>
            <ac:spMk id="22" creationId="{A1257FB5-B210-1FD3-D91C-AE330C32E2A1}"/>
          </ac:spMkLst>
        </pc:spChg>
        <pc:spChg chg="del">
          <ac:chgData name="Bullinger, Marvin" userId="5b54ce5a-dc89-476f-af33-5abd75d5b1e8" providerId="ADAL" clId="{43B71669-8A80-4333-9349-B258A9296B49}" dt="2024-02-27T17:21:07.608" v="3779" actId="478"/>
          <ac:spMkLst>
            <pc:docMk/>
            <pc:sldMk cId="2468756552" sldId="590"/>
            <ac:spMk id="23" creationId="{F7E598AA-58D6-BEC2-843D-ECF401434616}"/>
          </ac:spMkLst>
        </pc:spChg>
        <pc:spChg chg="del">
          <ac:chgData name="Bullinger, Marvin" userId="5b54ce5a-dc89-476f-af33-5abd75d5b1e8" providerId="ADAL" clId="{43B71669-8A80-4333-9349-B258A9296B49}" dt="2024-02-27T17:21:07.608" v="3778" actId="478"/>
          <ac:spMkLst>
            <pc:docMk/>
            <pc:sldMk cId="2468756552" sldId="590"/>
            <ac:spMk id="24" creationId="{7AF63BA3-DFE5-2A8B-5B3E-17FD1CA9E8BF}"/>
          </ac:spMkLst>
        </pc:spChg>
        <pc:spChg chg="del">
          <ac:chgData name="Bullinger, Marvin" userId="5b54ce5a-dc89-476f-af33-5abd75d5b1e8" providerId="ADAL" clId="{43B71669-8A80-4333-9349-B258A9296B49}" dt="2024-02-27T17:21:07.608" v="3777" actId="478"/>
          <ac:spMkLst>
            <pc:docMk/>
            <pc:sldMk cId="2468756552" sldId="590"/>
            <ac:spMk id="25" creationId="{D8479BE7-D4BA-F957-09D7-52C895741ABD}"/>
          </ac:spMkLst>
        </pc:spChg>
        <pc:spChg chg="del">
          <ac:chgData name="Bullinger, Marvin" userId="5b54ce5a-dc89-476f-af33-5abd75d5b1e8" providerId="ADAL" clId="{43B71669-8A80-4333-9349-B258A9296B49}" dt="2024-02-27T17:21:07.608" v="3776" actId="478"/>
          <ac:spMkLst>
            <pc:docMk/>
            <pc:sldMk cId="2468756552" sldId="590"/>
            <ac:spMk id="28" creationId="{FFF878AA-C88D-30EE-2CA4-B22A2C36EA70}"/>
          </ac:spMkLst>
        </pc:spChg>
        <pc:spChg chg="del">
          <ac:chgData name="Bullinger, Marvin" userId="5b54ce5a-dc89-476f-af33-5abd75d5b1e8" providerId="ADAL" clId="{43B71669-8A80-4333-9349-B258A9296B49}" dt="2024-02-27T17:21:07.608" v="3775" actId="478"/>
          <ac:spMkLst>
            <pc:docMk/>
            <pc:sldMk cId="2468756552" sldId="590"/>
            <ac:spMk id="29" creationId="{EF96D7AD-D8CB-3FBE-D2A7-EF33E2A76258}"/>
          </ac:spMkLst>
        </pc:spChg>
        <pc:spChg chg="del">
          <ac:chgData name="Bullinger, Marvin" userId="5b54ce5a-dc89-476f-af33-5abd75d5b1e8" providerId="ADAL" clId="{43B71669-8A80-4333-9349-B258A9296B49}" dt="2024-02-27T17:21:07.593" v="3774" actId="478"/>
          <ac:spMkLst>
            <pc:docMk/>
            <pc:sldMk cId="2468756552" sldId="590"/>
            <ac:spMk id="30" creationId="{F280905C-F85E-0621-6E71-CE90F23EFA6D}"/>
          </ac:spMkLst>
        </pc:spChg>
        <pc:spChg chg="del">
          <ac:chgData name="Bullinger, Marvin" userId="5b54ce5a-dc89-476f-af33-5abd75d5b1e8" providerId="ADAL" clId="{43B71669-8A80-4333-9349-B258A9296B49}" dt="2024-02-27T17:21:07.593" v="3773" actId="478"/>
          <ac:spMkLst>
            <pc:docMk/>
            <pc:sldMk cId="2468756552" sldId="590"/>
            <ac:spMk id="31" creationId="{42619CA4-89FF-B556-3D35-26BD64B27689}"/>
          </ac:spMkLst>
        </pc:spChg>
        <pc:spChg chg="del">
          <ac:chgData name="Bullinger, Marvin" userId="5b54ce5a-dc89-476f-af33-5abd75d5b1e8" providerId="ADAL" clId="{43B71669-8A80-4333-9349-B258A9296B49}" dt="2024-02-27T17:21:07.593" v="3772" actId="478"/>
          <ac:spMkLst>
            <pc:docMk/>
            <pc:sldMk cId="2468756552" sldId="590"/>
            <ac:spMk id="32" creationId="{57BF753E-74FC-A1D2-799F-AC05575A1502}"/>
          </ac:spMkLst>
        </pc:spChg>
        <pc:spChg chg="del">
          <ac:chgData name="Bullinger, Marvin" userId="5b54ce5a-dc89-476f-af33-5abd75d5b1e8" providerId="ADAL" clId="{43B71669-8A80-4333-9349-B258A9296B49}" dt="2024-02-27T17:21:07.593" v="3771" actId="478"/>
          <ac:spMkLst>
            <pc:docMk/>
            <pc:sldMk cId="2468756552" sldId="590"/>
            <ac:spMk id="33" creationId="{6456F1AF-D9D3-C3FA-21F4-8926A1BDEECF}"/>
          </ac:spMkLst>
        </pc:spChg>
        <pc:spChg chg="del">
          <ac:chgData name="Bullinger, Marvin" userId="5b54ce5a-dc89-476f-af33-5abd75d5b1e8" providerId="ADAL" clId="{43B71669-8A80-4333-9349-B258A9296B49}" dt="2024-02-27T17:21:07.593" v="3770" actId="478"/>
          <ac:spMkLst>
            <pc:docMk/>
            <pc:sldMk cId="2468756552" sldId="590"/>
            <ac:spMk id="34" creationId="{87B8EEC3-88B3-06B1-A7B9-6988DEEB6C55}"/>
          </ac:spMkLst>
        </pc:spChg>
        <pc:spChg chg="del">
          <ac:chgData name="Bullinger, Marvin" userId="5b54ce5a-dc89-476f-af33-5abd75d5b1e8" providerId="ADAL" clId="{43B71669-8A80-4333-9349-B258A9296B49}" dt="2024-02-27T17:21:07.593" v="3769" actId="478"/>
          <ac:spMkLst>
            <pc:docMk/>
            <pc:sldMk cId="2468756552" sldId="590"/>
            <ac:spMk id="35" creationId="{D4B96B76-625E-23B1-C0E7-0BA8120D51BD}"/>
          </ac:spMkLst>
        </pc:spChg>
        <pc:spChg chg="del">
          <ac:chgData name="Bullinger, Marvin" userId="5b54ce5a-dc89-476f-af33-5abd75d5b1e8" providerId="ADAL" clId="{43B71669-8A80-4333-9349-B258A9296B49}" dt="2024-02-27T17:21:07.593" v="3768" actId="478"/>
          <ac:spMkLst>
            <pc:docMk/>
            <pc:sldMk cId="2468756552" sldId="590"/>
            <ac:spMk id="36" creationId="{CBCD0680-8349-96C3-0DF4-6E1E7CEE3235}"/>
          </ac:spMkLst>
        </pc:spChg>
        <pc:spChg chg="del">
          <ac:chgData name="Bullinger, Marvin" userId="5b54ce5a-dc89-476f-af33-5abd75d5b1e8" providerId="ADAL" clId="{43B71669-8A80-4333-9349-B258A9296B49}" dt="2024-02-27T17:21:07.593" v="3767" actId="478"/>
          <ac:spMkLst>
            <pc:docMk/>
            <pc:sldMk cId="2468756552" sldId="590"/>
            <ac:spMk id="37" creationId="{66E3E3AE-FC9D-683D-597C-318716AF56C3}"/>
          </ac:spMkLst>
        </pc:spChg>
        <pc:spChg chg="del">
          <ac:chgData name="Bullinger, Marvin" userId="5b54ce5a-dc89-476f-af33-5abd75d5b1e8" providerId="ADAL" clId="{43B71669-8A80-4333-9349-B258A9296B49}" dt="2024-02-27T17:21:07.593" v="3766" actId="478"/>
          <ac:spMkLst>
            <pc:docMk/>
            <pc:sldMk cId="2468756552" sldId="590"/>
            <ac:spMk id="38" creationId="{37EB8149-9997-06AC-4D4B-9ABEB9606AD1}"/>
          </ac:spMkLst>
        </pc:spChg>
        <pc:spChg chg="del">
          <ac:chgData name="Bullinger, Marvin" userId="5b54ce5a-dc89-476f-af33-5abd75d5b1e8" providerId="ADAL" clId="{43B71669-8A80-4333-9349-B258A9296B49}" dt="2024-02-27T17:21:07.593" v="3765" actId="478"/>
          <ac:spMkLst>
            <pc:docMk/>
            <pc:sldMk cId="2468756552" sldId="590"/>
            <ac:spMk id="39" creationId="{C47C7D81-6D7E-750E-F4BC-08EF79D28629}"/>
          </ac:spMkLst>
        </pc:spChg>
        <pc:spChg chg="del">
          <ac:chgData name="Bullinger, Marvin" userId="5b54ce5a-dc89-476f-af33-5abd75d5b1e8" providerId="ADAL" clId="{43B71669-8A80-4333-9349-B258A9296B49}" dt="2024-02-27T17:21:07.593" v="3764" actId="478"/>
          <ac:spMkLst>
            <pc:docMk/>
            <pc:sldMk cId="2468756552" sldId="590"/>
            <ac:spMk id="40" creationId="{ED5D85BC-39C0-5566-A184-2EC263B8CCBE}"/>
          </ac:spMkLst>
        </pc:spChg>
        <pc:spChg chg="del">
          <ac:chgData name="Bullinger, Marvin" userId="5b54ce5a-dc89-476f-af33-5abd75d5b1e8" providerId="ADAL" clId="{43B71669-8A80-4333-9349-B258A9296B49}" dt="2024-02-27T17:21:07.593" v="3763" actId="478"/>
          <ac:spMkLst>
            <pc:docMk/>
            <pc:sldMk cId="2468756552" sldId="590"/>
            <ac:spMk id="41" creationId="{989861F4-1064-5F15-E1A7-D04DA8052328}"/>
          </ac:spMkLst>
        </pc:spChg>
        <pc:spChg chg="replST">
          <ac:chgData name="Bullinger, Marvin" userId="5b54ce5a-dc89-476f-af33-5abd75d5b1e8" providerId="ADAL" clId="{43B71669-8A80-4333-9349-B258A9296B49}" dt="2024-02-27T17:21:08.640" v="4231"/>
          <ac:spMkLst>
            <pc:docMk/>
            <pc:sldMk cId="2468756552" sldId="590"/>
            <ac:spMk id="42" creationId="{62B7B971-7167-4479-F554-AF9614C2268D}"/>
          </ac:spMkLst>
        </pc:spChg>
        <pc:spChg chg="replST">
          <ac:chgData name="Bullinger, Marvin" userId="5b54ce5a-dc89-476f-af33-5abd75d5b1e8" providerId="ADAL" clId="{43B71669-8A80-4333-9349-B258A9296B49}" dt="2024-02-27T17:21:08.656" v="4234"/>
          <ac:spMkLst>
            <pc:docMk/>
            <pc:sldMk cId="2468756552" sldId="590"/>
            <ac:spMk id="43" creationId="{BA0B7A94-3F1F-F3D4-4CA3-181481BCEA95}"/>
          </ac:spMkLst>
        </pc:spChg>
        <pc:spChg chg="replST">
          <ac:chgData name="Bullinger, Marvin" userId="5b54ce5a-dc89-476f-af33-5abd75d5b1e8" providerId="ADAL" clId="{43B71669-8A80-4333-9349-B258A9296B49}" dt="2024-02-27T17:21:08.664" v="4238"/>
          <ac:spMkLst>
            <pc:docMk/>
            <pc:sldMk cId="2468756552" sldId="590"/>
            <ac:spMk id="45" creationId="{DC308D73-ED2D-DB53-FBE8-FED5933E2C2D}"/>
          </ac:spMkLst>
        </pc:spChg>
        <pc:spChg chg="replST">
          <ac:chgData name="Bullinger, Marvin" userId="5b54ce5a-dc89-476f-af33-5abd75d5b1e8" providerId="ADAL" clId="{43B71669-8A80-4333-9349-B258A9296B49}" dt="2024-02-27T17:21:08.672" v="4241"/>
          <ac:spMkLst>
            <pc:docMk/>
            <pc:sldMk cId="2468756552" sldId="590"/>
            <ac:spMk id="46" creationId="{F9A4A0AB-2451-F575-B180-8C3912EEAE24}"/>
          </ac:spMkLst>
        </pc:spChg>
        <pc:spChg chg="replST">
          <ac:chgData name="Bullinger, Marvin" userId="5b54ce5a-dc89-476f-af33-5abd75d5b1e8" providerId="ADAL" clId="{43B71669-8A80-4333-9349-B258A9296B49}" dt="2024-02-27T17:21:08.672" v="4245"/>
          <ac:spMkLst>
            <pc:docMk/>
            <pc:sldMk cId="2468756552" sldId="590"/>
            <ac:spMk id="48" creationId="{8A00583C-85DC-BA35-0AB2-92D576AC0D1D}"/>
          </ac:spMkLst>
        </pc:spChg>
        <pc:spChg chg="replST">
          <ac:chgData name="Bullinger, Marvin" userId="5b54ce5a-dc89-476f-af33-5abd75d5b1e8" providerId="ADAL" clId="{43B71669-8A80-4333-9349-B258A9296B49}" dt="2024-02-27T17:21:08.687" v="4248"/>
          <ac:spMkLst>
            <pc:docMk/>
            <pc:sldMk cId="2468756552" sldId="590"/>
            <ac:spMk id="49" creationId="{73509BA2-5584-6CDF-E022-4C910E758A15}"/>
          </ac:spMkLst>
        </pc:spChg>
        <pc:spChg chg="replST">
          <ac:chgData name="Bullinger, Marvin" userId="5b54ce5a-dc89-476f-af33-5abd75d5b1e8" providerId="ADAL" clId="{43B71669-8A80-4333-9349-B258A9296B49}" dt="2024-02-27T17:21:08.693" v="4252"/>
          <ac:spMkLst>
            <pc:docMk/>
            <pc:sldMk cId="2468756552" sldId="590"/>
            <ac:spMk id="51" creationId="{27E84698-68D4-11AF-F2DE-89CE16D637C0}"/>
          </ac:spMkLst>
        </pc:spChg>
        <pc:spChg chg="replST">
          <ac:chgData name="Bullinger, Marvin" userId="5b54ce5a-dc89-476f-af33-5abd75d5b1e8" providerId="ADAL" clId="{43B71669-8A80-4333-9349-B258A9296B49}" dt="2024-02-27T17:21:08.693" v="4255"/>
          <ac:spMkLst>
            <pc:docMk/>
            <pc:sldMk cId="2468756552" sldId="590"/>
            <ac:spMk id="52" creationId="{1F40FF4C-B741-11C8-A9E4-550457F20821}"/>
          </ac:spMkLst>
        </pc:spChg>
        <pc:spChg chg="replST">
          <ac:chgData name="Bullinger, Marvin" userId="5b54ce5a-dc89-476f-af33-5abd75d5b1e8" providerId="ADAL" clId="{43B71669-8A80-4333-9349-B258A9296B49}" dt="2024-02-27T17:21:08.709" v="4259"/>
          <ac:spMkLst>
            <pc:docMk/>
            <pc:sldMk cId="2468756552" sldId="590"/>
            <ac:spMk id="54" creationId="{663643FA-A9F6-8BA3-3BE7-D99E6F2B7286}"/>
          </ac:spMkLst>
        </pc:spChg>
        <pc:spChg chg="replST">
          <ac:chgData name="Bullinger, Marvin" userId="5b54ce5a-dc89-476f-af33-5abd75d5b1e8" providerId="ADAL" clId="{43B71669-8A80-4333-9349-B258A9296B49}" dt="2024-02-27T17:21:08.709" v="4262"/>
          <ac:spMkLst>
            <pc:docMk/>
            <pc:sldMk cId="2468756552" sldId="590"/>
            <ac:spMk id="55" creationId="{8E1CAF1B-72AD-08B5-47DD-D2B85408BB05}"/>
          </ac:spMkLst>
        </pc:spChg>
        <pc:spChg chg="replST">
          <ac:chgData name="Bullinger, Marvin" userId="5b54ce5a-dc89-476f-af33-5abd75d5b1e8" providerId="ADAL" clId="{43B71669-8A80-4333-9349-B258A9296B49}" dt="2024-02-27T17:21:08.725" v="4266"/>
          <ac:spMkLst>
            <pc:docMk/>
            <pc:sldMk cId="2468756552" sldId="590"/>
            <ac:spMk id="57" creationId="{D8381FF4-12BE-481F-C6F5-F4A706013F1B}"/>
          </ac:spMkLst>
        </pc:spChg>
        <pc:spChg chg="replST">
          <ac:chgData name="Bullinger, Marvin" userId="5b54ce5a-dc89-476f-af33-5abd75d5b1e8" providerId="ADAL" clId="{43B71669-8A80-4333-9349-B258A9296B49}" dt="2024-02-27T17:21:08.725" v="4269"/>
          <ac:spMkLst>
            <pc:docMk/>
            <pc:sldMk cId="2468756552" sldId="590"/>
            <ac:spMk id="58" creationId="{8DF02B84-AB7E-A49C-E436-5F85F9F4977D}"/>
          </ac:spMkLst>
        </pc:spChg>
        <pc:spChg chg="replST">
          <ac:chgData name="Bullinger, Marvin" userId="5b54ce5a-dc89-476f-af33-5abd75d5b1e8" providerId="ADAL" clId="{43B71669-8A80-4333-9349-B258A9296B49}" dt="2024-02-27T17:21:08.725" v="4273"/>
          <ac:spMkLst>
            <pc:docMk/>
            <pc:sldMk cId="2468756552" sldId="590"/>
            <ac:spMk id="60" creationId="{9F8ACC21-6302-3E9B-E1FE-98BDEF555802}"/>
          </ac:spMkLst>
        </pc:spChg>
        <pc:spChg chg="replST">
          <ac:chgData name="Bullinger, Marvin" userId="5b54ce5a-dc89-476f-af33-5abd75d5b1e8" providerId="ADAL" clId="{43B71669-8A80-4333-9349-B258A9296B49}" dt="2024-02-27T17:21:08.741" v="4276"/>
          <ac:spMkLst>
            <pc:docMk/>
            <pc:sldMk cId="2468756552" sldId="590"/>
            <ac:spMk id="61" creationId="{B95ECC5F-28E5-FD28-9214-695BB9145DCF}"/>
          </ac:spMkLst>
        </pc:spChg>
        <pc:spChg chg="del ord replST">
          <ac:chgData name="Bullinger, Marvin" userId="5b54ce5a-dc89-476f-af33-5abd75d5b1e8" providerId="ADAL" clId="{43B71669-8A80-4333-9349-B258A9296B49}" dt="2024-02-27T17:26:23.489" v="4811" actId="478"/>
          <ac:spMkLst>
            <pc:docMk/>
            <pc:sldMk cId="2468756552" sldId="590"/>
            <ac:spMk id="62" creationId="{04B0A7E3-A1CD-B9F0-C64C-8801F380FF41}"/>
          </ac:spMkLst>
        </pc:spChg>
        <pc:spChg chg="add mod">
          <ac:chgData name="Bullinger, Marvin" userId="5b54ce5a-dc89-476f-af33-5abd75d5b1e8" providerId="ADAL" clId="{43B71669-8A80-4333-9349-B258A9296B49}" dt="2024-02-27T17:26:23.479" v="4804" actId="478"/>
          <ac:spMkLst>
            <pc:docMk/>
            <pc:sldMk cId="2468756552" sldId="590"/>
            <ac:spMk id="101" creationId="{89A4258F-CEE9-6819-AF82-6C9D8FD984C2}"/>
          </ac:spMkLst>
        </pc:spChg>
        <pc:spChg chg="del mod ord replST">
          <ac:chgData name="Bullinger, Marvin" userId="5b54ce5a-dc89-476f-af33-5abd75d5b1e8" providerId="ADAL" clId="{43B71669-8A80-4333-9349-B258A9296B49}" dt="2024-02-27T17:26:59.475" v="6114" actId="478"/>
          <ac:spMkLst>
            <pc:docMk/>
            <pc:sldMk cId="2468756552" sldId="590"/>
            <ac:spMk id="102" creationId="{ABB15892-1A32-F57E-FE72-2B6709C66A62}"/>
          </ac:spMkLst>
        </pc:spChg>
        <pc:spChg chg="del">
          <ac:chgData name="Bullinger, Marvin" userId="5b54ce5a-dc89-476f-af33-5abd75d5b1e8" providerId="ADAL" clId="{43B71669-8A80-4333-9349-B258A9296B49}" dt="2024-02-27T17:26:23.517" v="4840" actId="478"/>
          <ac:spMkLst>
            <pc:docMk/>
            <pc:sldMk cId="2468756552" sldId="590"/>
            <ac:spMk id="103" creationId="{B9384F80-7720-EFD3-30C0-8D9F05D0C895}"/>
          </ac:spMkLst>
        </pc:spChg>
        <pc:spChg chg="del">
          <ac:chgData name="Bullinger, Marvin" userId="5b54ce5a-dc89-476f-af33-5abd75d5b1e8" providerId="ADAL" clId="{43B71669-8A80-4333-9349-B258A9296B49}" dt="2024-02-27T17:26:23.517" v="4839" actId="478"/>
          <ac:spMkLst>
            <pc:docMk/>
            <pc:sldMk cId="2468756552" sldId="590"/>
            <ac:spMk id="104" creationId="{00373FDE-92C5-B9AA-E961-AE18F79E2590}"/>
          </ac:spMkLst>
        </pc:spChg>
        <pc:spChg chg="del">
          <ac:chgData name="Bullinger, Marvin" userId="5b54ce5a-dc89-476f-af33-5abd75d5b1e8" providerId="ADAL" clId="{43B71669-8A80-4333-9349-B258A9296B49}" dt="2024-02-27T17:26:23.517" v="4838" actId="478"/>
          <ac:spMkLst>
            <pc:docMk/>
            <pc:sldMk cId="2468756552" sldId="590"/>
            <ac:spMk id="105" creationId="{228D0AD0-3CE6-C451-A8E2-734CE89DC6C2}"/>
          </ac:spMkLst>
        </pc:spChg>
        <pc:spChg chg="del">
          <ac:chgData name="Bullinger, Marvin" userId="5b54ce5a-dc89-476f-af33-5abd75d5b1e8" providerId="ADAL" clId="{43B71669-8A80-4333-9349-B258A9296B49}" dt="2024-02-27T17:26:23.517" v="4837" actId="478"/>
          <ac:spMkLst>
            <pc:docMk/>
            <pc:sldMk cId="2468756552" sldId="590"/>
            <ac:spMk id="106" creationId="{F63F1E11-1F7B-8E86-86E0-B58251B37C50}"/>
          </ac:spMkLst>
        </pc:spChg>
        <pc:spChg chg="del">
          <ac:chgData name="Bullinger, Marvin" userId="5b54ce5a-dc89-476f-af33-5abd75d5b1e8" providerId="ADAL" clId="{43B71669-8A80-4333-9349-B258A9296B49}" dt="2024-02-27T17:26:23.517" v="4836" actId="478"/>
          <ac:spMkLst>
            <pc:docMk/>
            <pc:sldMk cId="2468756552" sldId="590"/>
            <ac:spMk id="107" creationId="{368866DB-0D83-476B-CE59-3110CA17D938}"/>
          </ac:spMkLst>
        </pc:spChg>
        <pc:spChg chg="del">
          <ac:chgData name="Bullinger, Marvin" userId="5b54ce5a-dc89-476f-af33-5abd75d5b1e8" providerId="ADAL" clId="{43B71669-8A80-4333-9349-B258A9296B49}" dt="2024-02-27T17:26:23.517" v="4835" actId="478"/>
          <ac:spMkLst>
            <pc:docMk/>
            <pc:sldMk cId="2468756552" sldId="590"/>
            <ac:spMk id="108" creationId="{30396CE9-C1C0-F510-D43B-874EB2B46922}"/>
          </ac:spMkLst>
        </pc:spChg>
        <pc:spChg chg="del">
          <ac:chgData name="Bullinger, Marvin" userId="5b54ce5a-dc89-476f-af33-5abd75d5b1e8" providerId="ADAL" clId="{43B71669-8A80-4333-9349-B258A9296B49}" dt="2024-02-27T17:26:23.517" v="4832" actId="478"/>
          <ac:spMkLst>
            <pc:docMk/>
            <pc:sldMk cId="2468756552" sldId="590"/>
            <ac:spMk id="109" creationId="{09EE8F31-89A6-95D6-FB48-196316D68875}"/>
          </ac:spMkLst>
        </pc:spChg>
        <pc:spChg chg="del">
          <ac:chgData name="Bullinger, Marvin" userId="5b54ce5a-dc89-476f-af33-5abd75d5b1e8" providerId="ADAL" clId="{43B71669-8A80-4333-9349-B258A9296B49}" dt="2024-02-27T17:26:23.517" v="4831" actId="478"/>
          <ac:spMkLst>
            <pc:docMk/>
            <pc:sldMk cId="2468756552" sldId="590"/>
            <ac:spMk id="110" creationId="{0EE76154-15BD-1A7F-14C7-F0928DA5BDB7}"/>
          </ac:spMkLst>
        </pc:spChg>
        <pc:spChg chg="del">
          <ac:chgData name="Bullinger, Marvin" userId="5b54ce5a-dc89-476f-af33-5abd75d5b1e8" providerId="ADAL" clId="{43B71669-8A80-4333-9349-B258A9296B49}" dt="2024-02-27T17:26:23.513" v="4830" actId="478"/>
          <ac:spMkLst>
            <pc:docMk/>
            <pc:sldMk cId="2468756552" sldId="590"/>
            <ac:spMk id="111" creationId="{45026B2C-9627-D8E4-D23B-65B2F53DFE5B}"/>
          </ac:spMkLst>
        </pc:spChg>
        <pc:spChg chg="del">
          <ac:chgData name="Bullinger, Marvin" userId="5b54ce5a-dc89-476f-af33-5abd75d5b1e8" providerId="ADAL" clId="{43B71669-8A80-4333-9349-B258A9296B49}" dt="2024-02-27T17:26:23.513" v="4829" actId="478"/>
          <ac:spMkLst>
            <pc:docMk/>
            <pc:sldMk cId="2468756552" sldId="590"/>
            <ac:spMk id="112" creationId="{4702C161-F401-EA6A-33AA-D5E1DACD1A20}"/>
          </ac:spMkLst>
        </pc:spChg>
        <pc:spChg chg="del">
          <ac:chgData name="Bullinger, Marvin" userId="5b54ce5a-dc89-476f-af33-5abd75d5b1e8" providerId="ADAL" clId="{43B71669-8A80-4333-9349-B258A9296B49}" dt="2024-02-27T17:26:23.513" v="4828" actId="478"/>
          <ac:spMkLst>
            <pc:docMk/>
            <pc:sldMk cId="2468756552" sldId="590"/>
            <ac:spMk id="113" creationId="{DC9D8859-1121-3A5E-C50A-3A7FA9849ED7}"/>
          </ac:spMkLst>
        </pc:spChg>
        <pc:spChg chg="del">
          <ac:chgData name="Bullinger, Marvin" userId="5b54ce5a-dc89-476f-af33-5abd75d5b1e8" providerId="ADAL" clId="{43B71669-8A80-4333-9349-B258A9296B49}" dt="2024-02-27T17:26:23.513" v="4827" actId="478"/>
          <ac:spMkLst>
            <pc:docMk/>
            <pc:sldMk cId="2468756552" sldId="590"/>
            <ac:spMk id="114" creationId="{C9EA110B-72DA-63CF-CF38-716696C948FF}"/>
          </ac:spMkLst>
        </pc:spChg>
        <pc:spChg chg="del">
          <ac:chgData name="Bullinger, Marvin" userId="5b54ce5a-dc89-476f-af33-5abd75d5b1e8" providerId="ADAL" clId="{43B71669-8A80-4333-9349-B258A9296B49}" dt="2024-02-27T17:26:23.529" v="4848" actId="478"/>
          <ac:spMkLst>
            <pc:docMk/>
            <pc:sldMk cId="2468756552" sldId="590"/>
            <ac:spMk id="115" creationId="{84593EBA-A5A4-A341-8EA4-691C134112E3}"/>
          </ac:spMkLst>
        </pc:spChg>
        <pc:spChg chg="del">
          <ac:chgData name="Bullinger, Marvin" userId="5b54ce5a-dc89-476f-af33-5abd75d5b1e8" providerId="ADAL" clId="{43B71669-8A80-4333-9349-B258A9296B49}" dt="2024-02-27T17:26:23.527" v="4847" actId="478"/>
          <ac:spMkLst>
            <pc:docMk/>
            <pc:sldMk cId="2468756552" sldId="590"/>
            <ac:spMk id="116" creationId="{DDDB9247-0926-0442-E1A9-C9A3F81F71B8}"/>
          </ac:spMkLst>
        </pc:spChg>
        <pc:spChg chg="del">
          <ac:chgData name="Bullinger, Marvin" userId="5b54ce5a-dc89-476f-af33-5abd75d5b1e8" providerId="ADAL" clId="{43B71669-8A80-4333-9349-B258A9296B49}" dt="2024-02-27T17:26:23.525" v="4846" actId="478"/>
          <ac:spMkLst>
            <pc:docMk/>
            <pc:sldMk cId="2468756552" sldId="590"/>
            <ac:spMk id="117" creationId="{B5A13A4C-468B-855E-4C6E-EC5E799B9348}"/>
          </ac:spMkLst>
        </pc:spChg>
        <pc:spChg chg="del">
          <ac:chgData name="Bullinger, Marvin" userId="5b54ce5a-dc89-476f-af33-5abd75d5b1e8" providerId="ADAL" clId="{43B71669-8A80-4333-9349-B258A9296B49}" dt="2024-02-27T17:26:23.525" v="4845" actId="478"/>
          <ac:spMkLst>
            <pc:docMk/>
            <pc:sldMk cId="2468756552" sldId="590"/>
            <ac:spMk id="118" creationId="{961498F3-0E7F-CBDE-C44A-C827DDA29527}"/>
          </ac:spMkLst>
        </pc:spChg>
        <pc:spChg chg="del">
          <ac:chgData name="Bullinger, Marvin" userId="5b54ce5a-dc89-476f-af33-5abd75d5b1e8" providerId="ADAL" clId="{43B71669-8A80-4333-9349-B258A9296B49}" dt="2024-02-27T17:26:23.525" v="4844" actId="478"/>
          <ac:spMkLst>
            <pc:docMk/>
            <pc:sldMk cId="2468756552" sldId="590"/>
            <ac:spMk id="119" creationId="{3603078D-2A98-1697-C408-879A5EF7A7DD}"/>
          </ac:spMkLst>
        </pc:spChg>
        <pc:spChg chg="del">
          <ac:chgData name="Bullinger, Marvin" userId="5b54ce5a-dc89-476f-af33-5abd75d5b1e8" providerId="ADAL" clId="{43B71669-8A80-4333-9349-B258A9296B49}" dt="2024-02-27T17:26:23.517" v="4843" actId="478"/>
          <ac:spMkLst>
            <pc:docMk/>
            <pc:sldMk cId="2468756552" sldId="590"/>
            <ac:spMk id="120" creationId="{7FF5ECE5-9E04-4604-5D71-1D4E1C67BBA2}"/>
          </ac:spMkLst>
        </pc:spChg>
        <pc:spChg chg="del">
          <ac:chgData name="Bullinger, Marvin" userId="5b54ce5a-dc89-476f-af33-5abd75d5b1e8" providerId="ADAL" clId="{43B71669-8A80-4333-9349-B258A9296B49}" dt="2024-02-27T17:26:23.517" v="4842" actId="478"/>
          <ac:spMkLst>
            <pc:docMk/>
            <pc:sldMk cId="2468756552" sldId="590"/>
            <ac:spMk id="121" creationId="{FC9AC9BD-1F49-122A-8EB8-5445AC12E790}"/>
          </ac:spMkLst>
        </pc:spChg>
        <pc:spChg chg="del">
          <ac:chgData name="Bullinger, Marvin" userId="5b54ce5a-dc89-476f-af33-5abd75d5b1e8" providerId="ADAL" clId="{43B71669-8A80-4333-9349-B258A9296B49}" dt="2024-02-27T17:26:23.517" v="4841" actId="478"/>
          <ac:spMkLst>
            <pc:docMk/>
            <pc:sldMk cId="2468756552" sldId="590"/>
            <ac:spMk id="122" creationId="{6A355A9C-8918-5F0F-4474-4B8BE96B736E}"/>
          </ac:spMkLst>
        </pc:spChg>
        <pc:spChg chg="del">
          <ac:chgData name="Bullinger, Marvin" userId="5b54ce5a-dc89-476f-af33-5abd75d5b1e8" providerId="ADAL" clId="{43B71669-8A80-4333-9349-B258A9296B49}" dt="2024-02-27T17:26:23.517" v="4833" actId="478"/>
          <ac:spMkLst>
            <pc:docMk/>
            <pc:sldMk cId="2468756552" sldId="590"/>
            <ac:spMk id="123" creationId="{A79D56D0-52E7-AC8B-5105-15008BA2DD56}"/>
          </ac:spMkLst>
        </pc:spChg>
        <pc:spChg chg="del">
          <ac:chgData name="Bullinger, Marvin" userId="5b54ce5a-dc89-476f-af33-5abd75d5b1e8" providerId="ADAL" clId="{43B71669-8A80-4333-9349-B258A9296B49}" dt="2024-02-27T17:26:23.513" v="4826" actId="478"/>
          <ac:spMkLst>
            <pc:docMk/>
            <pc:sldMk cId="2468756552" sldId="590"/>
            <ac:spMk id="124" creationId="{73A31AEB-132B-79A5-0B2D-B4A35433A0F2}"/>
          </ac:spMkLst>
        </pc:spChg>
        <pc:spChg chg="del">
          <ac:chgData name="Bullinger, Marvin" userId="5b54ce5a-dc89-476f-af33-5abd75d5b1e8" providerId="ADAL" clId="{43B71669-8A80-4333-9349-B258A9296B49}" dt="2024-02-27T17:26:23.517" v="4834" actId="478"/>
          <ac:spMkLst>
            <pc:docMk/>
            <pc:sldMk cId="2468756552" sldId="590"/>
            <ac:spMk id="125" creationId="{10DF2439-27FC-CE95-8E0D-C6898F44C448}"/>
          </ac:spMkLst>
        </pc:spChg>
        <pc:spChg chg="del">
          <ac:chgData name="Bullinger, Marvin" userId="5b54ce5a-dc89-476f-af33-5abd75d5b1e8" providerId="ADAL" clId="{43B71669-8A80-4333-9349-B258A9296B49}" dt="2024-02-27T17:26:23.513" v="4825" actId="478"/>
          <ac:spMkLst>
            <pc:docMk/>
            <pc:sldMk cId="2468756552" sldId="590"/>
            <ac:spMk id="126" creationId="{FBB4652A-5818-FE3D-8EF4-33C935A66370}"/>
          </ac:spMkLst>
        </pc:spChg>
        <pc:spChg chg="del">
          <ac:chgData name="Bullinger, Marvin" userId="5b54ce5a-dc89-476f-af33-5abd75d5b1e8" providerId="ADAL" clId="{43B71669-8A80-4333-9349-B258A9296B49}" dt="2024-02-27T17:26:23.513" v="4824" actId="478"/>
          <ac:spMkLst>
            <pc:docMk/>
            <pc:sldMk cId="2468756552" sldId="590"/>
            <ac:spMk id="127" creationId="{475F25D0-1D97-16F2-C62A-D79E6E44C8B9}"/>
          </ac:spMkLst>
        </pc:spChg>
        <pc:spChg chg="del">
          <ac:chgData name="Bullinger, Marvin" userId="5b54ce5a-dc89-476f-af33-5abd75d5b1e8" providerId="ADAL" clId="{43B71669-8A80-4333-9349-B258A9296B49}" dt="2024-02-27T17:26:23.509" v="4823" actId="478"/>
          <ac:spMkLst>
            <pc:docMk/>
            <pc:sldMk cId="2468756552" sldId="590"/>
            <ac:spMk id="128" creationId="{93BA2E67-8B3A-2A49-2395-DCC54B2C0557}"/>
          </ac:spMkLst>
        </pc:spChg>
        <pc:spChg chg="del">
          <ac:chgData name="Bullinger, Marvin" userId="5b54ce5a-dc89-476f-af33-5abd75d5b1e8" providerId="ADAL" clId="{43B71669-8A80-4333-9349-B258A9296B49}" dt="2024-02-27T17:26:23.509" v="4822" actId="478"/>
          <ac:spMkLst>
            <pc:docMk/>
            <pc:sldMk cId="2468756552" sldId="590"/>
            <ac:spMk id="129" creationId="{81A8EF8B-4C5C-9A5F-5E29-088763178A1A}"/>
          </ac:spMkLst>
        </pc:spChg>
        <pc:spChg chg="del">
          <ac:chgData name="Bullinger, Marvin" userId="5b54ce5a-dc89-476f-af33-5abd75d5b1e8" providerId="ADAL" clId="{43B71669-8A80-4333-9349-B258A9296B49}" dt="2024-02-27T17:26:23.509" v="4821" actId="478"/>
          <ac:spMkLst>
            <pc:docMk/>
            <pc:sldMk cId="2468756552" sldId="590"/>
            <ac:spMk id="130" creationId="{B927CFAC-BE96-AB24-8702-9FFC936777A8}"/>
          </ac:spMkLst>
        </pc:spChg>
        <pc:spChg chg="del">
          <ac:chgData name="Bullinger, Marvin" userId="5b54ce5a-dc89-476f-af33-5abd75d5b1e8" providerId="ADAL" clId="{43B71669-8A80-4333-9349-B258A9296B49}" dt="2024-02-27T17:26:23.509" v="4820" actId="478"/>
          <ac:spMkLst>
            <pc:docMk/>
            <pc:sldMk cId="2468756552" sldId="590"/>
            <ac:spMk id="131" creationId="{00D8AC55-F640-2356-F1AB-A0F6398CA161}"/>
          </ac:spMkLst>
        </pc:spChg>
        <pc:spChg chg="del">
          <ac:chgData name="Bullinger, Marvin" userId="5b54ce5a-dc89-476f-af33-5abd75d5b1e8" providerId="ADAL" clId="{43B71669-8A80-4333-9349-B258A9296B49}" dt="2024-02-27T17:26:23.509" v="4819" actId="478"/>
          <ac:spMkLst>
            <pc:docMk/>
            <pc:sldMk cId="2468756552" sldId="590"/>
            <ac:spMk id="132" creationId="{6B21C596-38D3-E7B2-3BAC-19DB177E047A}"/>
          </ac:spMkLst>
        </pc:spChg>
        <pc:spChg chg="del">
          <ac:chgData name="Bullinger, Marvin" userId="5b54ce5a-dc89-476f-af33-5abd75d5b1e8" providerId="ADAL" clId="{43B71669-8A80-4333-9349-B258A9296B49}" dt="2024-02-27T17:26:23.509" v="4818" actId="478"/>
          <ac:spMkLst>
            <pc:docMk/>
            <pc:sldMk cId="2468756552" sldId="590"/>
            <ac:spMk id="133" creationId="{3170C018-378E-D69D-40F8-66C1F08FE028}"/>
          </ac:spMkLst>
        </pc:spChg>
        <pc:spChg chg="del">
          <ac:chgData name="Bullinger, Marvin" userId="5b54ce5a-dc89-476f-af33-5abd75d5b1e8" providerId="ADAL" clId="{43B71669-8A80-4333-9349-B258A9296B49}" dt="2024-02-27T17:26:23.507" v="4817" actId="478"/>
          <ac:spMkLst>
            <pc:docMk/>
            <pc:sldMk cId="2468756552" sldId="590"/>
            <ac:spMk id="134" creationId="{F09B16D8-E6B0-C65D-8B64-125012822445}"/>
          </ac:spMkLst>
        </pc:spChg>
        <pc:spChg chg="del">
          <ac:chgData name="Bullinger, Marvin" userId="5b54ce5a-dc89-476f-af33-5abd75d5b1e8" providerId="ADAL" clId="{43B71669-8A80-4333-9349-B258A9296B49}" dt="2024-02-27T17:26:23.507" v="4816" actId="478"/>
          <ac:spMkLst>
            <pc:docMk/>
            <pc:sldMk cId="2468756552" sldId="590"/>
            <ac:spMk id="135" creationId="{11095062-6EEC-4F06-F0F7-83F1BFFEB163}"/>
          </ac:spMkLst>
        </pc:spChg>
        <pc:spChg chg="del">
          <ac:chgData name="Bullinger, Marvin" userId="5b54ce5a-dc89-476f-af33-5abd75d5b1e8" providerId="ADAL" clId="{43B71669-8A80-4333-9349-B258A9296B49}" dt="2024-02-27T17:26:23.507" v="4815" actId="478"/>
          <ac:spMkLst>
            <pc:docMk/>
            <pc:sldMk cId="2468756552" sldId="590"/>
            <ac:spMk id="136" creationId="{B94FEBCA-8ECF-EA12-FECE-D29C3680E47A}"/>
          </ac:spMkLst>
        </pc:spChg>
        <pc:spChg chg="del">
          <ac:chgData name="Bullinger, Marvin" userId="5b54ce5a-dc89-476f-af33-5abd75d5b1e8" providerId="ADAL" clId="{43B71669-8A80-4333-9349-B258A9296B49}" dt="2024-02-27T17:26:23.507" v="4814" actId="478"/>
          <ac:spMkLst>
            <pc:docMk/>
            <pc:sldMk cId="2468756552" sldId="590"/>
            <ac:spMk id="137" creationId="{2887D5F1-1681-9403-BD19-5839A8F92A9C}"/>
          </ac:spMkLst>
        </pc:spChg>
        <pc:spChg chg="del">
          <ac:chgData name="Bullinger, Marvin" userId="5b54ce5a-dc89-476f-af33-5abd75d5b1e8" providerId="ADAL" clId="{43B71669-8A80-4333-9349-B258A9296B49}" dt="2024-02-27T17:26:23.499" v="4813" actId="478"/>
          <ac:spMkLst>
            <pc:docMk/>
            <pc:sldMk cId="2468756552" sldId="590"/>
            <ac:spMk id="138" creationId="{ADAEEB44-2D97-79A3-F060-105ABA9C9DD7}"/>
          </ac:spMkLst>
        </pc:spChg>
        <pc:spChg chg="del">
          <ac:chgData name="Bullinger, Marvin" userId="5b54ce5a-dc89-476f-af33-5abd75d5b1e8" providerId="ADAL" clId="{43B71669-8A80-4333-9349-B258A9296B49}" dt="2024-02-27T17:26:23.499" v="4812" actId="478"/>
          <ac:spMkLst>
            <pc:docMk/>
            <pc:sldMk cId="2468756552" sldId="590"/>
            <ac:spMk id="139" creationId="{3F91D5F8-2C94-CA1C-42BB-558CC24BD7B8}"/>
          </ac:spMkLst>
        </pc:spChg>
        <pc:spChg chg="replST">
          <ac:chgData name="Bullinger, Marvin" userId="5b54ce5a-dc89-476f-af33-5abd75d5b1e8" providerId="ADAL" clId="{43B71669-8A80-4333-9349-B258A9296B49}" dt="2024-02-27T17:26:25.229" v="5546"/>
          <ac:spMkLst>
            <pc:docMk/>
            <pc:sldMk cId="2468756552" sldId="590"/>
            <ac:spMk id="140" creationId="{1FDCC15F-2253-295C-7366-FD36A20CA7D0}"/>
          </ac:spMkLst>
        </pc:spChg>
        <pc:spChg chg="replST">
          <ac:chgData name="Bullinger, Marvin" userId="5b54ce5a-dc89-476f-af33-5abd75d5b1e8" providerId="ADAL" clId="{43B71669-8A80-4333-9349-B258A9296B49}" dt="2024-02-27T17:26:25.245" v="5549"/>
          <ac:spMkLst>
            <pc:docMk/>
            <pc:sldMk cId="2468756552" sldId="590"/>
            <ac:spMk id="141" creationId="{DDFA3F24-BB32-C641-2FF3-F842D83A73FF}"/>
          </ac:spMkLst>
        </pc:spChg>
        <pc:spChg chg="replST">
          <ac:chgData name="Bullinger, Marvin" userId="5b54ce5a-dc89-476f-af33-5abd75d5b1e8" providerId="ADAL" clId="{43B71669-8A80-4333-9349-B258A9296B49}" dt="2024-02-27T17:26:25.245" v="5553"/>
          <ac:spMkLst>
            <pc:docMk/>
            <pc:sldMk cId="2468756552" sldId="590"/>
            <ac:spMk id="143" creationId="{19DA8FEC-FC23-A169-20CF-505070D0A6B4}"/>
          </ac:spMkLst>
        </pc:spChg>
        <pc:spChg chg="replST">
          <ac:chgData name="Bullinger, Marvin" userId="5b54ce5a-dc89-476f-af33-5abd75d5b1e8" providerId="ADAL" clId="{43B71669-8A80-4333-9349-B258A9296B49}" dt="2024-02-27T17:26:25.261" v="5556"/>
          <ac:spMkLst>
            <pc:docMk/>
            <pc:sldMk cId="2468756552" sldId="590"/>
            <ac:spMk id="144" creationId="{B2C5571C-EFAF-44CE-C15C-1BC36712D8C5}"/>
          </ac:spMkLst>
        </pc:spChg>
        <pc:spChg chg="replST">
          <ac:chgData name="Bullinger, Marvin" userId="5b54ce5a-dc89-476f-af33-5abd75d5b1e8" providerId="ADAL" clId="{43B71669-8A80-4333-9349-B258A9296B49}" dt="2024-02-27T17:26:25.277" v="5560"/>
          <ac:spMkLst>
            <pc:docMk/>
            <pc:sldMk cId="2468756552" sldId="590"/>
            <ac:spMk id="146" creationId="{9B38349A-9AFB-1C84-95B6-991C34F9E647}"/>
          </ac:spMkLst>
        </pc:spChg>
        <pc:spChg chg="replST">
          <ac:chgData name="Bullinger, Marvin" userId="5b54ce5a-dc89-476f-af33-5abd75d5b1e8" providerId="ADAL" clId="{43B71669-8A80-4333-9349-B258A9296B49}" dt="2024-02-27T17:26:25.281" v="5563"/>
          <ac:spMkLst>
            <pc:docMk/>
            <pc:sldMk cId="2468756552" sldId="590"/>
            <ac:spMk id="147" creationId="{FF2068D1-6DDA-933F-B636-191278EF564A}"/>
          </ac:spMkLst>
        </pc:spChg>
        <pc:spChg chg="replST">
          <ac:chgData name="Bullinger, Marvin" userId="5b54ce5a-dc89-476f-af33-5abd75d5b1e8" providerId="ADAL" clId="{43B71669-8A80-4333-9349-B258A9296B49}" dt="2024-02-27T17:26:25.289" v="5567"/>
          <ac:spMkLst>
            <pc:docMk/>
            <pc:sldMk cId="2468756552" sldId="590"/>
            <ac:spMk id="149" creationId="{F8822554-04A8-237D-E6A4-9BB4920FB3A1}"/>
          </ac:spMkLst>
        </pc:spChg>
        <pc:spChg chg="replST">
          <ac:chgData name="Bullinger, Marvin" userId="5b54ce5a-dc89-476f-af33-5abd75d5b1e8" providerId="ADAL" clId="{43B71669-8A80-4333-9349-B258A9296B49}" dt="2024-02-27T17:26:25.305" v="5570"/>
          <ac:spMkLst>
            <pc:docMk/>
            <pc:sldMk cId="2468756552" sldId="590"/>
            <ac:spMk id="150" creationId="{610830AD-8CB8-C289-E785-7C159F72F945}"/>
          </ac:spMkLst>
        </pc:spChg>
        <pc:spChg chg="replST">
          <ac:chgData name="Bullinger, Marvin" userId="5b54ce5a-dc89-476f-af33-5abd75d5b1e8" providerId="ADAL" clId="{43B71669-8A80-4333-9349-B258A9296B49}" dt="2024-02-27T17:26:25.321" v="5574"/>
          <ac:spMkLst>
            <pc:docMk/>
            <pc:sldMk cId="2468756552" sldId="590"/>
            <ac:spMk id="152" creationId="{CF4DDD51-B27D-A793-E89B-72AC180D8D36}"/>
          </ac:spMkLst>
        </pc:spChg>
        <pc:spChg chg="replST">
          <ac:chgData name="Bullinger, Marvin" userId="5b54ce5a-dc89-476f-af33-5abd75d5b1e8" providerId="ADAL" clId="{43B71669-8A80-4333-9349-B258A9296B49}" dt="2024-02-27T17:26:25.321" v="5577"/>
          <ac:spMkLst>
            <pc:docMk/>
            <pc:sldMk cId="2468756552" sldId="590"/>
            <ac:spMk id="153" creationId="{357A2E36-3667-8D88-641F-B3A5FDAA126A}"/>
          </ac:spMkLst>
        </pc:spChg>
        <pc:spChg chg="replST">
          <ac:chgData name="Bullinger, Marvin" userId="5b54ce5a-dc89-476f-af33-5abd75d5b1e8" providerId="ADAL" clId="{43B71669-8A80-4333-9349-B258A9296B49}" dt="2024-02-27T17:26:25.321" v="5581"/>
          <ac:spMkLst>
            <pc:docMk/>
            <pc:sldMk cId="2468756552" sldId="590"/>
            <ac:spMk id="155" creationId="{132E6387-CA24-8133-961C-0F82BFB65860}"/>
          </ac:spMkLst>
        </pc:spChg>
        <pc:spChg chg="replST">
          <ac:chgData name="Bullinger, Marvin" userId="5b54ce5a-dc89-476f-af33-5abd75d5b1e8" providerId="ADAL" clId="{43B71669-8A80-4333-9349-B258A9296B49}" dt="2024-02-27T17:26:25.338" v="5584"/>
          <ac:spMkLst>
            <pc:docMk/>
            <pc:sldMk cId="2468756552" sldId="590"/>
            <ac:spMk id="156" creationId="{3E0B4F49-90C5-507D-1109-E7CFE2C6F3C4}"/>
          </ac:spMkLst>
        </pc:spChg>
        <pc:spChg chg="replST">
          <ac:chgData name="Bullinger, Marvin" userId="5b54ce5a-dc89-476f-af33-5abd75d5b1e8" providerId="ADAL" clId="{43B71669-8A80-4333-9349-B258A9296B49}" dt="2024-02-27T17:26:25.338" v="5588"/>
          <ac:spMkLst>
            <pc:docMk/>
            <pc:sldMk cId="2468756552" sldId="590"/>
            <ac:spMk id="158" creationId="{1F5C489D-F9E2-40FA-99A6-F23EDD0DB099}"/>
          </ac:spMkLst>
        </pc:spChg>
        <pc:spChg chg="replST">
          <ac:chgData name="Bullinger, Marvin" userId="5b54ce5a-dc89-476f-af33-5abd75d5b1e8" providerId="ADAL" clId="{43B71669-8A80-4333-9349-B258A9296B49}" dt="2024-02-27T17:26:25.357" v="5591"/>
          <ac:spMkLst>
            <pc:docMk/>
            <pc:sldMk cId="2468756552" sldId="590"/>
            <ac:spMk id="159" creationId="{A98A8AAA-48E0-D969-73C5-F226942A767D}"/>
          </ac:spMkLst>
        </pc:spChg>
        <pc:spChg chg="replST">
          <ac:chgData name="Bullinger, Marvin" userId="5b54ce5a-dc89-476f-af33-5abd75d5b1e8" providerId="ADAL" clId="{43B71669-8A80-4333-9349-B258A9296B49}" dt="2024-02-27T17:26:25.357" v="5595"/>
          <ac:spMkLst>
            <pc:docMk/>
            <pc:sldMk cId="2468756552" sldId="590"/>
            <ac:spMk id="161" creationId="{816EF779-4CBE-D3B5-128E-0EEE6B4F1AB3}"/>
          </ac:spMkLst>
        </pc:spChg>
        <pc:spChg chg="replST">
          <ac:chgData name="Bullinger, Marvin" userId="5b54ce5a-dc89-476f-af33-5abd75d5b1e8" providerId="ADAL" clId="{43B71669-8A80-4333-9349-B258A9296B49}" dt="2024-02-27T17:26:25.373" v="5598"/>
          <ac:spMkLst>
            <pc:docMk/>
            <pc:sldMk cId="2468756552" sldId="590"/>
            <ac:spMk id="162" creationId="{5B22D678-7758-ABE2-DB45-0DC69809FD03}"/>
          </ac:spMkLst>
        </pc:spChg>
        <pc:spChg chg="replST">
          <ac:chgData name="Bullinger, Marvin" userId="5b54ce5a-dc89-476f-af33-5abd75d5b1e8" providerId="ADAL" clId="{43B71669-8A80-4333-9349-B258A9296B49}" dt="2024-02-27T17:26:25.398" v="5602"/>
          <ac:spMkLst>
            <pc:docMk/>
            <pc:sldMk cId="2468756552" sldId="590"/>
            <ac:spMk id="164" creationId="{70B2E195-03E1-D6F2-F213-45FAE4E28BE0}"/>
          </ac:spMkLst>
        </pc:spChg>
        <pc:spChg chg="replST">
          <ac:chgData name="Bullinger, Marvin" userId="5b54ce5a-dc89-476f-af33-5abd75d5b1e8" providerId="ADAL" clId="{43B71669-8A80-4333-9349-B258A9296B49}" dt="2024-02-27T17:26:25.414" v="5605"/>
          <ac:spMkLst>
            <pc:docMk/>
            <pc:sldMk cId="2468756552" sldId="590"/>
            <ac:spMk id="165" creationId="{ADE29BF3-2547-F6C4-FAEB-F30B94D069B3}"/>
          </ac:spMkLst>
        </pc:spChg>
        <pc:spChg chg="del ord replST">
          <ac:chgData name="Bullinger, Marvin" userId="5b54ce5a-dc89-476f-af33-5abd75d5b1e8" providerId="ADAL" clId="{43B71669-8A80-4333-9349-B258A9296B49}" dt="2024-02-27T17:26:59.484" v="6123" actId="478"/>
          <ac:spMkLst>
            <pc:docMk/>
            <pc:sldMk cId="2468756552" sldId="590"/>
            <ac:spMk id="166" creationId="{7ACB5EB4-DA7A-1390-A580-8EC54E29A266}"/>
          </ac:spMkLst>
        </pc:spChg>
        <pc:spChg chg="add mod">
          <ac:chgData name="Bullinger, Marvin" userId="5b54ce5a-dc89-476f-af33-5abd75d5b1e8" providerId="ADAL" clId="{43B71669-8A80-4333-9349-B258A9296B49}" dt="2024-02-27T17:26:59.475" v="6114" actId="478"/>
          <ac:spMkLst>
            <pc:docMk/>
            <pc:sldMk cId="2468756552" sldId="590"/>
            <ac:spMk id="205" creationId="{DE842D95-3F7A-3B5A-6610-90D2130EC300}"/>
          </ac:spMkLst>
        </pc:spChg>
        <pc:spChg chg="del mod ord replST">
          <ac:chgData name="Bullinger, Marvin" userId="5b54ce5a-dc89-476f-af33-5abd75d5b1e8" providerId="ADAL" clId="{43B71669-8A80-4333-9349-B258A9296B49}" dt="2024-02-27T17:27:37.147" v="7214" actId="478"/>
          <ac:spMkLst>
            <pc:docMk/>
            <pc:sldMk cId="2468756552" sldId="590"/>
            <ac:spMk id="206" creationId="{A5FA54EB-D122-088F-7646-D6BB85EE1BB2}"/>
          </ac:spMkLst>
        </pc:spChg>
        <pc:spChg chg="del">
          <ac:chgData name="Bullinger, Marvin" userId="5b54ce5a-dc89-476f-af33-5abd75d5b1e8" providerId="ADAL" clId="{43B71669-8A80-4333-9349-B258A9296B49}" dt="2024-02-27T17:26:59.514" v="6152" actId="478"/>
          <ac:spMkLst>
            <pc:docMk/>
            <pc:sldMk cId="2468756552" sldId="590"/>
            <ac:spMk id="207" creationId="{A1E9979C-2D01-2CD7-8D1C-49DF93C3F862}"/>
          </ac:spMkLst>
        </pc:spChg>
        <pc:spChg chg="del">
          <ac:chgData name="Bullinger, Marvin" userId="5b54ce5a-dc89-476f-af33-5abd75d5b1e8" providerId="ADAL" clId="{43B71669-8A80-4333-9349-B258A9296B49}" dt="2024-02-27T17:26:59.514" v="6151" actId="478"/>
          <ac:spMkLst>
            <pc:docMk/>
            <pc:sldMk cId="2468756552" sldId="590"/>
            <ac:spMk id="208" creationId="{2A1C77F5-5616-67BD-9637-1378F0E59690}"/>
          </ac:spMkLst>
        </pc:spChg>
        <pc:spChg chg="del">
          <ac:chgData name="Bullinger, Marvin" userId="5b54ce5a-dc89-476f-af33-5abd75d5b1e8" providerId="ADAL" clId="{43B71669-8A80-4333-9349-B258A9296B49}" dt="2024-02-27T17:26:59.514" v="6150" actId="478"/>
          <ac:spMkLst>
            <pc:docMk/>
            <pc:sldMk cId="2468756552" sldId="590"/>
            <ac:spMk id="209" creationId="{0FA1FC1D-C641-19D9-2F44-797C4553AB9F}"/>
          </ac:spMkLst>
        </pc:spChg>
        <pc:spChg chg="del">
          <ac:chgData name="Bullinger, Marvin" userId="5b54ce5a-dc89-476f-af33-5abd75d5b1e8" providerId="ADAL" clId="{43B71669-8A80-4333-9349-B258A9296B49}" dt="2024-02-27T17:26:59.514" v="6149" actId="478"/>
          <ac:spMkLst>
            <pc:docMk/>
            <pc:sldMk cId="2468756552" sldId="590"/>
            <ac:spMk id="210" creationId="{B91117A0-B3C9-8038-CF9F-6F5D83ABAF78}"/>
          </ac:spMkLst>
        </pc:spChg>
        <pc:spChg chg="del">
          <ac:chgData name="Bullinger, Marvin" userId="5b54ce5a-dc89-476f-af33-5abd75d5b1e8" providerId="ADAL" clId="{43B71669-8A80-4333-9349-B258A9296B49}" dt="2024-02-27T17:26:59.514" v="6148" actId="478"/>
          <ac:spMkLst>
            <pc:docMk/>
            <pc:sldMk cId="2468756552" sldId="590"/>
            <ac:spMk id="211" creationId="{03FC557E-1214-540E-9A1D-5A0A197633BD}"/>
          </ac:spMkLst>
        </pc:spChg>
        <pc:spChg chg="del">
          <ac:chgData name="Bullinger, Marvin" userId="5b54ce5a-dc89-476f-af33-5abd75d5b1e8" providerId="ADAL" clId="{43B71669-8A80-4333-9349-B258A9296B49}" dt="2024-02-27T17:26:59.514" v="6147" actId="478"/>
          <ac:spMkLst>
            <pc:docMk/>
            <pc:sldMk cId="2468756552" sldId="590"/>
            <ac:spMk id="212" creationId="{938393B7-FB35-3E7C-54DC-429EC4B71DAA}"/>
          </ac:spMkLst>
        </pc:spChg>
        <pc:spChg chg="del">
          <ac:chgData name="Bullinger, Marvin" userId="5b54ce5a-dc89-476f-af33-5abd75d5b1e8" providerId="ADAL" clId="{43B71669-8A80-4333-9349-B258A9296B49}" dt="2024-02-27T17:26:59.514" v="6144" actId="478"/>
          <ac:spMkLst>
            <pc:docMk/>
            <pc:sldMk cId="2468756552" sldId="590"/>
            <ac:spMk id="213" creationId="{C7ACF89A-C797-0D4A-703A-801845123996}"/>
          </ac:spMkLst>
        </pc:spChg>
        <pc:spChg chg="del">
          <ac:chgData name="Bullinger, Marvin" userId="5b54ce5a-dc89-476f-af33-5abd75d5b1e8" providerId="ADAL" clId="{43B71669-8A80-4333-9349-B258A9296B49}" dt="2024-02-27T17:26:59.514" v="6143" actId="478"/>
          <ac:spMkLst>
            <pc:docMk/>
            <pc:sldMk cId="2468756552" sldId="590"/>
            <ac:spMk id="214" creationId="{851E973F-8920-841C-4918-00A7E8AE639E}"/>
          </ac:spMkLst>
        </pc:spChg>
        <pc:spChg chg="del">
          <ac:chgData name="Bullinger, Marvin" userId="5b54ce5a-dc89-476f-af33-5abd75d5b1e8" providerId="ADAL" clId="{43B71669-8A80-4333-9349-B258A9296B49}" dt="2024-02-27T17:26:59.512" v="6142" actId="478"/>
          <ac:spMkLst>
            <pc:docMk/>
            <pc:sldMk cId="2468756552" sldId="590"/>
            <ac:spMk id="215" creationId="{AA9B54EF-7917-DFDF-2E0E-9A824F8FB103}"/>
          </ac:spMkLst>
        </pc:spChg>
        <pc:spChg chg="del">
          <ac:chgData name="Bullinger, Marvin" userId="5b54ce5a-dc89-476f-af33-5abd75d5b1e8" providerId="ADAL" clId="{43B71669-8A80-4333-9349-B258A9296B49}" dt="2024-02-27T17:26:59.512" v="6141" actId="478"/>
          <ac:spMkLst>
            <pc:docMk/>
            <pc:sldMk cId="2468756552" sldId="590"/>
            <ac:spMk id="216" creationId="{CB899EC9-36AF-D2DB-5490-B96DD78116E0}"/>
          </ac:spMkLst>
        </pc:spChg>
        <pc:spChg chg="del">
          <ac:chgData name="Bullinger, Marvin" userId="5b54ce5a-dc89-476f-af33-5abd75d5b1e8" providerId="ADAL" clId="{43B71669-8A80-4333-9349-B258A9296B49}" dt="2024-02-27T17:26:59.512" v="6140" actId="478"/>
          <ac:spMkLst>
            <pc:docMk/>
            <pc:sldMk cId="2468756552" sldId="590"/>
            <ac:spMk id="217" creationId="{70D0F91F-CBC6-1258-975F-AA9D422765BC}"/>
          </ac:spMkLst>
        </pc:spChg>
        <pc:spChg chg="del">
          <ac:chgData name="Bullinger, Marvin" userId="5b54ce5a-dc89-476f-af33-5abd75d5b1e8" providerId="ADAL" clId="{43B71669-8A80-4333-9349-B258A9296B49}" dt="2024-02-27T17:26:59.512" v="6139" actId="478"/>
          <ac:spMkLst>
            <pc:docMk/>
            <pc:sldMk cId="2468756552" sldId="590"/>
            <ac:spMk id="218" creationId="{463F0B89-C105-52D2-D507-40886827775E}"/>
          </ac:spMkLst>
        </pc:spChg>
        <pc:spChg chg="del">
          <ac:chgData name="Bullinger, Marvin" userId="5b54ce5a-dc89-476f-af33-5abd75d5b1e8" providerId="ADAL" clId="{43B71669-8A80-4333-9349-B258A9296B49}" dt="2024-02-27T17:26:59.524" v="6160" actId="478"/>
          <ac:spMkLst>
            <pc:docMk/>
            <pc:sldMk cId="2468756552" sldId="590"/>
            <ac:spMk id="219" creationId="{11E63741-EC04-050F-5F7F-CBFDA7288F1F}"/>
          </ac:spMkLst>
        </pc:spChg>
        <pc:spChg chg="del">
          <ac:chgData name="Bullinger, Marvin" userId="5b54ce5a-dc89-476f-af33-5abd75d5b1e8" providerId="ADAL" clId="{43B71669-8A80-4333-9349-B258A9296B49}" dt="2024-02-27T17:26:59.522" v="6159" actId="478"/>
          <ac:spMkLst>
            <pc:docMk/>
            <pc:sldMk cId="2468756552" sldId="590"/>
            <ac:spMk id="220" creationId="{E2C1B947-287B-F92D-3CA4-70A77D046634}"/>
          </ac:spMkLst>
        </pc:spChg>
        <pc:spChg chg="del">
          <ac:chgData name="Bullinger, Marvin" userId="5b54ce5a-dc89-476f-af33-5abd75d5b1e8" providerId="ADAL" clId="{43B71669-8A80-4333-9349-B258A9296B49}" dt="2024-02-27T17:26:59.522" v="6158" actId="478"/>
          <ac:spMkLst>
            <pc:docMk/>
            <pc:sldMk cId="2468756552" sldId="590"/>
            <ac:spMk id="221" creationId="{16E2D3BD-40EE-3AC7-C278-B255AB6BDC06}"/>
          </ac:spMkLst>
        </pc:spChg>
        <pc:spChg chg="del">
          <ac:chgData name="Bullinger, Marvin" userId="5b54ce5a-dc89-476f-af33-5abd75d5b1e8" providerId="ADAL" clId="{43B71669-8A80-4333-9349-B258A9296B49}" dt="2024-02-27T17:26:59.522" v="6157" actId="478"/>
          <ac:spMkLst>
            <pc:docMk/>
            <pc:sldMk cId="2468756552" sldId="590"/>
            <ac:spMk id="222" creationId="{1FB7FC7E-4FB9-EFFD-6867-C6850EBDD6E4}"/>
          </ac:spMkLst>
        </pc:spChg>
        <pc:spChg chg="del">
          <ac:chgData name="Bullinger, Marvin" userId="5b54ce5a-dc89-476f-af33-5abd75d5b1e8" providerId="ADAL" clId="{43B71669-8A80-4333-9349-B258A9296B49}" dt="2024-02-27T17:26:59.514" v="6156" actId="478"/>
          <ac:spMkLst>
            <pc:docMk/>
            <pc:sldMk cId="2468756552" sldId="590"/>
            <ac:spMk id="223" creationId="{F5613EA5-7DD1-8210-B762-B184890A5CCD}"/>
          </ac:spMkLst>
        </pc:spChg>
        <pc:spChg chg="del">
          <ac:chgData name="Bullinger, Marvin" userId="5b54ce5a-dc89-476f-af33-5abd75d5b1e8" providerId="ADAL" clId="{43B71669-8A80-4333-9349-B258A9296B49}" dt="2024-02-27T17:26:59.514" v="6155" actId="478"/>
          <ac:spMkLst>
            <pc:docMk/>
            <pc:sldMk cId="2468756552" sldId="590"/>
            <ac:spMk id="224" creationId="{8CACD7FF-7789-19A8-C480-AA10AA3A907E}"/>
          </ac:spMkLst>
        </pc:spChg>
        <pc:spChg chg="del">
          <ac:chgData name="Bullinger, Marvin" userId="5b54ce5a-dc89-476f-af33-5abd75d5b1e8" providerId="ADAL" clId="{43B71669-8A80-4333-9349-B258A9296B49}" dt="2024-02-27T17:26:59.514" v="6154" actId="478"/>
          <ac:spMkLst>
            <pc:docMk/>
            <pc:sldMk cId="2468756552" sldId="590"/>
            <ac:spMk id="225" creationId="{EFF3A361-1CD7-43CB-415A-AB30D4050A6F}"/>
          </ac:spMkLst>
        </pc:spChg>
        <pc:spChg chg="del">
          <ac:chgData name="Bullinger, Marvin" userId="5b54ce5a-dc89-476f-af33-5abd75d5b1e8" providerId="ADAL" clId="{43B71669-8A80-4333-9349-B258A9296B49}" dt="2024-02-27T17:26:59.514" v="6153" actId="478"/>
          <ac:spMkLst>
            <pc:docMk/>
            <pc:sldMk cId="2468756552" sldId="590"/>
            <ac:spMk id="226" creationId="{F1826E48-E256-2758-EFDA-FF8D27020865}"/>
          </ac:spMkLst>
        </pc:spChg>
        <pc:spChg chg="del">
          <ac:chgData name="Bullinger, Marvin" userId="5b54ce5a-dc89-476f-af33-5abd75d5b1e8" providerId="ADAL" clId="{43B71669-8A80-4333-9349-B258A9296B49}" dt="2024-02-27T17:26:59.514" v="6145" actId="478"/>
          <ac:spMkLst>
            <pc:docMk/>
            <pc:sldMk cId="2468756552" sldId="590"/>
            <ac:spMk id="227" creationId="{3651C232-371D-9A56-A3AE-55D4DB62931D}"/>
          </ac:spMkLst>
        </pc:spChg>
        <pc:spChg chg="del">
          <ac:chgData name="Bullinger, Marvin" userId="5b54ce5a-dc89-476f-af33-5abd75d5b1e8" providerId="ADAL" clId="{43B71669-8A80-4333-9349-B258A9296B49}" dt="2024-02-27T17:26:59.504" v="6138" actId="478"/>
          <ac:spMkLst>
            <pc:docMk/>
            <pc:sldMk cId="2468756552" sldId="590"/>
            <ac:spMk id="228" creationId="{D1BC9B85-F5EE-BF3A-AFC4-4813200A71E5}"/>
          </ac:spMkLst>
        </pc:spChg>
        <pc:spChg chg="del">
          <ac:chgData name="Bullinger, Marvin" userId="5b54ce5a-dc89-476f-af33-5abd75d5b1e8" providerId="ADAL" clId="{43B71669-8A80-4333-9349-B258A9296B49}" dt="2024-02-27T17:26:59.514" v="6146" actId="478"/>
          <ac:spMkLst>
            <pc:docMk/>
            <pc:sldMk cId="2468756552" sldId="590"/>
            <ac:spMk id="229" creationId="{F4942E14-3CDE-7522-73EF-B01CA72A0955}"/>
          </ac:spMkLst>
        </pc:spChg>
        <pc:spChg chg="del">
          <ac:chgData name="Bullinger, Marvin" userId="5b54ce5a-dc89-476f-af33-5abd75d5b1e8" providerId="ADAL" clId="{43B71669-8A80-4333-9349-B258A9296B49}" dt="2024-02-27T17:26:59.504" v="6137" actId="478"/>
          <ac:spMkLst>
            <pc:docMk/>
            <pc:sldMk cId="2468756552" sldId="590"/>
            <ac:spMk id="230" creationId="{54F6749D-205E-768C-036C-99552858093F}"/>
          </ac:spMkLst>
        </pc:spChg>
        <pc:spChg chg="del">
          <ac:chgData name="Bullinger, Marvin" userId="5b54ce5a-dc89-476f-af33-5abd75d5b1e8" providerId="ADAL" clId="{43B71669-8A80-4333-9349-B258A9296B49}" dt="2024-02-27T17:26:59.504" v="6136" actId="478"/>
          <ac:spMkLst>
            <pc:docMk/>
            <pc:sldMk cId="2468756552" sldId="590"/>
            <ac:spMk id="231" creationId="{7EDABAA6-5736-25E3-1160-2E14979373EE}"/>
          </ac:spMkLst>
        </pc:spChg>
        <pc:spChg chg="del">
          <ac:chgData name="Bullinger, Marvin" userId="5b54ce5a-dc89-476f-af33-5abd75d5b1e8" providerId="ADAL" clId="{43B71669-8A80-4333-9349-B258A9296B49}" dt="2024-02-27T17:26:59.504" v="6135" actId="478"/>
          <ac:spMkLst>
            <pc:docMk/>
            <pc:sldMk cId="2468756552" sldId="590"/>
            <ac:spMk id="232" creationId="{328B8ADA-39E5-8E45-FF6B-8177EFBA856D}"/>
          </ac:spMkLst>
        </pc:spChg>
        <pc:spChg chg="del">
          <ac:chgData name="Bullinger, Marvin" userId="5b54ce5a-dc89-476f-af33-5abd75d5b1e8" providerId="ADAL" clId="{43B71669-8A80-4333-9349-B258A9296B49}" dt="2024-02-27T17:26:59.504" v="6134" actId="478"/>
          <ac:spMkLst>
            <pc:docMk/>
            <pc:sldMk cId="2468756552" sldId="590"/>
            <ac:spMk id="233" creationId="{58DF81EB-F538-C51B-4FAE-32D93ABFB5E4}"/>
          </ac:spMkLst>
        </pc:spChg>
        <pc:spChg chg="del">
          <ac:chgData name="Bullinger, Marvin" userId="5b54ce5a-dc89-476f-af33-5abd75d5b1e8" providerId="ADAL" clId="{43B71669-8A80-4333-9349-B258A9296B49}" dt="2024-02-27T17:26:59.504" v="6133" actId="478"/>
          <ac:spMkLst>
            <pc:docMk/>
            <pc:sldMk cId="2468756552" sldId="590"/>
            <ac:spMk id="234" creationId="{EFCCE3FD-F91D-7635-4065-7046379BC4E0}"/>
          </ac:spMkLst>
        </pc:spChg>
        <pc:spChg chg="del">
          <ac:chgData name="Bullinger, Marvin" userId="5b54ce5a-dc89-476f-af33-5abd75d5b1e8" providerId="ADAL" clId="{43B71669-8A80-4333-9349-B258A9296B49}" dt="2024-02-27T17:26:59.504" v="6132" actId="478"/>
          <ac:spMkLst>
            <pc:docMk/>
            <pc:sldMk cId="2468756552" sldId="590"/>
            <ac:spMk id="235" creationId="{AFDF01D2-DBC4-25D6-FE25-C004BD7609AC}"/>
          </ac:spMkLst>
        </pc:spChg>
        <pc:spChg chg="del">
          <ac:chgData name="Bullinger, Marvin" userId="5b54ce5a-dc89-476f-af33-5abd75d5b1e8" providerId="ADAL" clId="{43B71669-8A80-4333-9349-B258A9296B49}" dt="2024-02-27T17:26:59.504" v="6131" actId="478"/>
          <ac:spMkLst>
            <pc:docMk/>
            <pc:sldMk cId="2468756552" sldId="590"/>
            <ac:spMk id="236" creationId="{E8636F36-45B0-EC64-B163-9AB9B7890096}"/>
          </ac:spMkLst>
        </pc:spChg>
        <pc:spChg chg="del">
          <ac:chgData name="Bullinger, Marvin" userId="5b54ce5a-dc89-476f-af33-5abd75d5b1e8" providerId="ADAL" clId="{43B71669-8A80-4333-9349-B258A9296B49}" dt="2024-02-27T17:26:59.504" v="6130" actId="478"/>
          <ac:spMkLst>
            <pc:docMk/>
            <pc:sldMk cId="2468756552" sldId="590"/>
            <ac:spMk id="237" creationId="{B145BD87-A8B4-73B3-6F58-52D88CE7695C}"/>
          </ac:spMkLst>
        </pc:spChg>
        <pc:spChg chg="del">
          <ac:chgData name="Bullinger, Marvin" userId="5b54ce5a-dc89-476f-af33-5abd75d5b1e8" providerId="ADAL" clId="{43B71669-8A80-4333-9349-B258A9296B49}" dt="2024-02-27T17:26:59.504" v="6129" actId="478"/>
          <ac:spMkLst>
            <pc:docMk/>
            <pc:sldMk cId="2468756552" sldId="590"/>
            <ac:spMk id="238" creationId="{5E477AED-0918-4EFD-2C9B-7BCC1BCC7AEC}"/>
          </ac:spMkLst>
        </pc:spChg>
        <pc:spChg chg="del">
          <ac:chgData name="Bullinger, Marvin" userId="5b54ce5a-dc89-476f-af33-5abd75d5b1e8" providerId="ADAL" clId="{43B71669-8A80-4333-9349-B258A9296B49}" dt="2024-02-27T17:26:59.504" v="6128" actId="478"/>
          <ac:spMkLst>
            <pc:docMk/>
            <pc:sldMk cId="2468756552" sldId="590"/>
            <ac:spMk id="239" creationId="{DDE5824B-3926-BF20-1869-3CA386D5836B}"/>
          </ac:spMkLst>
        </pc:spChg>
        <pc:spChg chg="del">
          <ac:chgData name="Bullinger, Marvin" userId="5b54ce5a-dc89-476f-af33-5abd75d5b1e8" providerId="ADAL" clId="{43B71669-8A80-4333-9349-B258A9296B49}" dt="2024-02-27T17:26:59.504" v="6127" actId="478"/>
          <ac:spMkLst>
            <pc:docMk/>
            <pc:sldMk cId="2468756552" sldId="590"/>
            <ac:spMk id="240" creationId="{00D6387C-22E8-64CA-1163-810092B56319}"/>
          </ac:spMkLst>
        </pc:spChg>
        <pc:spChg chg="del">
          <ac:chgData name="Bullinger, Marvin" userId="5b54ce5a-dc89-476f-af33-5abd75d5b1e8" providerId="ADAL" clId="{43B71669-8A80-4333-9349-B258A9296B49}" dt="2024-02-27T17:26:59.504" v="6126" actId="478"/>
          <ac:spMkLst>
            <pc:docMk/>
            <pc:sldMk cId="2468756552" sldId="590"/>
            <ac:spMk id="241" creationId="{5B55E8B9-D9D4-6283-0D7A-F8A5C23D3D96}"/>
          </ac:spMkLst>
        </pc:spChg>
        <pc:spChg chg="del">
          <ac:chgData name="Bullinger, Marvin" userId="5b54ce5a-dc89-476f-af33-5abd75d5b1e8" providerId="ADAL" clId="{43B71669-8A80-4333-9349-B258A9296B49}" dt="2024-02-27T17:26:59.502" v="6125" actId="478"/>
          <ac:spMkLst>
            <pc:docMk/>
            <pc:sldMk cId="2468756552" sldId="590"/>
            <ac:spMk id="242" creationId="{C2A0D2D9-FDE5-9E57-FF89-723F53F5CFA3}"/>
          </ac:spMkLst>
        </pc:spChg>
        <pc:spChg chg="del">
          <ac:chgData name="Bullinger, Marvin" userId="5b54ce5a-dc89-476f-af33-5abd75d5b1e8" providerId="ADAL" clId="{43B71669-8A80-4333-9349-B258A9296B49}" dt="2024-02-27T17:26:59.502" v="6124" actId="478"/>
          <ac:spMkLst>
            <pc:docMk/>
            <pc:sldMk cId="2468756552" sldId="590"/>
            <ac:spMk id="243" creationId="{A6CDDD81-79F3-FEEF-66CB-E0FBF8E02337}"/>
          </ac:spMkLst>
        </pc:spChg>
        <pc:spChg chg="replST">
          <ac:chgData name="Bullinger, Marvin" userId="5b54ce5a-dc89-476f-af33-5abd75d5b1e8" providerId="ADAL" clId="{43B71669-8A80-4333-9349-B258A9296B49}" dt="2024-02-27T17:27:00.765" v="6717"/>
          <ac:spMkLst>
            <pc:docMk/>
            <pc:sldMk cId="2468756552" sldId="590"/>
            <ac:spMk id="244" creationId="{55EACC73-F812-274B-6F07-C80DFFDEA67F}"/>
          </ac:spMkLst>
        </pc:spChg>
        <pc:spChg chg="replST">
          <ac:chgData name="Bullinger, Marvin" userId="5b54ce5a-dc89-476f-af33-5abd75d5b1e8" providerId="ADAL" clId="{43B71669-8A80-4333-9349-B258A9296B49}" dt="2024-02-27T17:27:00.781" v="6720"/>
          <ac:spMkLst>
            <pc:docMk/>
            <pc:sldMk cId="2468756552" sldId="590"/>
            <ac:spMk id="245" creationId="{1E08120C-502C-5BF1-F1BA-39FF3901088A}"/>
          </ac:spMkLst>
        </pc:spChg>
        <pc:spChg chg="replST">
          <ac:chgData name="Bullinger, Marvin" userId="5b54ce5a-dc89-476f-af33-5abd75d5b1e8" providerId="ADAL" clId="{43B71669-8A80-4333-9349-B258A9296B49}" dt="2024-02-27T17:27:00.791" v="6724"/>
          <ac:spMkLst>
            <pc:docMk/>
            <pc:sldMk cId="2468756552" sldId="590"/>
            <ac:spMk id="247" creationId="{23B9C97F-21A7-E53F-4C50-7696EEE39862}"/>
          </ac:spMkLst>
        </pc:spChg>
        <pc:spChg chg="replST">
          <ac:chgData name="Bullinger, Marvin" userId="5b54ce5a-dc89-476f-af33-5abd75d5b1e8" providerId="ADAL" clId="{43B71669-8A80-4333-9349-B258A9296B49}" dt="2024-02-27T17:27:00.806" v="6727"/>
          <ac:spMkLst>
            <pc:docMk/>
            <pc:sldMk cId="2468756552" sldId="590"/>
            <ac:spMk id="248" creationId="{0A93B687-F58C-C4AB-43DD-1CF86CC284ED}"/>
          </ac:spMkLst>
        </pc:spChg>
        <pc:spChg chg="replST">
          <ac:chgData name="Bullinger, Marvin" userId="5b54ce5a-dc89-476f-af33-5abd75d5b1e8" providerId="ADAL" clId="{43B71669-8A80-4333-9349-B258A9296B49}" dt="2024-02-27T17:27:00.815" v="6731"/>
          <ac:spMkLst>
            <pc:docMk/>
            <pc:sldMk cId="2468756552" sldId="590"/>
            <ac:spMk id="250" creationId="{715037E0-1E4F-5D78-C65F-FEB67A178DC6}"/>
          </ac:spMkLst>
        </pc:spChg>
        <pc:spChg chg="replST">
          <ac:chgData name="Bullinger, Marvin" userId="5b54ce5a-dc89-476f-af33-5abd75d5b1e8" providerId="ADAL" clId="{43B71669-8A80-4333-9349-B258A9296B49}" dt="2024-02-27T17:27:00.823" v="6734"/>
          <ac:spMkLst>
            <pc:docMk/>
            <pc:sldMk cId="2468756552" sldId="590"/>
            <ac:spMk id="251" creationId="{66913BE1-85C1-BA11-083E-F81339B3D971}"/>
          </ac:spMkLst>
        </pc:spChg>
        <pc:spChg chg="replST">
          <ac:chgData name="Bullinger, Marvin" userId="5b54ce5a-dc89-476f-af33-5abd75d5b1e8" providerId="ADAL" clId="{43B71669-8A80-4333-9349-B258A9296B49}" dt="2024-02-27T17:27:00.823" v="6738"/>
          <ac:spMkLst>
            <pc:docMk/>
            <pc:sldMk cId="2468756552" sldId="590"/>
            <ac:spMk id="253" creationId="{D7ADA62E-7FD5-6A05-5B3C-B29FC8D909A5}"/>
          </ac:spMkLst>
        </pc:spChg>
        <pc:spChg chg="replST">
          <ac:chgData name="Bullinger, Marvin" userId="5b54ce5a-dc89-476f-af33-5abd75d5b1e8" providerId="ADAL" clId="{43B71669-8A80-4333-9349-B258A9296B49}" dt="2024-02-27T17:27:00.839" v="6741"/>
          <ac:spMkLst>
            <pc:docMk/>
            <pc:sldMk cId="2468756552" sldId="590"/>
            <ac:spMk id="254" creationId="{271E2691-0515-DC68-1D46-630391266C26}"/>
          </ac:spMkLst>
        </pc:spChg>
        <pc:spChg chg="replST">
          <ac:chgData name="Bullinger, Marvin" userId="5b54ce5a-dc89-476f-af33-5abd75d5b1e8" providerId="ADAL" clId="{43B71669-8A80-4333-9349-B258A9296B49}" dt="2024-02-27T17:27:00.839" v="6745"/>
          <ac:spMkLst>
            <pc:docMk/>
            <pc:sldMk cId="2468756552" sldId="590"/>
            <ac:spMk id="256" creationId="{0C004705-DAE6-3351-95B7-5355B4073397}"/>
          </ac:spMkLst>
        </pc:spChg>
        <pc:spChg chg="replST">
          <ac:chgData name="Bullinger, Marvin" userId="5b54ce5a-dc89-476f-af33-5abd75d5b1e8" providerId="ADAL" clId="{43B71669-8A80-4333-9349-B258A9296B49}" dt="2024-02-27T17:27:00.839" v="6748"/>
          <ac:spMkLst>
            <pc:docMk/>
            <pc:sldMk cId="2468756552" sldId="590"/>
            <ac:spMk id="257" creationId="{7D632341-045F-2F06-F185-A725FD1F2556}"/>
          </ac:spMkLst>
        </pc:spChg>
        <pc:spChg chg="replST">
          <ac:chgData name="Bullinger, Marvin" userId="5b54ce5a-dc89-476f-af33-5abd75d5b1e8" providerId="ADAL" clId="{43B71669-8A80-4333-9349-B258A9296B49}" dt="2024-02-27T17:27:00.854" v="6752"/>
          <ac:spMkLst>
            <pc:docMk/>
            <pc:sldMk cId="2468756552" sldId="590"/>
            <ac:spMk id="259" creationId="{58EC43A7-46EE-435D-4EAA-082E24688F39}"/>
          </ac:spMkLst>
        </pc:spChg>
        <pc:spChg chg="replST">
          <ac:chgData name="Bullinger, Marvin" userId="5b54ce5a-dc89-476f-af33-5abd75d5b1e8" providerId="ADAL" clId="{43B71669-8A80-4333-9349-B258A9296B49}" dt="2024-02-27T17:27:00.854" v="6755"/>
          <ac:spMkLst>
            <pc:docMk/>
            <pc:sldMk cId="2468756552" sldId="590"/>
            <ac:spMk id="260" creationId="{F190ED07-8E34-6DE2-9DD7-75DAB234101D}"/>
          </ac:spMkLst>
        </pc:spChg>
        <pc:spChg chg="replST">
          <ac:chgData name="Bullinger, Marvin" userId="5b54ce5a-dc89-476f-af33-5abd75d5b1e8" providerId="ADAL" clId="{43B71669-8A80-4333-9349-B258A9296B49}" dt="2024-02-27T17:27:00.865" v="6759"/>
          <ac:spMkLst>
            <pc:docMk/>
            <pc:sldMk cId="2468756552" sldId="590"/>
            <ac:spMk id="262" creationId="{47DAB863-FD54-F810-94CA-6B0DBA16BFA1}"/>
          </ac:spMkLst>
        </pc:spChg>
        <pc:spChg chg="replST">
          <ac:chgData name="Bullinger, Marvin" userId="5b54ce5a-dc89-476f-af33-5abd75d5b1e8" providerId="ADAL" clId="{43B71669-8A80-4333-9349-B258A9296B49}" dt="2024-02-27T17:27:00.865" v="6762"/>
          <ac:spMkLst>
            <pc:docMk/>
            <pc:sldMk cId="2468756552" sldId="590"/>
            <ac:spMk id="263" creationId="{0196C0E9-5800-2B3E-C15F-C0A1768BDF4E}"/>
          </ac:spMkLst>
        </pc:spChg>
        <pc:spChg chg="replST">
          <ac:chgData name="Bullinger, Marvin" userId="5b54ce5a-dc89-476f-af33-5abd75d5b1e8" providerId="ADAL" clId="{43B71669-8A80-4333-9349-B258A9296B49}" dt="2024-02-27T17:27:00.880" v="6766"/>
          <ac:spMkLst>
            <pc:docMk/>
            <pc:sldMk cId="2468756552" sldId="590"/>
            <ac:spMk id="265" creationId="{DFA8C1A4-CDEA-1253-AE57-EFC08C148C02}"/>
          </ac:spMkLst>
        </pc:spChg>
        <pc:spChg chg="replST">
          <ac:chgData name="Bullinger, Marvin" userId="5b54ce5a-dc89-476f-af33-5abd75d5b1e8" providerId="ADAL" clId="{43B71669-8A80-4333-9349-B258A9296B49}" dt="2024-02-27T17:27:00.880" v="6769"/>
          <ac:spMkLst>
            <pc:docMk/>
            <pc:sldMk cId="2468756552" sldId="590"/>
            <ac:spMk id="266" creationId="{BF4F3A1E-A56C-C2F1-EC33-9DBE369C08C8}"/>
          </ac:spMkLst>
        </pc:spChg>
        <pc:spChg chg="del ord replST">
          <ac:chgData name="Bullinger, Marvin" userId="5b54ce5a-dc89-476f-af33-5abd75d5b1e8" providerId="ADAL" clId="{43B71669-8A80-4333-9349-B258A9296B49}" dt="2024-02-27T17:27:37.158" v="7222" actId="478"/>
          <ac:spMkLst>
            <pc:docMk/>
            <pc:sldMk cId="2468756552" sldId="590"/>
            <ac:spMk id="267" creationId="{39B01D9B-F4C0-EA15-CE4A-903A5B251F39}"/>
          </ac:spMkLst>
        </pc:spChg>
        <pc:spChg chg="add mod">
          <ac:chgData name="Bullinger, Marvin" userId="5b54ce5a-dc89-476f-af33-5abd75d5b1e8" providerId="ADAL" clId="{43B71669-8A80-4333-9349-B258A9296B49}" dt="2024-02-27T17:27:37.147" v="7214" actId="478"/>
          <ac:spMkLst>
            <pc:docMk/>
            <pc:sldMk cId="2468756552" sldId="590"/>
            <ac:spMk id="306" creationId="{E4D60E97-2B9D-EC0A-4693-A623DCD74512}"/>
          </ac:spMkLst>
        </pc:spChg>
        <pc:spChg chg="mod ord replST">
          <ac:chgData name="Bullinger, Marvin" userId="5b54ce5a-dc89-476f-af33-5abd75d5b1e8" providerId="ADAL" clId="{43B71669-8A80-4333-9349-B258A9296B49}" dt="2024-02-27T17:27:38.346" v="7738"/>
          <ac:spMkLst>
            <pc:docMk/>
            <pc:sldMk cId="2468756552" sldId="590"/>
            <ac:spMk id="307" creationId="{6A98EB7A-28A0-C624-2B69-25888CC407C2}"/>
          </ac:spMkLst>
        </pc:spChg>
        <pc:spChg chg="del">
          <ac:chgData name="Bullinger, Marvin" userId="5b54ce5a-dc89-476f-af33-5abd75d5b1e8" providerId="ADAL" clId="{43B71669-8A80-4333-9349-B258A9296B49}" dt="2024-02-27T17:27:37.188" v="7251" actId="478"/>
          <ac:spMkLst>
            <pc:docMk/>
            <pc:sldMk cId="2468756552" sldId="590"/>
            <ac:spMk id="308" creationId="{D51D35B0-AAAE-F084-B0D7-5D41A42CDC7F}"/>
          </ac:spMkLst>
        </pc:spChg>
        <pc:spChg chg="del">
          <ac:chgData name="Bullinger, Marvin" userId="5b54ce5a-dc89-476f-af33-5abd75d5b1e8" providerId="ADAL" clId="{43B71669-8A80-4333-9349-B258A9296B49}" dt="2024-02-27T17:27:37.188" v="7250" actId="478"/>
          <ac:spMkLst>
            <pc:docMk/>
            <pc:sldMk cId="2468756552" sldId="590"/>
            <ac:spMk id="309" creationId="{36291254-4BC4-F67F-A69E-2E58389A7156}"/>
          </ac:spMkLst>
        </pc:spChg>
        <pc:spChg chg="del">
          <ac:chgData name="Bullinger, Marvin" userId="5b54ce5a-dc89-476f-af33-5abd75d5b1e8" providerId="ADAL" clId="{43B71669-8A80-4333-9349-B258A9296B49}" dt="2024-02-27T17:27:37.188" v="7249" actId="478"/>
          <ac:spMkLst>
            <pc:docMk/>
            <pc:sldMk cId="2468756552" sldId="590"/>
            <ac:spMk id="310" creationId="{7F8866F7-9EDE-1449-0055-A111AC46CD8E}"/>
          </ac:spMkLst>
        </pc:spChg>
        <pc:spChg chg="del">
          <ac:chgData name="Bullinger, Marvin" userId="5b54ce5a-dc89-476f-af33-5abd75d5b1e8" providerId="ADAL" clId="{43B71669-8A80-4333-9349-B258A9296B49}" dt="2024-02-27T17:27:37.187" v="7248" actId="478"/>
          <ac:spMkLst>
            <pc:docMk/>
            <pc:sldMk cId="2468756552" sldId="590"/>
            <ac:spMk id="311" creationId="{2F3346DE-E3A7-652E-9D5B-99D9FB203E8F}"/>
          </ac:spMkLst>
        </pc:spChg>
        <pc:spChg chg="del">
          <ac:chgData name="Bullinger, Marvin" userId="5b54ce5a-dc89-476f-af33-5abd75d5b1e8" providerId="ADAL" clId="{43B71669-8A80-4333-9349-B258A9296B49}" dt="2024-02-27T17:27:37.187" v="7247" actId="478"/>
          <ac:spMkLst>
            <pc:docMk/>
            <pc:sldMk cId="2468756552" sldId="590"/>
            <ac:spMk id="312" creationId="{A70B02A5-A9A9-DA17-0DCC-5C6D86CDDFFA}"/>
          </ac:spMkLst>
        </pc:spChg>
        <pc:spChg chg="del">
          <ac:chgData name="Bullinger, Marvin" userId="5b54ce5a-dc89-476f-af33-5abd75d5b1e8" providerId="ADAL" clId="{43B71669-8A80-4333-9349-B258A9296B49}" dt="2024-02-27T17:27:37.187" v="7246" actId="478"/>
          <ac:spMkLst>
            <pc:docMk/>
            <pc:sldMk cId="2468756552" sldId="590"/>
            <ac:spMk id="313" creationId="{D049ADC9-79D2-2B39-A33D-8134A6F46D2B}"/>
          </ac:spMkLst>
        </pc:spChg>
        <pc:spChg chg="del">
          <ac:chgData name="Bullinger, Marvin" userId="5b54ce5a-dc89-476f-af33-5abd75d5b1e8" providerId="ADAL" clId="{43B71669-8A80-4333-9349-B258A9296B49}" dt="2024-02-27T17:27:37.178" v="7243" actId="478"/>
          <ac:spMkLst>
            <pc:docMk/>
            <pc:sldMk cId="2468756552" sldId="590"/>
            <ac:spMk id="314" creationId="{EB087267-4557-FF5B-2D72-F55DBB445336}"/>
          </ac:spMkLst>
        </pc:spChg>
        <pc:spChg chg="del">
          <ac:chgData name="Bullinger, Marvin" userId="5b54ce5a-dc89-476f-af33-5abd75d5b1e8" providerId="ADAL" clId="{43B71669-8A80-4333-9349-B258A9296B49}" dt="2024-02-27T17:27:37.178" v="7242" actId="478"/>
          <ac:spMkLst>
            <pc:docMk/>
            <pc:sldMk cId="2468756552" sldId="590"/>
            <ac:spMk id="315" creationId="{091185F7-3A60-2682-D15C-09BC20D8E2DD}"/>
          </ac:spMkLst>
        </pc:spChg>
        <pc:spChg chg="del">
          <ac:chgData name="Bullinger, Marvin" userId="5b54ce5a-dc89-476f-af33-5abd75d5b1e8" providerId="ADAL" clId="{43B71669-8A80-4333-9349-B258A9296B49}" dt="2024-02-27T17:27:37.178" v="7241" actId="478"/>
          <ac:spMkLst>
            <pc:docMk/>
            <pc:sldMk cId="2468756552" sldId="590"/>
            <ac:spMk id="316" creationId="{449141BE-4579-B546-496A-D88131AE9539}"/>
          </ac:spMkLst>
        </pc:spChg>
        <pc:spChg chg="del">
          <ac:chgData name="Bullinger, Marvin" userId="5b54ce5a-dc89-476f-af33-5abd75d5b1e8" providerId="ADAL" clId="{43B71669-8A80-4333-9349-B258A9296B49}" dt="2024-02-27T17:27:37.178" v="7240" actId="478"/>
          <ac:spMkLst>
            <pc:docMk/>
            <pc:sldMk cId="2468756552" sldId="590"/>
            <ac:spMk id="317" creationId="{CBC419BE-A344-8717-105F-B559999706CB}"/>
          </ac:spMkLst>
        </pc:spChg>
        <pc:spChg chg="del">
          <ac:chgData name="Bullinger, Marvin" userId="5b54ce5a-dc89-476f-af33-5abd75d5b1e8" providerId="ADAL" clId="{43B71669-8A80-4333-9349-B258A9296B49}" dt="2024-02-27T17:27:37.178" v="7239" actId="478"/>
          <ac:spMkLst>
            <pc:docMk/>
            <pc:sldMk cId="2468756552" sldId="590"/>
            <ac:spMk id="318" creationId="{2865212C-BA13-7F9D-F088-A1A9897E7C49}"/>
          </ac:spMkLst>
        </pc:spChg>
        <pc:spChg chg="del">
          <ac:chgData name="Bullinger, Marvin" userId="5b54ce5a-dc89-476f-af33-5abd75d5b1e8" providerId="ADAL" clId="{43B71669-8A80-4333-9349-B258A9296B49}" dt="2024-02-27T17:27:37.178" v="7238" actId="478"/>
          <ac:spMkLst>
            <pc:docMk/>
            <pc:sldMk cId="2468756552" sldId="590"/>
            <ac:spMk id="319" creationId="{413C9CA7-B159-1FFE-700F-3E2DA1F88FA1}"/>
          </ac:spMkLst>
        </pc:spChg>
        <pc:spChg chg="del">
          <ac:chgData name="Bullinger, Marvin" userId="5b54ce5a-dc89-476f-af33-5abd75d5b1e8" providerId="ADAL" clId="{43B71669-8A80-4333-9349-B258A9296B49}" dt="2024-02-27T17:27:37.188" v="7259" actId="478"/>
          <ac:spMkLst>
            <pc:docMk/>
            <pc:sldMk cId="2468756552" sldId="590"/>
            <ac:spMk id="320" creationId="{5F8B89A7-2C9E-BDC8-D979-56306147C0AD}"/>
          </ac:spMkLst>
        </pc:spChg>
        <pc:spChg chg="del">
          <ac:chgData name="Bullinger, Marvin" userId="5b54ce5a-dc89-476f-af33-5abd75d5b1e8" providerId="ADAL" clId="{43B71669-8A80-4333-9349-B258A9296B49}" dt="2024-02-27T17:27:37.188" v="7258" actId="478"/>
          <ac:spMkLst>
            <pc:docMk/>
            <pc:sldMk cId="2468756552" sldId="590"/>
            <ac:spMk id="321" creationId="{A63B2010-9F37-4C94-6737-738074EF1B10}"/>
          </ac:spMkLst>
        </pc:spChg>
        <pc:spChg chg="del">
          <ac:chgData name="Bullinger, Marvin" userId="5b54ce5a-dc89-476f-af33-5abd75d5b1e8" providerId="ADAL" clId="{43B71669-8A80-4333-9349-B258A9296B49}" dt="2024-02-27T17:27:37.188" v="7257" actId="478"/>
          <ac:spMkLst>
            <pc:docMk/>
            <pc:sldMk cId="2468756552" sldId="590"/>
            <ac:spMk id="322" creationId="{E6E85A1F-39B7-EC88-2340-A5E9F6C3F107}"/>
          </ac:spMkLst>
        </pc:spChg>
        <pc:spChg chg="del">
          <ac:chgData name="Bullinger, Marvin" userId="5b54ce5a-dc89-476f-af33-5abd75d5b1e8" providerId="ADAL" clId="{43B71669-8A80-4333-9349-B258A9296B49}" dt="2024-02-27T17:27:37.188" v="7256" actId="478"/>
          <ac:spMkLst>
            <pc:docMk/>
            <pc:sldMk cId="2468756552" sldId="590"/>
            <ac:spMk id="323" creationId="{9A033A2C-A5A9-1D23-C9D1-FB253901CB92}"/>
          </ac:spMkLst>
        </pc:spChg>
        <pc:spChg chg="del">
          <ac:chgData name="Bullinger, Marvin" userId="5b54ce5a-dc89-476f-af33-5abd75d5b1e8" providerId="ADAL" clId="{43B71669-8A80-4333-9349-B258A9296B49}" dt="2024-02-27T17:27:37.188" v="7255" actId="478"/>
          <ac:spMkLst>
            <pc:docMk/>
            <pc:sldMk cId="2468756552" sldId="590"/>
            <ac:spMk id="324" creationId="{777A7E23-F8B1-22D9-A136-50ECFA5C94C7}"/>
          </ac:spMkLst>
        </pc:spChg>
        <pc:spChg chg="del">
          <ac:chgData name="Bullinger, Marvin" userId="5b54ce5a-dc89-476f-af33-5abd75d5b1e8" providerId="ADAL" clId="{43B71669-8A80-4333-9349-B258A9296B49}" dt="2024-02-27T17:27:37.188" v="7254" actId="478"/>
          <ac:spMkLst>
            <pc:docMk/>
            <pc:sldMk cId="2468756552" sldId="590"/>
            <ac:spMk id="325" creationId="{18056AAF-1770-EB17-4555-903897423FCF}"/>
          </ac:spMkLst>
        </pc:spChg>
        <pc:spChg chg="del">
          <ac:chgData name="Bullinger, Marvin" userId="5b54ce5a-dc89-476f-af33-5abd75d5b1e8" providerId="ADAL" clId="{43B71669-8A80-4333-9349-B258A9296B49}" dt="2024-02-27T17:27:37.188" v="7253" actId="478"/>
          <ac:spMkLst>
            <pc:docMk/>
            <pc:sldMk cId="2468756552" sldId="590"/>
            <ac:spMk id="326" creationId="{15F3960E-7261-27EE-4B71-E4E6D1BAC1EE}"/>
          </ac:spMkLst>
        </pc:spChg>
        <pc:spChg chg="del">
          <ac:chgData name="Bullinger, Marvin" userId="5b54ce5a-dc89-476f-af33-5abd75d5b1e8" providerId="ADAL" clId="{43B71669-8A80-4333-9349-B258A9296B49}" dt="2024-02-27T17:27:37.188" v="7252" actId="478"/>
          <ac:spMkLst>
            <pc:docMk/>
            <pc:sldMk cId="2468756552" sldId="590"/>
            <ac:spMk id="327" creationId="{ABB585EB-7535-EB4D-D9C9-41E7682CB3AF}"/>
          </ac:spMkLst>
        </pc:spChg>
        <pc:spChg chg="del">
          <ac:chgData name="Bullinger, Marvin" userId="5b54ce5a-dc89-476f-af33-5abd75d5b1e8" providerId="ADAL" clId="{43B71669-8A80-4333-9349-B258A9296B49}" dt="2024-02-27T17:27:37.178" v="7244" actId="478"/>
          <ac:spMkLst>
            <pc:docMk/>
            <pc:sldMk cId="2468756552" sldId="590"/>
            <ac:spMk id="328" creationId="{D025634A-0C8C-4E51-48FD-213DB0CDF6EA}"/>
          </ac:spMkLst>
        </pc:spChg>
        <pc:spChg chg="del">
          <ac:chgData name="Bullinger, Marvin" userId="5b54ce5a-dc89-476f-af33-5abd75d5b1e8" providerId="ADAL" clId="{43B71669-8A80-4333-9349-B258A9296B49}" dt="2024-02-27T17:27:37.178" v="7237" actId="478"/>
          <ac:spMkLst>
            <pc:docMk/>
            <pc:sldMk cId="2468756552" sldId="590"/>
            <ac:spMk id="329" creationId="{916B77AC-1AE1-40FF-690F-98A84FFEA3CE}"/>
          </ac:spMkLst>
        </pc:spChg>
        <pc:spChg chg="del">
          <ac:chgData name="Bullinger, Marvin" userId="5b54ce5a-dc89-476f-af33-5abd75d5b1e8" providerId="ADAL" clId="{43B71669-8A80-4333-9349-B258A9296B49}" dt="2024-02-27T17:27:37.178" v="7245" actId="478"/>
          <ac:spMkLst>
            <pc:docMk/>
            <pc:sldMk cId="2468756552" sldId="590"/>
            <ac:spMk id="330" creationId="{B9E89EAE-1D9E-AABB-046A-340FD5B01332}"/>
          </ac:spMkLst>
        </pc:spChg>
        <pc:spChg chg="del">
          <ac:chgData name="Bullinger, Marvin" userId="5b54ce5a-dc89-476f-af33-5abd75d5b1e8" providerId="ADAL" clId="{43B71669-8A80-4333-9349-B258A9296B49}" dt="2024-02-27T17:27:37.178" v="7236" actId="478"/>
          <ac:spMkLst>
            <pc:docMk/>
            <pc:sldMk cId="2468756552" sldId="590"/>
            <ac:spMk id="331" creationId="{75699A6A-97AD-CEC8-FD55-A090143C0E8C}"/>
          </ac:spMkLst>
        </pc:spChg>
        <pc:spChg chg="del">
          <ac:chgData name="Bullinger, Marvin" userId="5b54ce5a-dc89-476f-af33-5abd75d5b1e8" providerId="ADAL" clId="{43B71669-8A80-4333-9349-B258A9296B49}" dt="2024-02-27T17:27:37.178" v="7235" actId="478"/>
          <ac:spMkLst>
            <pc:docMk/>
            <pc:sldMk cId="2468756552" sldId="590"/>
            <ac:spMk id="332" creationId="{6E967E4D-E5F3-5699-EDF4-1049A7BC97D1}"/>
          </ac:spMkLst>
        </pc:spChg>
        <pc:spChg chg="del">
          <ac:chgData name="Bullinger, Marvin" userId="5b54ce5a-dc89-476f-af33-5abd75d5b1e8" providerId="ADAL" clId="{43B71669-8A80-4333-9349-B258A9296B49}" dt="2024-02-27T17:27:37.178" v="7234" actId="478"/>
          <ac:spMkLst>
            <pc:docMk/>
            <pc:sldMk cId="2468756552" sldId="590"/>
            <ac:spMk id="333" creationId="{89FE4ECE-E185-9103-497E-5E97427B51C4}"/>
          </ac:spMkLst>
        </pc:spChg>
        <pc:spChg chg="del">
          <ac:chgData name="Bullinger, Marvin" userId="5b54ce5a-dc89-476f-af33-5abd75d5b1e8" providerId="ADAL" clId="{43B71669-8A80-4333-9349-B258A9296B49}" dt="2024-02-27T17:27:37.178" v="7233" actId="478"/>
          <ac:spMkLst>
            <pc:docMk/>
            <pc:sldMk cId="2468756552" sldId="590"/>
            <ac:spMk id="334" creationId="{6F49E4E5-53A1-2EB7-8C03-9EE5B6BF79B1}"/>
          </ac:spMkLst>
        </pc:spChg>
        <pc:spChg chg="del">
          <ac:chgData name="Bullinger, Marvin" userId="5b54ce5a-dc89-476f-af33-5abd75d5b1e8" providerId="ADAL" clId="{43B71669-8A80-4333-9349-B258A9296B49}" dt="2024-02-27T17:27:37.178" v="7232" actId="478"/>
          <ac:spMkLst>
            <pc:docMk/>
            <pc:sldMk cId="2468756552" sldId="590"/>
            <ac:spMk id="335" creationId="{9B12748A-A766-F263-8007-6906EF16313E}"/>
          </ac:spMkLst>
        </pc:spChg>
        <pc:spChg chg="del">
          <ac:chgData name="Bullinger, Marvin" userId="5b54ce5a-dc89-476f-af33-5abd75d5b1e8" providerId="ADAL" clId="{43B71669-8A80-4333-9349-B258A9296B49}" dt="2024-02-27T17:27:37.178" v="7231" actId="478"/>
          <ac:spMkLst>
            <pc:docMk/>
            <pc:sldMk cId="2468756552" sldId="590"/>
            <ac:spMk id="336" creationId="{F12020D2-DCC5-0B9E-1319-EC69F7E982A8}"/>
          </ac:spMkLst>
        </pc:spChg>
        <pc:spChg chg="del">
          <ac:chgData name="Bullinger, Marvin" userId="5b54ce5a-dc89-476f-af33-5abd75d5b1e8" providerId="ADAL" clId="{43B71669-8A80-4333-9349-B258A9296B49}" dt="2024-02-27T17:27:37.177" v="7230" actId="478"/>
          <ac:spMkLst>
            <pc:docMk/>
            <pc:sldMk cId="2468756552" sldId="590"/>
            <ac:spMk id="337" creationId="{17CF4CFC-2027-ED1C-3042-08BB29C39C1E}"/>
          </ac:spMkLst>
        </pc:spChg>
        <pc:spChg chg="del">
          <ac:chgData name="Bullinger, Marvin" userId="5b54ce5a-dc89-476f-af33-5abd75d5b1e8" providerId="ADAL" clId="{43B71669-8A80-4333-9349-B258A9296B49}" dt="2024-02-27T17:27:37.177" v="7229" actId="478"/>
          <ac:spMkLst>
            <pc:docMk/>
            <pc:sldMk cId="2468756552" sldId="590"/>
            <ac:spMk id="338" creationId="{6297BC62-F1B9-4FDE-B83B-F3FB9503717E}"/>
          </ac:spMkLst>
        </pc:spChg>
        <pc:spChg chg="del">
          <ac:chgData name="Bullinger, Marvin" userId="5b54ce5a-dc89-476f-af33-5abd75d5b1e8" providerId="ADAL" clId="{43B71669-8A80-4333-9349-B258A9296B49}" dt="2024-02-27T17:27:37.177" v="7228" actId="478"/>
          <ac:spMkLst>
            <pc:docMk/>
            <pc:sldMk cId="2468756552" sldId="590"/>
            <ac:spMk id="339" creationId="{7D523FAA-F93F-FE47-F8CC-A67066067054}"/>
          </ac:spMkLst>
        </pc:spChg>
        <pc:spChg chg="del">
          <ac:chgData name="Bullinger, Marvin" userId="5b54ce5a-dc89-476f-af33-5abd75d5b1e8" providerId="ADAL" clId="{43B71669-8A80-4333-9349-B258A9296B49}" dt="2024-02-27T17:27:37.176" v="7227" actId="478"/>
          <ac:spMkLst>
            <pc:docMk/>
            <pc:sldMk cId="2468756552" sldId="590"/>
            <ac:spMk id="340" creationId="{9EA34890-4F2E-9076-F4F6-A483AE4CFC2F}"/>
          </ac:spMkLst>
        </pc:spChg>
        <pc:spChg chg="del">
          <ac:chgData name="Bullinger, Marvin" userId="5b54ce5a-dc89-476f-af33-5abd75d5b1e8" providerId="ADAL" clId="{43B71669-8A80-4333-9349-B258A9296B49}" dt="2024-02-27T17:27:37.168" v="7226" actId="478"/>
          <ac:spMkLst>
            <pc:docMk/>
            <pc:sldMk cId="2468756552" sldId="590"/>
            <ac:spMk id="341" creationId="{13193678-162D-C575-997E-AF863E8CB29C}"/>
          </ac:spMkLst>
        </pc:spChg>
        <pc:spChg chg="del">
          <ac:chgData name="Bullinger, Marvin" userId="5b54ce5a-dc89-476f-af33-5abd75d5b1e8" providerId="ADAL" clId="{43B71669-8A80-4333-9349-B258A9296B49}" dt="2024-02-27T17:27:37.168" v="7225" actId="478"/>
          <ac:spMkLst>
            <pc:docMk/>
            <pc:sldMk cId="2468756552" sldId="590"/>
            <ac:spMk id="342" creationId="{980D517A-8E7A-B96A-6573-7A1E1B17100B}"/>
          </ac:spMkLst>
        </pc:spChg>
        <pc:spChg chg="del">
          <ac:chgData name="Bullinger, Marvin" userId="5b54ce5a-dc89-476f-af33-5abd75d5b1e8" providerId="ADAL" clId="{43B71669-8A80-4333-9349-B258A9296B49}" dt="2024-02-27T17:27:37.168" v="7224" actId="478"/>
          <ac:spMkLst>
            <pc:docMk/>
            <pc:sldMk cId="2468756552" sldId="590"/>
            <ac:spMk id="343" creationId="{DEBEE094-F6E1-D92C-5783-6FF2E9EF9FB9}"/>
          </ac:spMkLst>
        </pc:spChg>
        <pc:spChg chg="del">
          <ac:chgData name="Bullinger, Marvin" userId="5b54ce5a-dc89-476f-af33-5abd75d5b1e8" providerId="ADAL" clId="{43B71669-8A80-4333-9349-B258A9296B49}" dt="2024-02-27T17:27:37.168" v="7223" actId="478"/>
          <ac:spMkLst>
            <pc:docMk/>
            <pc:sldMk cId="2468756552" sldId="590"/>
            <ac:spMk id="344" creationId="{15C4F1AC-79C9-B079-C664-7348F29860B8}"/>
          </ac:spMkLst>
        </pc:spChg>
        <pc:spChg chg="replST">
          <ac:chgData name="Bullinger, Marvin" userId="5b54ce5a-dc89-476f-af33-5abd75d5b1e8" providerId="ADAL" clId="{43B71669-8A80-4333-9349-B258A9296B49}" dt="2024-02-27T17:27:38.252" v="7691"/>
          <ac:spMkLst>
            <pc:docMk/>
            <pc:sldMk cId="2468756552" sldId="590"/>
            <ac:spMk id="345" creationId="{252934DB-F871-45B2-7329-EB089408F0E4}"/>
          </ac:spMkLst>
        </pc:spChg>
        <pc:spChg chg="replST">
          <ac:chgData name="Bullinger, Marvin" userId="5b54ce5a-dc89-476f-af33-5abd75d5b1e8" providerId="ADAL" clId="{43B71669-8A80-4333-9349-B258A9296B49}" dt="2024-02-27T17:27:38.262" v="7694"/>
          <ac:spMkLst>
            <pc:docMk/>
            <pc:sldMk cId="2468756552" sldId="590"/>
            <ac:spMk id="346" creationId="{ECDCBC56-4253-191E-9865-112BA0DFC608}"/>
          </ac:spMkLst>
        </pc:spChg>
        <pc:spChg chg="replST">
          <ac:chgData name="Bullinger, Marvin" userId="5b54ce5a-dc89-476f-af33-5abd75d5b1e8" providerId="ADAL" clId="{43B71669-8A80-4333-9349-B258A9296B49}" dt="2024-02-27T17:27:38.270" v="7698"/>
          <ac:spMkLst>
            <pc:docMk/>
            <pc:sldMk cId="2468756552" sldId="590"/>
            <ac:spMk id="348" creationId="{69D1C917-B722-56C9-6527-6A7D61ED6617}"/>
          </ac:spMkLst>
        </pc:spChg>
        <pc:spChg chg="replST">
          <ac:chgData name="Bullinger, Marvin" userId="5b54ce5a-dc89-476f-af33-5abd75d5b1e8" providerId="ADAL" clId="{43B71669-8A80-4333-9349-B258A9296B49}" dt="2024-02-27T17:27:38.273" v="7701"/>
          <ac:spMkLst>
            <pc:docMk/>
            <pc:sldMk cId="2468756552" sldId="590"/>
            <ac:spMk id="349" creationId="{05BABA5F-2E1D-F49B-7518-A072341F243F}"/>
          </ac:spMkLst>
        </pc:spChg>
        <pc:spChg chg="replST">
          <ac:chgData name="Bullinger, Marvin" userId="5b54ce5a-dc89-476f-af33-5abd75d5b1e8" providerId="ADAL" clId="{43B71669-8A80-4333-9349-B258A9296B49}" dt="2024-02-27T17:27:38.283" v="7705"/>
          <ac:spMkLst>
            <pc:docMk/>
            <pc:sldMk cId="2468756552" sldId="590"/>
            <ac:spMk id="351" creationId="{0C559AAC-257E-A989-F113-D5D8E74B2F8E}"/>
          </ac:spMkLst>
        </pc:spChg>
        <pc:spChg chg="replST">
          <ac:chgData name="Bullinger, Marvin" userId="5b54ce5a-dc89-476f-af33-5abd75d5b1e8" providerId="ADAL" clId="{43B71669-8A80-4333-9349-B258A9296B49}" dt="2024-02-27T17:27:38.293" v="7708"/>
          <ac:spMkLst>
            <pc:docMk/>
            <pc:sldMk cId="2468756552" sldId="590"/>
            <ac:spMk id="352" creationId="{B1C87467-6CC8-F290-FBCA-C7129583265D}"/>
          </ac:spMkLst>
        </pc:spChg>
        <pc:spChg chg="replST">
          <ac:chgData name="Bullinger, Marvin" userId="5b54ce5a-dc89-476f-af33-5abd75d5b1e8" providerId="ADAL" clId="{43B71669-8A80-4333-9349-B258A9296B49}" dt="2024-02-27T17:27:38.301" v="7712"/>
          <ac:spMkLst>
            <pc:docMk/>
            <pc:sldMk cId="2468756552" sldId="590"/>
            <ac:spMk id="354" creationId="{C673C67B-DD2E-A5FA-935B-5B4AF6CC75A5}"/>
          </ac:spMkLst>
        </pc:spChg>
        <pc:spChg chg="replST">
          <ac:chgData name="Bullinger, Marvin" userId="5b54ce5a-dc89-476f-af33-5abd75d5b1e8" providerId="ADAL" clId="{43B71669-8A80-4333-9349-B258A9296B49}" dt="2024-02-27T17:27:38.309" v="7715"/>
          <ac:spMkLst>
            <pc:docMk/>
            <pc:sldMk cId="2468756552" sldId="590"/>
            <ac:spMk id="355" creationId="{8E309E57-53B0-D3CB-3E1A-F9CC0398A243}"/>
          </ac:spMkLst>
        </pc:spChg>
        <pc:spChg chg="replST">
          <ac:chgData name="Bullinger, Marvin" userId="5b54ce5a-dc89-476f-af33-5abd75d5b1e8" providerId="ADAL" clId="{43B71669-8A80-4333-9349-B258A9296B49}" dt="2024-02-27T17:27:38.317" v="7719"/>
          <ac:spMkLst>
            <pc:docMk/>
            <pc:sldMk cId="2468756552" sldId="590"/>
            <ac:spMk id="357" creationId="{BCC75B30-972E-1013-EAB5-599EECF77A5D}"/>
          </ac:spMkLst>
        </pc:spChg>
        <pc:spChg chg="replST">
          <ac:chgData name="Bullinger, Marvin" userId="5b54ce5a-dc89-476f-af33-5abd75d5b1e8" providerId="ADAL" clId="{43B71669-8A80-4333-9349-B258A9296B49}" dt="2024-02-27T17:27:38.317" v="7722"/>
          <ac:spMkLst>
            <pc:docMk/>
            <pc:sldMk cId="2468756552" sldId="590"/>
            <ac:spMk id="358" creationId="{8B62A2A5-F867-C55B-5A84-1416B4C25C6C}"/>
          </ac:spMkLst>
        </pc:spChg>
        <pc:spChg chg="replST">
          <ac:chgData name="Bullinger, Marvin" userId="5b54ce5a-dc89-476f-af33-5abd75d5b1e8" providerId="ADAL" clId="{43B71669-8A80-4333-9349-B258A9296B49}" dt="2024-02-27T17:27:38.325" v="7726"/>
          <ac:spMkLst>
            <pc:docMk/>
            <pc:sldMk cId="2468756552" sldId="590"/>
            <ac:spMk id="360" creationId="{B09A175E-ABC8-7388-DE8D-5FBEE369DE14}"/>
          </ac:spMkLst>
        </pc:spChg>
        <pc:spChg chg="replST">
          <ac:chgData name="Bullinger, Marvin" userId="5b54ce5a-dc89-476f-af33-5abd75d5b1e8" providerId="ADAL" clId="{43B71669-8A80-4333-9349-B258A9296B49}" dt="2024-02-27T17:27:38.334" v="7729"/>
          <ac:spMkLst>
            <pc:docMk/>
            <pc:sldMk cId="2468756552" sldId="590"/>
            <ac:spMk id="361" creationId="{BB8D38BA-33E1-2AF0-466E-A76F11571EA1}"/>
          </ac:spMkLst>
        </pc:spChg>
        <pc:spChg chg="replST">
          <ac:chgData name="Bullinger, Marvin" userId="5b54ce5a-dc89-476f-af33-5abd75d5b1e8" providerId="ADAL" clId="{43B71669-8A80-4333-9349-B258A9296B49}" dt="2024-02-27T17:27:38.336" v="7733"/>
          <ac:spMkLst>
            <pc:docMk/>
            <pc:sldMk cId="2468756552" sldId="590"/>
            <ac:spMk id="363" creationId="{9DB6D05E-0E3F-FEDD-C7AD-895BF6B7D893}"/>
          </ac:spMkLst>
        </pc:spChg>
        <pc:spChg chg="replST">
          <ac:chgData name="Bullinger, Marvin" userId="5b54ce5a-dc89-476f-af33-5abd75d5b1e8" providerId="ADAL" clId="{43B71669-8A80-4333-9349-B258A9296B49}" dt="2024-02-27T17:27:38.346" v="7736"/>
          <ac:spMkLst>
            <pc:docMk/>
            <pc:sldMk cId="2468756552" sldId="590"/>
            <ac:spMk id="364" creationId="{915539A3-D67E-3321-BB83-66A2191E570D}"/>
          </ac:spMkLst>
        </pc:spChg>
        <pc:spChg chg="ord replST">
          <ac:chgData name="Bullinger, Marvin" userId="5b54ce5a-dc89-476f-af33-5abd75d5b1e8" providerId="ADAL" clId="{43B71669-8A80-4333-9349-B258A9296B49}" dt="2024-02-27T17:27:38.355" v="7745"/>
          <ac:spMkLst>
            <pc:docMk/>
            <pc:sldMk cId="2468756552" sldId="590"/>
            <ac:spMk id="365" creationId="{AFEF6FC3-09DF-7E64-C967-2307FD37772A}"/>
          </ac:spMkLst>
        </pc:spChg>
        <pc:cxnChg chg="del ord replST">
          <ac:chgData name="Bullinger, Marvin" userId="5b54ce5a-dc89-476f-af33-5abd75d5b1e8" providerId="ADAL" clId="{43B71669-8A80-4333-9349-B258A9296B49}" dt="2024-02-27T17:26:23.479" v="4805" actId="478"/>
          <ac:cxnSpMkLst>
            <pc:docMk/>
            <pc:sldMk cId="2468756552" sldId="590"/>
            <ac:cxnSpMk id="44" creationId="{F3938952-5423-3F12-B556-1775CABD3988}"/>
          </ac:cxnSpMkLst>
        </pc:cxnChg>
        <pc:cxnChg chg="del ord replST">
          <ac:chgData name="Bullinger, Marvin" userId="5b54ce5a-dc89-476f-af33-5abd75d5b1e8" providerId="ADAL" clId="{43B71669-8A80-4333-9349-B258A9296B49}" dt="2024-02-27T17:26:23.487" v="4806" actId="478"/>
          <ac:cxnSpMkLst>
            <pc:docMk/>
            <pc:sldMk cId="2468756552" sldId="590"/>
            <ac:cxnSpMk id="47" creationId="{664D6829-0950-853B-AEBE-3943D4EC0E01}"/>
          </ac:cxnSpMkLst>
        </pc:cxnChg>
        <pc:cxnChg chg="del ord replST">
          <ac:chgData name="Bullinger, Marvin" userId="5b54ce5a-dc89-476f-af33-5abd75d5b1e8" providerId="ADAL" clId="{43B71669-8A80-4333-9349-B258A9296B49}" dt="2024-02-27T17:26:23.487" v="4807" actId="478"/>
          <ac:cxnSpMkLst>
            <pc:docMk/>
            <pc:sldMk cId="2468756552" sldId="590"/>
            <ac:cxnSpMk id="50" creationId="{5BF6D827-2F26-A0FA-FEFC-D2425EC32506}"/>
          </ac:cxnSpMkLst>
        </pc:cxnChg>
        <pc:cxnChg chg="del ord replST">
          <ac:chgData name="Bullinger, Marvin" userId="5b54ce5a-dc89-476f-af33-5abd75d5b1e8" providerId="ADAL" clId="{43B71669-8A80-4333-9349-B258A9296B49}" dt="2024-02-27T17:26:23.489" v="4808" actId="478"/>
          <ac:cxnSpMkLst>
            <pc:docMk/>
            <pc:sldMk cId="2468756552" sldId="590"/>
            <ac:cxnSpMk id="53" creationId="{3B9FB545-25DA-257C-0314-141456956D82}"/>
          </ac:cxnSpMkLst>
        </pc:cxnChg>
        <pc:cxnChg chg="del ord replST">
          <ac:chgData name="Bullinger, Marvin" userId="5b54ce5a-dc89-476f-af33-5abd75d5b1e8" providerId="ADAL" clId="{43B71669-8A80-4333-9349-B258A9296B49}" dt="2024-02-27T17:26:23.489" v="4809" actId="478"/>
          <ac:cxnSpMkLst>
            <pc:docMk/>
            <pc:sldMk cId="2468756552" sldId="590"/>
            <ac:cxnSpMk id="56" creationId="{05862E29-63C1-003A-3F55-546E50C0B1E1}"/>
          </ac:cxnSpMkLst>
        </pc:cxnChg>
        <pc:cxnChg chg="del ord replST">
          <ac:chgData name="Bullinger, Marvin" userId="5b54ce5a-dc89-476f-af33-5abd75d5b1e8" providerId="ADAL" clId="{43B71669-8A80-4333-9349-B258A9296B49}" dt="2024-02-27T17:26:23.489" v="4810" actId="478"/>
          <ac:cxnSpMkLst>
            <pc:docMk/>
            <pc:sldMk cId="2468756552" sldId="590"/>
            <ac:cxnSpMk id="59" creationId="{4AE7DBEE-758E-A74D-9A07-B5333CA15279}"/>
          </ac:cxnSpMkLst>
        </pc:cxnChg>
        <pc:cxnChg chg="del ord replST">
          <ac:chgData name="Bullinger, Marvin" userId="5b54ce5a-dc89-476f-af33-5abd75d5b1e8" providerId="ADAL" clId="{43B71669-8A80-4333-9349-B258A9296B49}" dt="2024-02-27T17:26:59.475" v="6115" actId="478"/>
          <ac:cxnSpMkLst>
            <pc:docMk/>
            <pc:sldMk cId="2468756552" sldId="590"/>
            <ac:cxnSpMk id="142" creationId="{313EE229-4662-148F-18E8-E3C8D148135E}"/>
          </ac:cxnSpMkLst>
        </pc:cxnChg>
        <pc:cxnChg chg="del ord replST">
          <ac:chgData name="Bullinger, Marvin" userId="5b54ce5a-dc89-476f-af33-5abd75d5b1e8" providerId="ADAL" clId="{43B71669-8A80-4333-9349-B258A9296B49}" dt="2024-02-27T17:26:59.475" v="6116" actId="478"/>
          <ac:cxnSpMkLst>
            <pc:docMk/>
            <pc:sldMk cId="2468756552" sldId="590"/>
            <ac:cxnSpMk id="145" creationId="{BB050F92-A755-1E20-A057-B4E9EEC36AC1}"/>
          </ac:cxnSpMkLst>
        </pc:cxnChg>
        <pc:cxnChg chg="del ord replST">
          <ac:chgData name="Bullinger, Marvin" userId="5b54ce5a-dc89-476f-af33-5abd75d5b1e8" providerId="ADAL" clId="{43B71669-8A80-4333-9349-B258A9296B49}" dt="2024-02-27T17:26:59.482" v="6117" actId="478"/>
          <ac:cxnSpMkLst>
            <pc:docMk/>
            <pc:sldMk cId="2468756552" sldId="590"/>
            <ac:cxnSpMk id="148" creationId="{9522E9FE-44C6-2EF2-4B28-B33F3820A5C6}"/>
          </ac:cxnSpMkLst>
        </pc:cxnChg>
        <pc:cxnChg chg="del ord replST">
          <ac:chgData name="Bullinger, Marvin" userId="5b54ce5a-dc89-476f-af33-5abd75d5b1e8" providerId="ADAL" clId="{43B71669-8A80-4333-9349-B258A9296B49}" dt="2024-02-27T17:26:59.484" v="6118" actId="478"/>
          <ac:cxnSpMkLst>
            <pc:docMk/>
            <pc:sldMk cId="2468756552" sldId="590"/>
            <ac:cxnSpMk id="151" creationId="{33EF9756-4D96-C16B-84D1-95A056515D3E}"/>
          </ac:cxnSpMkLst>
        </pc:cxnChg>
        <pc:cxnChg chg="del ord replST">
          <ac:chgData name="Bullinger, Marvin" userId="5b54ce5a-dc89-476f-af33-5abd75d5b1e8" providerId="ADAL" clId="{43B71669-8A80-4333-9349-B258A9296B49}" dt="2024-02-27T17:26:59.484" v="6119" actId="478"/>
          <ac:cxnSpMkLst>
            <pc:docMk/>
            <pc:sldMk cId="2468756552" sldId="590"/>
            <ac:cxnSpMk id="154" creationId="{9E254CFB-5F72-09E6-8043-F6B621BBD957}"/>
          </ac:cxnSpMkLst>
        </pc:cxnChg>
        <pc:cxnChg chg="del ord replST">
          <ac:chgData name="Bullinger, Marvin" userId="5b54ce5a-dc89-476f-af33-5abd75d5b1e8" providerId="ADAL" clId="{43B71669-8A80-4333-9349-B258A9296B49}" dt="2024-02-27T17:26:59.484" v="6120" actId="478"/>
          <ac:cxnSpMkLst>
            <pc:docMk/>
            <pc:sldMk cId="2468756552" sldId="590"/>
            <ac:cxnSpMk id="157" creationId="{A4541440-9545-9581-964B-F5A9F1A28D17}"/>
          </ac:cxnSpMkLst>
        </pc:cxnChg>
        <pc:cxnChg chg="del ord replST">
          <ac:chgData name="Bullinger, Marvin" userId="5b54ce5a-dc89-476f-af33-5abd75d5b1e8" providerId="ADAL" clId="{43B71669-8A80-4333-9349-B258A9296B49}" dt="2024-02-27T17:26:59.484" v="6121" actId="478"/>
          <ac:cxnSpMkLst>
            <pc:docMk/>
            <pc:sldMk cId="2468756552" sldId="590"/>
            <ac:cxnSpMk id="160" creationId="{A8A2FEC9-83FD-E573-3CED-4BA3BC7FED79}"/>
          </ac:cxnSpMkLst>
        </pc:cxnChg>
        <pc:cxnChg chg="del ord replST">
          <ac:chgData name="Bullinger, Marvin" userId="5b54ce5a-dc89-476f-af33-5abd75d5b1e8" providerId="ADAL" clId="{43B71669-8A80-4333-9349-B258A9296B49}" dt="2024-02-27T17:26:59.484" v="6122" actId="478"/>
          <ac:cxnSpMkLst>
            <pc:docMk/>
            <pc:sldMk cId="2468756552" sldId="590"/>
            <ac:cxnSpMk id="163" creationId="{9023255B-417E-46A6-4B4E-D29E1DABC04A}"/>
          </ac:cxnSpMkLst>
        </pc:cxnChg>
        <pc:cxnChg chg="del ord replST">
          <ac:chgData name="Bullinger, Marvin" userId="5b54ce5a-dc89-476f-af33-5abd75d5b1e8" providerId="ADAL" clId="{43B71669-8A80-4333-9349-B258A9296B49}" dt="2024-02-27T17:27:37.147" v="7215" actId="478"/>
          <ac:cxnSpMkLst>
            <pc:docMk/>
            <pc:sldMk cId="2468756552" sldId="590"/>
            <ac:cxnSpMk id="246" creationId="{A817E425-32D4-2492-762B-B23244F18925}"/>
          </ac:cxnSpMkLst>
        </pc:cxnChg>
        <pc:cxnChg chg="del ord replST">
          <ac:chgData name="Bullinger, Marvin" userId="5b54ce5a-dc89-476f-af33-5abd75d5b1e8" providerId="ADAL" clId="{43B71669-8A80-4333-9349-B258A9296B49}" dt="2024-02-27T17:27:37.147" v="7216" actId="478"/>
          <ac:cxnSpMkLst>
            <pc:docMk/>
            <pc:sldMk cId="2468756552" sldId="590"/>
            <ac:cxnSpMk id="249" creationId="{C494B4DB-7D3C-DBE3-C7A5-4A5B0B3C6F3C}"/>
          </ac:cxnSpMkLst>
        </pc:cxnChg>
        <pc:cxnChg chg="del ord replST">
          <ac:chgData name="Bullinger, Marvin" userId="5b54ce5a-dc89-476f-af33-5abd75d5b1e8" providerId="ADAL" clId="{43B71669-8A80-4333-9349-B258A9296B49}" dt="2024-02-27T17:27:37.155" v="7217" actId="478"/>
          <ac:cxnSpMkLst>
            <pc:docMk/>
            <pc:sldMk cId="2468756552" sldId="590"/>
            <ac:cxnSpMk id="252" creationId="{DC4CB76D-7D85-BDA3-645C-C19B2B528BF5}"/>
          </ac:cxnSpMkLst>
        </pc:cxnChg>
        <pc:cxnChg chg="del ord replST">
          <ac:chgData name="Bullinger, Marvin" userId="5b54ce5a-dc89-476f-af33-5abd75d5b1e8" providerId="ADAL" clId="{43B71669-8A80-4333-9349-B258A9296B49}" dt="2024-02-27T17:27:37.155" v="7218" actId="478"/>
          <ac:cxnSpMkLst>
            <pc:docMk/>
            <pc:sldMk cId="2468756552" sldId="590"/>
            <ac:cxnSpMk id="255" creationId="{956326A6-42B5-A6B2-57F4-2AFD8532C018}"/>
          </ac:cxnSpMkLst>
        </pc:cxnChg>
        <pc:cxnChg chg="del ord replST">
          <ac:chgData name="Bullinger, Marvin" userId="5b54ce5a-dc89-476f-af33-5abd75d5b1e8" providerId="ADAL" clId="{43B71669-8A80-4333-9349-B258A9296B49}" dt="2024-02-27T17:27:37.158" v="7219" actId="478"/>
          <ac:cxnSpMkLst>
            <pc:docMk/>
            <pc:sldMk cId="2468756552" sldId="590"/>
            <ac:cxnSpMk id="258" creationId="{6F27B503-F303-61BF-1B93-CC128CBC7038}"/>
          </ac:cxnSpMkLst>
        </pc:cxnChg>
        <pc:cxnChg chg="del ord replST">
          <ac:chgData name="Bullinger, Marvin" userId="5b54ce5a-dc89-476f-af33-5abd75d5b1e8" providerId="ADAL" clId="{43B71669-8A80-4333-9349-B258A9296B49}" dt="2024-02-27T17:27:37.158" v="7220" actId="478"/>
          <ac:cxnSpMkLst>
            <pc:docMk/>
            <pc:sldMk cId="2468756552" sldId="590"/>
            <ac:cxnSpMk id="261" creationId="{AB4D8C29-342D-6653-FC38-27A8CC86EA65}"/>
          </ac:cxnSpMkLst>
        </pc:cxnChg>
        <pc:cxnChg chg="del ord replST">
          <ac:chgData name="Bullinger, Marvin" userId="5b54ce5a-dc89-476f-af33-5abd75d5b1e8" providerId="ADAL" clId="{43B71669-8A80-4333-9349-B258A9296B49}" dt="2024-02-27T17:27:37.158" v="7221" actId="478"/>
          <ac:cxnSpMkLst>
            <pc:docMk/>
            <pc:sldMk cId="2468756552" sldId="590"/>
            <ac:cxnSpMk id="264" creationId="{524C705E-D9CF-B10F-C3A5-E834834BED69}"/>
          </ac:cxnSpMkLst>
        </pc:cxnChg>
        <pc:cxnChg chg="ord replST">
          <ac:chgData name="Bullinger, Marvin" userId="5b54ce5a-dc89-476f-af33-5abd75d5b1e8" providerId="ADAL" clId="{43B71669-8A80-4333-9349-B258A9296B49}" dt="2024-02-27T17:27:38.346" v="7739"/>
          <ac:cxnSpMkLst>
            <pc:docMk/>
            <pc:sldMk cId="2468756552" sldId="590"/>
            <ac:cxnSpMk id="347" creationId="{9F92E19B-1DE2-5855-C1B4-D9ECDD157C11}"/>
          </ac:cxnSpMkLst>
        </pc:cxnChg>
        <pc:cxnChg chg="ord replST">
          <ac:chgData name="Bullinger, Marvin" userId="5b54ce5a-dc89-476f-af33-5abd75d5b1e8" providerId="ADAL" clId="{43B71669-8A80-4333-9349-B258A9296B49}" dt="2024-02-27T17:27:38.355" v="7740"/>
          <ac:cxnSpMkLst>
            <pc:docMk/>
            <pc:sldMk cId="2468756552" sldId="590"/>
            <ac:cxnSpMk id="350" creationId="{52EDFABA-DEC8-0D23-0C07-48C0C0F60030}"/>
          </ac:cxnSpMkLst>
        </pc:cxnChg>
        <pc:cxnChg chg="ord replST">
          <ac:chgData name="Bullinger, Marvin" userId="5b54ce5a-dc89-476f-af33-5abd75d5b1e8" providerId="ADAL" clId="{43B71669-8A80-4333-9349-B258A9296B49}" dt="2024-02-27T17:27:38.355" v="7741"/>
          <ac:cxnSpMkLst>
            <pc:docMk/>
            <pc:sldMk cId="2468756552" sldId="590"/>
            <ac:cxnSpMk id="353" creationId="{A5534B8F-9723-B6EA-AF5F-6306761FF4C4}"/>
          </ac:cxnSpMkLst>
        </pc:cxnChg>
        <pc:cxnChg chg="ord replST">
          <ac:chgData name="Bullinger, Marvin" userId="5b54ce5a-dc89-476f-af33-5abd75d5b1e8" providerId="ADAL" clId="{43B71669-8A80-4333-9349-B258A9296B49}" dt="2024-02-27T17:27:38.355" v="7742"/>
          <ac:cxnSpMkLst>
            <pc:docMk/>
            <pc:sldMk cId="2468756552" sldId="590"/>
            <ac:cxnSpMk id="356" creationId="{7A0F0E4E-9366-B262-F842-C6F8B1FA9EDE}"/>
          </ac:cxnSpMkLst>
        </pc:cxnChg>
        <pc:cxnChg chg="ord replST">
          <ac:chgData name="Bullinger, Marvin" userId="5b54ce5a-dc89-476f-af33-5abd75d5b1e8" providerId="ADAL" clId="{43B71669-8A80-4333-9349-B258A9296B49}" dt="2024-02-27T17:27:38.355" v="7743"/>
          <ac:cxnSpMkLst>
            <pc:docMk/>
            <pc:sldMk cId="2468756552" sldId="590"/>
            <ac:cxnSpMk id="359" creationId="{40B8847A-2D42-89A3-0C67-9ACBFD23218F}"/>
          </ac:cxnSpMkLst>
        </pc:cxnChg>
        <pc:cxnChg chg="ord replST">
          <ac:chgData name="Bullinger, Marvin" userId="5b54ce5a-dc89-476f-af33-5abd75d5b1e8" providerId="ADAL" clId="{43B71669-8A80-4333-9349-B258A9296B49}" dt="2024-02-27T17:27:38.355" v="7744"/>
          <ac:cxnSpMkLst>
            <pc:docMk/>
            <pc:sldMk cId="2468756552" sldId="590"/>
            <ac:cxnSpMk id="362" creationId="{8509CB98-AA2E-EB7C-09FD-62C41B34A4CF}"/>
          </ac:cxnSpMkLst>
        </pc:cxnChg>
      </pc:sldChg>
      <pc:sldChg chg="addSp delSp modSp add del mod">
        <pc:chgData name="Bullinger, Marvin" userId="5b54ce5a-dc89-476f-af33-5abd75d5b1e8" providerId="ADAL" clId="{43B71669-8A80-4333-9349-B258A9296B49}" dt="2024-02-27T16:53:49.050" v="3382"/>
        <pc:sldMkLst>
          <pc:docMk/>
          <pc:sldMk cId="243418816" sldId="591"/>
        </pc:sldMkLst>
        <pc:spChg chg="add del">
          <ac:chgData name="Bullinger, Marvin" userId="5b54ce5a-dc89-476f-af33-5abd75d5b1e8" providerId="ADAL" clId="{43B71669-8A80-4333-9349-B258A9296B49}" dt="2024-02-27T16:53:49.050" v="3382"/>
          <ac:spMkLst>
            <pc:docMk/>
            <pc:sldMk cId="243418816" sldId="591"/>
            <ac:spMk id="42" creationId="{BD552831-0102-D9E0-A2ED-942648B7F751}"/>
          </ac:spMkLst>
        </pc:spChg>
        <pc:spChg chg="add mod">
          <ac:chgData name="Bullinger, Marvin" userId="5b54ce5a-dc89-476f-af33-5abd75d5b1e8" providerId="ADAL" clId="{43B71669-8A80-4333-9349-B258A9296B49}" dt="2024-02-27T16:53:49.050" v="3382"/>
          <ac:spMkLst>
            <pc:docMk/>
            <pc:sldMk cId="243418816" sldId="591"/>
            <ac:spMk id="44" creationId="{8A7E212B-9132-43C8-0AC2-353F63887009}"/>
          </ac:spMkLst>
        </pc:spChg>
        <pc:spChg chg="add mod modVis">
          <ac:chgData name="Bullinger, Marvin" userId="5b54ce5a-dc89-476f-af33-5abd75d5b1e8" providerId="ADAL" clId="{43B71669-8A80-4333-9349-B258A9296B49}" dt="2024-02-27T16:53:49.050" v="3382"/>
          <ac:spMkLst>
            <pc:docMk/>
            <pc:sldMk cId="243418816" sldId="591"/>
            <ac:spMk id="46" creationId="{F97790D4-5AB9-9021-E6C8-30E429806BE7}"/>
          </ac:spMkLst>
        </pc:spChg>
        <pc:spChg chg="add mod modVis">
          <ac:chgData name="Bullinger, Marvin" userId="5b54ce5a-dc89-476f-af33-5abd75d5b1e8" providerId="ADAL" clId="{43B71669-8A80-4333-9349-B258A9296B49}" dt="2024-02-27T16:53:49.050" v="3382"/>
          <ac:spMkLst>
            <pc:docMk/>
            <pc:sldMk cId="243418816" sldId="591"/>
            <ac:spMk id="47" creationId="{C78B1755-1411-0638-61D1-CAF88F171E21}"/>
          </ac:spMkLst>
        </pc:spChg>
        <pc:spChg chg="add mod modVis">
          <ac:chgData name="Bullinger, Marvin" userId="5b54ce5a-dc89-476f-af33-5abd75d5b1e8" providerId="ADAL" clId="{43B71669-8A80-4333-9349-B258A9296B49}" dt="2024-02-27T16:53:49.050" v="3382"/>
          <ac:spMkLst>
            <pc:docMk/>
            <pc:sldMk cId="243418816" sldId="591"/>
            <ac:spMk id="48" creationId="{90D1D448-F52D-A26F-8399-AF4F2A195F19}"/>
          </ac:spMkLst>
        </pc:spChg>
        <pc:spChg chg="add mod modVis">
          <ac:chgData name="Bullinger, Marvin" userId="5b54ce5a-dc89-476f-af33-5abd75d5b1e8" providerId="ADAL" clId="{43B71669-8A80-4333-9349-B258A9296B49}" dt="2024-02-27T16:53:49.050" v="3382"/>
          <ac:spMkLst>
            <pc:docMk/>
            <pc:sldMk cId="243418816" sldId="591"/>
            <ac:spMk id="49" creationId="{01EA7BF9-F6EE-BBD2-BAFB-33E6D28D8383}"/>
          </ac:spMkLst>
        </pc:spChg>
        <pc:spChg chg="add mod modVis">
          <ac:chgData name="Bullinger, Marvin" userId="5b54ce5a-dc89-476f-af33-5abd75d5b1e8" providerId="ADAL" clId="{43B71669-8A80-4333-9349-B258A9296B49}" dt="2024-02-27T16:53:49.050" v="3382"/>
          <ac:spMkLst>
            <pc:docMk/>
            <pc:sldMk cId="243418816" sldId="591"/>
            <ac:spMk id="50" creationId="{E73568B7-3F86-2512-449D-6ED0F869994F}"/>
          </ac:spMkLst>
        </pc:spChg>
        <pc:spChg chg="add mod modVis">
          <ac:chgData name="Bullinger, Marvin" userId="5b54ce5a-dc89-476f-af33-5abd75d5b1e8" providerId="ADAL" clId="{43B71669-8A80-4333-9349-B258A9296B49}" dt="2024-02-27T16:53:49.050" v="3382"/>
          <ac:spMkLst>
            <pc:docMk/>
            <pc:sldMk cId="243418816" sldId="591"/>
            <ac:spMk id="51" creationId="{DC93E399-DB5D-E175-CA4A-2BE49DB9659D}"/>
          </ac:spMkLst>
        </pc:spChg>
        <pc:spChg chg="add mod modVis">
          <ac:chgData name="Bullinger, Marvin" userId="5b54ce5a-dc89-476f-af33-5abd75d5b1e8" providerId="ADAL" clId="{43B71669-8A80-4333-9349-B258A9296B49}" dt="2024-02-27T16:53:49.050" v="3382"/>
          <ac:spMkLst>
            <pc:docMk/>
            <pc:sldMk cId="243418816" sldId="591"/>
            <ac:spMk id="52" creationId="{53010B5A-D645-4082-056D-4764F21331C7}"/>
          </ac:spMkLst>
        </pc:spChg>
        <pc:spChg chg="add mod modVis">
          <ac:chgData name="Bullinger, Marvin" userId="5b54ce5a-dc89-476f-af33-5abd75d5b1e8" providerId="ADAL" clId="{43B71669-8A80-4333-9349-B258A9296B49}" dt="2024-02-27T16:53:49.050" v="3382"/>
          <ac:spMkLst>
            <pc:docMk/>
            <pc:sldMk cId="243418816" sldId="591"/>
            <ac:spMk id="53" creationId="{A617600E-7EF5-9454-4C7F-30EDCA7D86B7}"/>
          </ac:spMkLst>
        </pc:spChg>
        <pc:spChg chg="add mod modVis">
          <ac:chgData name="Bullinger, Marvin" userId="5b54ce5a-dc89-476f-af33-5abd75d5b1e8" providerId="ADAL" clId="{43B71669-8A80-4333-9349-B258A9296B49}" dt="2024-02-27T16:53:49.050" v="3382"/>
          <ac:spMkLst>
            <pc:docMk/>
            <pc:sldMk cId="243418816" sldId="591"/>
            <ac:spMk id="54" creationId="{FFC78834-98E4-A277-6C55-A370C57F7B6C}"/>
          </ac:spMkLst>
        </pc:spChg>
        <pc:spChg chg="add mod modVis">
          <ac:chgData name="Bullinger, Marvin" userId="5b54ce5a-dc89-476f-af33-5abd75d5b1e8" providerId="ADAL" clId="{43B71669-8A80-4333-9349-B258A9296B49}" dt="2024-02-27T16:53:49.050" v="3382"/>
          <ac:spMkLst>
            <pc:docMk/>
            <pc:sldMk cId="243418816" sldId="591"/>
            <ac:spMk id="55" creationId="{3C240E32-901D-B5CC-E071-632CD7E96685}"/>
          </ac:spMkLst>
        </pc:spChg>
        <pc:spChg chg="add mod modVis">
          <ac:chgData name="Bullinger, Marvin" userId="5b54ce5a-dc89-476f-af33-5abd75d5b1e8" providerId="ADAL" clId="{43B71669-8A80-4333-9349-B258A9296B49}" dt="2024-02-27T16:53:49.050" v="3382"/>
          <ac:spMkLst>
            <pc:docMk/>
            <pc:sldMk cId="243418816" sldId="591"/>
            <ac:spMk id="56" creationId="{CEE55E66-A979-FD02-10F8-459FB1364138}"/>
          </ac:spMkLst>
        </pc:spChg>
        <pc:spChg chg="add mod modVis">
          <ac:chgData name="Bullinger, Marvin" userId="5b54ce5a-dc89-476f-af33-5abd75d5b1e8" providerId="ADAL" clId="{43B71669-8A80-4333-9349-B258A9296B49}" dt="2024-02-27T16:53:49.050" v="3382"/>
          <ac:spMkLst>
            <pc:docMk/>
            <pc:sldMk cId="243418816" sldId="591"/>
            <ac:spMk id="57" creationId="{2E23EEDF-0E27-78E4-486E-AAFDD96F8A6D}"/>
          </ac:spMkLst>
        </pc:spChg>
        <pc:spChg chg="add mod modVis">
          <ac:chgData name="Bullinger, Marvin" userId="5b54ce5a-dc89-476f-af33-5abd75d5b1e8" providerId="ADAL" clId="{43B71669-8A80-4333-9349-B258A9296B49}" dt="2024-02-27T16:53:49.050" v="3382"/>
          <ac:spMkLst>
            <pc:docMk/>
            <pc:sldMk cId="243418816" sldId="591"/>
            <ac:spMk id="58" creationId="{21282E4A-9D77-2D8A-A29C-25CB7CD1B135}"/>
          </ac:spMkLst>
        </pc:spChg>
        <pc:spChg chg="add mod modVis">
          <ac:chgData name="Bullinger, Marvin" userId="5b54ce5a-dc89-476f-af33-5abd75d5b1e8" providerId="ADAL" clId="{43B71669-8A80-4333-9349-B258A9296B49}" dt="2024-02-27T16:53:49.050" v="3382"/>
          <ac:spMkLst>
            <pc:docMk/>
            <pc:sldMk cId="243418816" sldId="591"/>
            <ac:spMk id="59" creationId="{743908DE-6A1B-77CC-3004-FDEB6C14DDC4}"/>
          </ac:spMkLst>
        </pc:spChg>
        <pc:spChg chg="add mod modVis">
          <ac:chgData name="Bullinger, Marvin" userId="5b54ce5a-dc89-476f-af33-5abd75d5b1e8" providerId="ADAL" clId="{43B71669-8A80-4333-9349-B258A9296B49}" dt="2024-02-27T16:53:49.050" v="3382"/>
          <ac:spMkLst>
            <pc:docMk/>
            <pc:sldMk cId="243418816" sldId="591"/>
            <ac:spMk id="60" creationId="{79499A20-5309-26FF-EA3B-A0DCA22C06A8}"/>
          </ac:spMkLst>
        </pc:spChg>
        <pc:spChg chg="add mod modVis">
          <ac:chgData name="Bullinger, Marvin" userId="5b54ce5a-dc89-476f-af33-5abd75d5b1e8" providerId="ADAL" clId="{43B71669-8A80-4333-9349-B258A9296B49}" dt="2024-02-27T16:53:49.050" v="3382"/>
          <ac:spMkLst>
            <pc:docMk/>
            <pc:sldMk cId="243418816" sldId="591"/>
            <ac:spMk id="61" creationId="{A57C9462-A8D6-FFC6-CE2E-4675977172FF}"/>
          </ac:spMkLst>
        </pc:spChg>
        <pc:spChg chg="add mod modVis">
          <ac:chgData name="Bullinger, Marvin" userId="5b54ce5a-dc89-476f-af33-5abd75d5b1e8" providerId="ADAL" clId="{43B71669-8A80-4333-9349-B258A9296B49}" dt="2024-02-27T16:53:49.050" v="3382"/>
          <ac:spMkLst>
            <pc:docMk/>
            <pc:sldMk cId="243418816" sldId="591"/>
            <ac:spMk id="62" creationId="{9185D9BF-AE91-76FB-3E95-248B2E2356BC}"/>
          </ac:spMkLst>
        </pc:spChg>
        <pc:spChg chg="add mod modVis">
          <ac:chgData name="Bullinger, Marvin" userId="5b54ce5a-dc89-476f-af33-5abd75d5b1e8" providerId="ADAL" clId="{43B71669-8A80-4333-9349-B258A9296B49}" dt="2024-02-27T16:53:49.050" v="3382"/>
          <ac:spMkLst>
            <pc:docMk/>
            <pc:sldMk cId="243418816" sldId="591"/>
            <ac:spMk id="63" creationId="{2EE7F7D6-B673-72A4-856F-DFCF2763B518}"/>
          </ac:spMkLst>
        </pc:spChg>
        <pc:spChg chg="add mod modVis">
          <ac:chgData name="Bullinger, Marvin" userId="5b54ce5a-dc89-476f-af33-5abd75d5b1e8" providerId="ADAL" clId="{43B71669-8A80-4333-9349-B258A9296B49}" dt="2024-02-27T16:53:49.050" v="3382"/>
          <ac:spMkLst>
            <pc:docMk/>
            <pc:sldMk cId="243418816" sldId="591"/>
            <ac:spMk id="64" creationId="{06D6B4D4-B969-E4EA-3AF2-B5CCAE5FC99E}"/>
          </ac:spMkLst>
        </pc:spChg>
        <pc:spChg chg="add mod modVis">
          <ac:chgData name="Bullinger, Marvin" userId="5b54ce5a-dc89-476f-af33-5abd75d5b1e8" providerId="ADAL" clId="{43B71669-8A80-4333-9349-B258A9296B49}" dt="2024-02-27T16:53:49.050" v="3382"/>
          <ac:spMkLst>
            <pc:docMk/>
            <pc:sldMk cId="243418816" sldId="591"/>
            <ac:spMk id="65" creationId="{A89B528C-36F9-EB0F-2A2B-A1C8E522F7EB}"/>
          </ac:spMkLst>
        </pc:spChg>
        <pc:spChg chg="add mod modVis">
          <ac:chgData name="Bullinger, Marvin" userId="5b54ce5a-dc89-476f-af33-5abd75d5b1e8" providerId="ADAL" clId="{43B71669-8A80-4333-9349-B258A9296B49}" dt="2024-02-27T16:53:49.050" v="3382"/>
          <ac:spMkLst>
            <pc:docMk/>
            <pc:sldMk cId="243418816" sldId="591"/>
            <ac:spMk id="66" creationId="{E8316470-CDD5-9A6A-C613-A49CD9EAECC7}"/>
          </ac:spMkLst>
        </pc:spChg>
        <pc:spChg chg="add mod modVis">
          <ac:chgData name="Bullinger, Marvin" userId="5b54ce5a-dc89-476f-af33-5abd75d5b1e8" providerId="ADAL" clId="{43B71669-8A80-4333-9349-B258A9296B49}" dt="2024-02-27T16:53:49.050" v="3382"/>
          <ac:spMkLst>
            <pc:docMk/>
            <pc:sldMk cId="243418816" sldId="591"/>
            <ac:spMk id="67" creationId="{F96617A4-179A-3A32-105C-B206B9513C06}"/>
          </ac:spMkLst>
        </pc:spChg>
        <pc:spChg chg="add mod modVis">
          <ac:chgData name="Bullinger, Marvin" userId="5b54ce5a-dc89-476f-af33-5abd75d5b1e8" providerId="ADAL" clId="{43B71669-8A80-4333-9349-B258A9296B49}" dt="2024-02-27T16:53:49.050" v="3382"/>
          <ac:spMkLst>
            <pc:docMk/>
            <pc:sldMk cId="243418816" sldId="591"/>
            <ac:spMk id="68" creationId="{BC1A0AD1-F882-B1DC-FEBC-44BD65916B66}"/>
          </ac:spMkLst>
        </pc:spChg>
        <pc:spChg chg="add mod modVis">
          <ac:chgData name="Bullinger, Marvin" userId="5b54ce5a-dc89-476f-af33-5abd75d5b1e8" providerId="ADAL" clId="{43B71669-8A80-4333-9349-B258A9296B49}" dt="2024-02-27T16:53:49.050" v="3382"/>
          <ac:spMkLst>
            <pc:docMk/>
            <pc:sldMk cId="243418816" sldId="591"/>
            <ac:spMk id="69" creationId="{DB79C6A4-73BC-FDBE-F46B-1F8913FC9FD2}"/>
          </ac:spMkLst>
        </pc:spChg>
        <pc:spChg chg="add mod modVis">
          <ac:chgData name="Bullinger, Marvin" userId="5b54ce5a-dc89-476f-af33-5abd75d5b1e8" providerId="ADAL" clId="{43B71669-8A80-4333-9349-B258A9296B49}" dt="2024-02-27T16:53:49.050" v="3382"/>
          <ac:spMkLst>
            <pc:docMk/>
            <pc:sldMk cId="243418816" sldId="591"/>
            <ac:spMk id="70" creationId="{6709F8E8-7FFE-12A0-9AB4-A37A5D64AB20}"/>
          </ac:spMkLst>
        </pc:spChg>
        <pc:spChg chg="add mod modVis">
          <ac:chgData name="Bullinger, Marvin" userId="5b54ce5a-dc89-476f-af33-5abd75d5b1e8" providerId="ADAL" clId="{43B71669-8A80-4333-9349-B258A9296B49}" dt="2024-02-27T16:53:49.050" v="3382"/>
          <ac:spMkLst>
            <pc:docMk/>
            <pc:sldMk cId="243418816" sldId="591"/>
            <ac:spMk id="71" creationId="{BAA852DF-EA62-DDD6-3675-9792964D7AF2}"/>
          </ac:spMkLst>
        </pc:spChg>
        <pc:spChg chg="add mod modVis">
          <ac:chgData name="Bullinger, Marvin" userId="5b54ce5a-dc89-476f-af33-5abd75d5b1e8" providerId="ADAL" clId="{43B71669-8A80-4333-9349-B258A9296B49}" dt="2024-02-27T16:53:49.050" v="3382"/>
          <ac:spMkLst>
            <pc:docMk/>
            <pc:sldMk cId="243418816" sldId="591"/>
            <ac:spMk id="72" creationId="{2475243B-7DA7-3BFA-A812-69968D098BD9}"/>
          </ac:spMkLst>
        </pc:spChg>
        <pc:spChg chg="add mod modVis">
          <ac:chgData name="Bullinger, Marvin" userId="5b54ce5a-dc89-476f-af33-5abd75d5b1e8" providerId="ADAL" clId="{43B71669-8A80-4333-9349-B258A9296B49}" dt="2024-02-27T16:53:49.050" v="3382"/>
          <ac:spMkLst>
            <pc:docMk/>
            <pc:sldMk cId="243418816" sldId="591"/>
            <ac:spMk id="73" creationId="{A0104E82-FBAA-18E1-3341-08C702E5E42B}"/>
          </ac:spMkLst>
        </pc:spChg>
        <pc:spChg chg="add mod modVis">
          <ac:chgData name="Bullinger, Marvin" userId="5b54ce5a-dc89-476f-af33-5abd75d5b1e8" providerId="ADAL" clId="{43B71669-8A80-4333-9349-B258A9296B49}" dt="2024-02-27T16:53:49.050" v="3382"/>
          <ac:spMkLst>
            <pc:docMk/>
            <pc:sldMk cId="243418816" sldId="591"/>
            <ac:spMk id="74" creationId="{333081A8-13AD-3E3B-CEA4-33B1DCED8B80}"/>
          </ac:spMkLst>
        </pc:spChg>
        <pc:spChg chg="add mod modVis">
          <ac:chgData name="Bullinger, Marvin" userId="5b54ce5a-dc89-476f-af33-5abd75d5b1e8" providerId="ADAL" clId="{43B71669-8A80-4333-9349-B258A9296B49}" dt="2024-02-27T16:53:49.050" v="3382"/>
          <ac:spMkLst>
            <pc:docMk/>
            <pc:sldMk cId="243418816" sldId="591"/>
            <ac:spMk id="75" creationId="{922D9C19-178C-563D-307E-61C7C165DD7D}"/>
          </ac:spMkLst>
        </pc:spChg>
        <pc:spChg chg="add mod modVis">
          <ac:chgData name="Bullinger, Marvin" userId="5b54ce5a-dc89-476f-af33-5abd75d5b1e8" providerId="ADAL" clId="{43B71669-8A80-4333-9349-B258A9296B49}" dt="2024-02-27T16:53:49.050" v="3382"/>
          <ac:spMkLst>
            <pc:docMk/>
            <pc:sldMk cId="243418816" sldId="591"/>
            <ac:spMk id="76" creationId="{42202EE4-CF5F-532D-FD41-5B674EF7529C}"/>
          </ac:spMkLst>
        </pc:spChg>
        <pc:spChg chg="add mod modVis">
          <ac:chgData name="Bullinger, Marvin" userId="5b54ce5a-dc89-476f-af33-5abd75d5b1e8" providerId="ADAL" clId="{43B71669-8A80-4333-9349-B258A9296B49}" dt="2024-02-27T16:53:49.050" v="3382"/>
          <ac:spMkLst>
            <pc:docMk/>
            <pc:sldMk cId="243418816" sldId="591"/>
            <ac:spMk id="77" creationId="{BD70603B-0EC3-43ED-C5A4-B503BF776BDB}"/>
          </ac:spMkLst>
        </pc:spChg>
        <pc:spChg chg="add mod modVis">
          <ac:chgData name="Bullinger, Marvin" userId="5b54ce5a-dc89-476f-af33-5abd75d5b1e8" providerId="ADAL" clId="{43B71669-8A80-4333-9349-B258A9296B49}" dt="2024-02-27T16:53:49.050" v="3382"/>
          <ac:spMkLst>
            <pc:docMk/>
            <pc:sldMk cId="243418816" sldId="591"/>
            <ac:spMk id="78" creationId="{9BE24B6F-B006-D630-C3A2-523B443E3E9F}"/>
          </ac:spMkLst>
        </pc:spChg>
        <pc:spChg chg="add mod modVis">
          <ac:chgData name="Bullinger, Marvin" userId="5b54ce5a-dc89-476f-af33-5abd75d5b1e8" providerId="ADAL" clId="{43B71669-8A80-4333-9349-B258A9296B49}" dt="2024-02-27T16:53:49.050" v="3382"/>
          <ac:spMkLst>
            <pc:docMk/>
            <pc:sldMk cId="243418816" sldId="591"/>
            <ac:spMk id="79" creationId="{FF1C0AB5-47B1-4F2F-0EA9-6B0CEB1A44F6}"/>
          </ac:spMkLst>
        </pc:spChg>
        <pc:spChg chg="add mod modVis">
          <ac:chgData name="Bullinger, Marvin" userId="5b54ce5a-dc89-476f-af33-5abd75d5b1e8" providerId="ADAL" clId="{43B71669-8A80-4333-9349-B258A9296B49}" dt="2024-02-27T16:53:49.050" v="3382"/>
          <ac:spMkLst>
            <pc:docMk/>
            <pc:sldMk cId="243418816" sldId="591"/>
            <ac:spMk id="80" creationId="{3428F290-B8AE-4DE0-9981-9E8A1013A79B}"/>
          </ac:spMkLst>
        </pc:spChg>
        <pc:spChg chg="add mod modVis">
          <ac:chgData name="Bullinger, Marvin" userId="5b54ce5a-dc89-476f-af33-5abd75d5b1e8" providerId="ADAL" clId="{43B71669-8A80-4333-9349-B258A9296B49}" dt="2024-02-27T16:53:49.050" v="3382"/>
          <ac:spMkLst>
            <pc:docMk/>
            <pc:sldMk cId="243418816" sldId="591"/>
            <ac:spMk id="81" creationId="{E8A2C953-44C0-986D-34A9-26007E90934E}"/>
          </ac:spMkLst>
        </pc:spChg>
        <pc:spChg chg="add mod modVis">
          <ac:chgData name="Bullinger, Marvin" userId="5b54ce5a-dc89-476f-af33-5abd75d5b1e8" providerId="ADAL" clId="{43B71669-8A80-4333-9349-B258A9296B49}" dt="2024-02-27T16:53:49.050" v="3382"/>
          <ac:spMkLst>
            <pc:docMk/>
            <pc:sldMk cId="243418816" sldId="591"/>
            <ac:spMk id="82" creationId="{02B4AECA-5A99-E64E-DCED-CA0768A7E3D8}"/>
          </ac:spMkLst>
        </pc:spChg>
        <pc:spChg chg="add mod modVis">
          <ac:chgData name="Bullinger, Marvin" userId="5b54ce5a-dc89-476f-af33-5abd75d5b1e8" providerId="ADAL" clId="{43B71669-8A80-4333-9349-B258A9296B49}" dt="2024-02-27T16:53:49.050" v="3382"/>
          <ac:spMkLst>
            <pc:docMk/>
            <pc:sldMk cId="243418816" sldId="591"/>
            <ac:spMk id="83" creationId="{9D7AECEA-C23A-DCCE-BC07-085C60F3B920}"/>
          </ac:spMkLst>
        </pc:spChg>
        <pc:spChg chg="add mod modVis">
          <ac:chgData name="Bullinger, Marvin" userId="5b54ce5a-dc89-476f-af33-5abd75d5b1e8" providerId="ADAL" clId="{43B71669-8A80-4333-9349-B258A9296B49}" dt="2024-02-27T16:53:49.050" v="3382"/>
          <ac:spMkLst>
            <pc:docMk/>
            <pc:sldMk cId="243418816" sldId="591"/>
            <ac:spMk id="84" creationId="{23D95EBA-578E-456E-10CA-6608146007E1}"/>
          </ac:spMkLst>
        </pc:spChg>
        <pc:spChg chg="add mod modVis">
          <ac:chgData name="Bullinger, Marvin" userId="5b54ce5a-dc89-476f-af33-5abd75d5b1e8" providerId="ADAL" clId="{43B71669-8A80-4333-9349-B258A9296B49}" dt="2024-02-27T16:53:49.050" v="3382"/>
          <ac:spMkLst>
            <pc:docMk/>
            <pc:sldMk cId="243418816" sldId="591"/>
            <ac:spMk id="85" creationId="{FF4AFAE0-B2BF-6D09-4A5E-5AED6F9BA9E3}"/>
          </ac:spMkLst>
        </pc:spChg>
        <pc:spChg chg="add mod modVis">
          <ac:chgData name="Bullinger, Marvin" userId="5b54ce5a-dc89-476f-af33-5abd75d5b1e8" providerId="ADAL" clId="{43B71669-8A80-4333-9349-B258A9296B49}" dt="2024-02-27T16:53:49.050" v="3382"/>
          <ac:spMkLst>
            <pc:docMk/>
            <pc:sldMk cId="243418816" sldId="591"/>
            <ac:spMk id="86" creationId="{54E2C413-A174-575E-FC23-5FD808961254}"/>
          </ac:spMkLst>
        </pc:spChg>
        <pc:spChg chg="add mod modVis">
          <ac:chgData name="Bullinger, Marvin" userId="5b54ce5a-dc89-476f-af33-5abd75d5b1e8" providerId="ADAL" clId="{43B71669-8A80-4333-9349-B258A9296B49}" dt="2024-02-27T16:53:49.050" v="3382"/>
          <ac:spMkLst>
            <pc:docMk/>
            <pc:sldMk cId="243418816" sldId="591"/>
            <ac:spMk id="87" creationId="{7A5E3814-1F04-B8ED-1577-DA00ECE53FF1}"/>
          </ac:spMkLst>
        </pc:spChg>
        <pc:spChg chg="add mod modVis">
          <ac:chgData name="Bullinger, Marvin" userId="5b54ce5a-dc89-476f-af33-5abd75d5b1e8" providerId="ADAL" clId="{43B71669-8A80-4333-9349-B258A9296B49}" dt="2024-02-27T16:53:49.050" v="3382"/>
          <ac:spMkLst>
            <pc:docMk/>
            <pc:sldMk cId="243418816" sldId="591"/>
            <ac:spMk id="88" creationId="{74F667C2-A302-FE49-E4AA-4815CF1A30C5}"/>
          </ac:spMkLst>
        </pc:spChg>
        <pc:spChg chg="add mod modVis">
          <ac:chgData name="Bullinger, Marvin" userId="5b54ce5a-dc89-476f-af33-5abd75d5b1e8" providerId="ADAL" clId="{43B71669-8A80-4333-9349-B258A9296B49}" dt="2024-02-27T16:53:49.050" v="3382"/>
          <ac:spMkLst>
            <pc:docMk/>
            <pc:sldMk cId="243418816" sldId="591"/>
            <ac:spMk id="89" creationId="{31F4F47C-74E1-F8A0-E846-EC68424E8DFC}"/>
          </ac:spMkLst>
        </pc:spChg>
        <pc:spChg chg="add mod modVis">
          <ac:chgData name="Bullinger, Marvin" userId="5b54ce5a-dc89-476f-af33-5abd75d5b1e8" providerId="ADAL" clId="{43B71669-8A80-4333-9349-B258A9296B49}" dt="2024-02-27T16:53:49.050" v="3382"/>
          <ac:spMkLst>
            <pc:docMk/>
            <pc:sldMk cId="243418816" sldId="591"/>
            <ac:spMk id="90" creationId="{543A81C3-99A3-A504-B40B-8E642C861EA1}"/>
          </ac:spMkLst>
        </pc:spChg>
        <pc:spChg chg="add mod modVis">
          <ac:chgData name="Bullinger, Marvin" userId="5b54ce5a-dc89-476f-af33-5abd75d5b1e8" providerId="ADAL" clId="{43B71669-8A80-4333-9349-B258A9296B49}" dt="2024-02-27T16:53:49.050" v="3382"/>
          <ac:spMkLst>
            <pc:docMk/>
            <pc:sldMk cId="243418816" sldId="591"/>
            <ac:spMk id="91" creationId="{C4841DC2-A0D4-9EFD-6E3D-D2F490DCB594}"/>
          </ac:spMkLst>
        </pc:spChg>
        <pc:spChg chg="add mod modVis">
          <ac:chgData name="Bullinger, Marvin" userId="5b54ce5a-dc89-476f-af33-5abd75d5b1e8" providerId="ADAL" clId="{43B71669-8A80-4333-9349-B258A9296B49}" dt="2024-02-27T16:53:49.050" v="3382"/>
          <ac:spMkLst>
            <pc:docMk/>
            <pc:sldMk cId="243418816" sldId="591"/>
            <ac:spMk id="92" creationId="{B0F6D329-2B56-7D28-95BF-732CAB40AEBD}"/>
          </ac:spMkLst>
        </pc:spChg>
        <pc:spChg chg="add mod modVis">
          <ac:chgData name="Bullinger, Marvin" userId="5b54ce5a-dc89-476f-af33-5abd75d5b1e8" providerId="ADAL" clId="{43B71669-8A80-4333-9349-B258A9296B49}" dt="2024-02-27T16:53:49.050" v="3382"/>
          <ac:spMkLst>
            <pc:docMk/>
            <pc:sldMk cId="243418816" sldId="591"/>
            <ac:spMk id="93" creationId="{587C29F9-9C15-63C5-57F4-729BF8CDDBEA}"/>
          </ac:spMkLst>
        </pc:spChg>
        <pc:spChg chg="add">
          <ac:chgData name="Bullinger, Marvin" userId="5b54ce5a-dc89-476f-af33-5abd75d5b1e8" providerId="ADAL" clId="{43B71669-8A80-4333-9349-B258A9296B49}" dt="2024-02-27T16:53:49.050" v="3382"/>
          <ac:spMkLst>
            <pc:docMk/>
            <pc:sldMk cId="243418816" sldId="591"/>
            <ac:spMk id="94" creationId="{36EE78ED-73C7-A9DE-71FC-5C46F004C728}"/>
          </ac:spMkLst>
        </pc:spChg>
        <pc:cxnChg chg="add del">
          <ac:chgData name="Bullinger, Marvin" userId="5b54ce5a-dc89-476f-af33-5abd75d5b1e8" providerId="ADAL" clId="{43B71669-8A80-4333-9349-B258A9296B49}" dt="2024-02-27T16:53:49.050" v="3382"/>
          <ac:cxnSpMkLst>
            <pc:docMk/>
            <pc:sldMk cId="243418816" sldId="591"/>
            <ac:cxnSpMk id="43" creationId="{021295C1-B15A-1FFD-F504-1367EA3A6C94}"/>
          </ac:cxnSpMkLst>
        </pc:cxnChg>
        <pc:cxnChg chg="add">
          <ac:chgData name="Bullinger, Marvin" userId="5b54ce5a-dc89-476f-af33-5abd75d5b1e8" providerId="ADAL" clId="{43B71669-8A80-4333-9349-B258A9296B49}" dt="2024-02-27T16:53:49.050" v="3382"/>
          <ac:cxnSpMkLst>
            <pc:docMk/>
            <pc:sldMk cId="243418816" sldId="591"/>
            <ac:cxnSpMk id="45" creationId="{DDA086BB-4FA9-FB28-90DF-A4DCFE7262FD}"/>
          </ac:cxnSpMkLst>
        </pc:cxnChg>
        <pc:cxnChg chg="add">
          <ac:chgData name="Bullinger, Marvin" userId="5b54ce5a-dc89-476f-af33-5abd75d5b1e8" providerId="ADAL" clId="{43B71669-8A80-4333-9349-B258A9296B49}" dt="2024-02-27T16:53:49.050" v="3382"/>
          <ac:cxnSpMkLst>
            <pc:docMk/>
            <pc:sldMk cId="243418816" sldId="591"/>
            <ac:cxnSpMk id="95" creationId="{FC55D874-6A96-57D3-C7D5-97D2FEA05EBE}"/>
          </ac:cxnSpMkLst>
        </pc:cxnChg>
      </pc:sldChg>
      <pc:sldChg chg="delSp modSp del mod">
        <pc:chgData name="Bullinger, Marvin" userId="5b54ce5a-dc89-476f-af33-5abd75d5b1e8" providerId="ADAL" clId="{43B71669-8A80-4333-9349-B258A9296B49}" dt="2024-02-27T16:46:20.979" v="1798" actId="2696"/>
        <pc:sldMkLst>
          <pc:docMk/>
          <pc:sldMk cId="1752096405" sldId="591"/>
        </pc:sldMkLst>
        <pc:spChg chg="del">
          <ac:chgData name="Bullinger, Marvin" userId="5b54ce5a-dc89-476f-af33-5abd75d5b1e8" providerId="ADAL" clId="{43B71669-8A80-4333-9349-B258A9296B49}" dt="2024-02-27T16:46:20.977" v="1796" actId="478"/>
          <ac:spMkLst>
            <pc:docMk/>
            <pc:sldMk cId="1752096405" sldId="591"/>
            <ac:spMk id="42" creationId="{C38A5B40-DFC3-F2D4-EAD6-039FC845B115}"/>
          </ac:spMkLst>
        </pc:spChg>
        <pc:spChg chg="mod">
          <ac:chgData name="Bullinger, Marvin" userId="5b54ce5a-dc89-476f-af33-5abd75d5b1e8" providerId="ADAL" clId="{43B71669-8A80-4333-9349-B258A9296B49}" dt="2024-02-27T16:46:19.821" v="1022" actId="207"/>
          <ac:spMkLst>
            <pc:docMk/>
            <pc:sldMk cId="1752096405" sldId="591"/>
            <ac:spMk id="44" creationId="{420D7793-7483-75A8-63F8-0BA165F65538}"/>
          </ac:spMkLst>
        </pc:spChg>
        <pc:spChg chg="mod modVis">
          <ac:chgData name="Bullinger, Marvin" userId="5b54ce5a-dc89-476f-af33-5abd75d5b1e8" providerId="ADAL" clId="{43B71669-8A80-4333-9349-B258A9296B49}" dt="2024-02-27T16:46:19.854" v="1023" actId="962"/>
          <ac:spMkLst>
            <pc:docMk/>
            <pc:sldMk cId="1752096405" sldId="591"/>
            <ac:spMk id="46" creationId="{A8547B73-AEFE-316F-DC23-E1EF5F988601}"/>
          </ac:spMkLst>
        </pc:spChg>
        <pc:spChg chg="mod modVis">
          <ac:chgData name="Bullinger, Marvin" userId="5b54ce5a-dc89-476f-af33-5abd75d5b1e8" providerId="ADAL" clId="{43B71669-8A80-4333-9349-B258A9296B49}" dt="2024-02-27T16:46:19.860" v="1024" actId="962"/>
          <ac:spMkLst>
            <pc:docMk/>
            <pc:sldMk cId="1752096405" sldId="591"/>
            <ac:spMk id="47" creationId="{ABDEED92-7F0B-D3FC-210A-58B1EBC14D58}"/>
          </ac:spMkLst>
        </pc:spChg>
        <pc:spChg chg="mod modVis">
          <ac:chgData name="Bullinger, Marvin" userId="5b54ce5a-dc89-476f-af33-5abd75d5b1e8" providerId="ADAL" clId="{43B71669-8A80-4333-9349-B258A9296B49}" dt="2024-02-27T16:46:19.862" v="1025" actId="962"/>
          <ac:spMkLst>
            <pc:docMk/>
            <pc:sldMk cId="1752096405" sldId="591"/>
            <ac:spMk id="48" creationId="{E2C1762D-1071-C8A3-2C80-0BD4913E6952}"/>
          </ac:spMkLst>
        </pc:spChg>
        <pc:spChg chg="mod modVis">
          <ac:chgData name="Bullinger, Marvin" userId="5b54ce5a-dc89-476f-af33-5abd75d5b1e8" providerId="ADAL" clId="{43B71669-8A80-4333-9349-B258A9296B49}" dt="2024-02-27T16:46:19.862" v="1026" actId="962"/>
          <ac:spMkLst>
            <pc:docMk/>
            <pc:sldMk cId="1752096405" sldId="591"/>
            <ac:spMk id="49" creationId="{9D71D1AE-5D39-8561-DCEF-75C7CF568F7A}"/>
          </ac:spMkLst>
        </pc:spChg>
        <pc:spChg chg="mod modVis">
          <ac:chgData name="Bullinger, Marvin" userId="5b54ce5a-dc89-476f-af33-5abd75d5b1e8" providerId="ADAL" clId="{43B71669-8A80-4333-9349-B258A9296B49}" dt="2024-02-27T16:46:19.862" v="1027" actId="962"/>
          <ac:spMkLst>
            <pc:docMk/>
            <pc:sldMk cId="1752096405" sldId="591"/>
            <ac:spMk id="50" creationId="{4F5B9B3A-471D-5D5F-0CA9-F2B0B2FA7B94}"/>
          </ac:spMkLst>
        </pc:spChg>
        <pc:spChg chg="mod modVis">
          <ac:chgData name="Bullinger, Marvin" userId="5b54ce5a-dc89-476f-af33-5abd75d5b1e8" providerId="ADAL" clId="{43B71669-8A80-4333-9349-B258A9296B49}" dt="2024-02-27T16:46:19.877" v="1028" actId="962"/>
          <ac:spMkLst>
            <pc:docMk/>
            <pc:sldMk cId="1752096405" sldId="591"/>
            <ac:spMk id="51" creationId="{1FF6F48F-5944-EA5C-FF68-561277307F0F}"/>
          </ac:spMkLst>
        </pc:spChg>
        <pc:spChg chg="mod modVis">
          <ac:chgData name="Bullinger, Marvin" userId="5b54ce5a-dc89-476f-af33-5abd75d5b1e8" providerId="ADAL" clId="{43B71669-8A80-4333-9349-B258A9296B49}" dt="2024-02-27T16:46:19.877" v="1029" actId="962"/>
          <ac:spMkLst>
            <pc:docMk/>
            <pc:sldMk cId="1752096405" sldId="591"/>
            <ac:spMk id="52" creationId="{64719D8C-BC82-2F86-9C65-F9EB84CA2437}"/>
          </ac:spMkLst>
        </pc:spChg>
        <pc:spChg chg="mod modVis">
          <ac:chgData name="Bullinger, Marvin" userId="5b54ce5a-dc89-476f-af33-5abd75d5b1e8" providerId="ADAL" clId="{43B71669-8A80-4333-9349-B258A9296B49}" dt="2024-02-27T16:46:19.877" v="1030" actId="962"/>
          <ac:spMkLst>
            <pc:docMk/>
            <pc:sldMk cId="1752096405" sldId="591"/>
            <ac:spMk id="53" creationId="{8FFD9DF0-2B01-D4F0-04E9-DEC4F6E5ED3E}"/>
          </ac:spMkLst>
        </pc:spChg>
        <pc:spChg chg="mod modVis">
          <ac:chgData name="Bullinger, Marvin" userId="5b54ce5a-dc89-476f-af33-5abd75d5b1e8" providerId="ADAL" clId="{43B71669-8A80-4333-9349-B258A9296B49}" dt="2024-02-27T16:46:19.893" v="1031" actId="962"/>
          <ac:spMkLst>
            <pc:docMk/>
            <pc:sldMk cId="1752096405" sldId="591"/>
            <ac:spMk id="54" creationId="{8B3C7BBB-520A-5179-E0F1-98C585F420F6}"/>
          </ac:spMkLst>
        </pc:spChg>
        <pc:spChg chg="mod modVis">
          <ac:chgData name="Bullinger, Marvin" userId="5b54ce5a-dc89-476f-af33-5abd75d5b1e8" providerId="ADAL" clId="{43B71669-8A80-4333-9349-B258A9296B49}" dt="2024-02-27T16:46:19.893" v="1032" actId="962"/>
          <ac:spMkLst>
            <pc:docMk/>
            <pc:sldMk cId="1752096405" sldId="591"/>
            <ac:spMk id="55" creationId="{9F8F74B4-CBF7-D71E-E17A-860E64DF4B2C}"/>
          </ac:spMkLst>
        </pc:spChg>
        <pc:spChg chg="mod modVis">
          <ac:chgData name="Bullinger, Marvin" userId="5b54ce5a-dc89-476f-af33-5abd75d5b1e8" providerId="ADAL" clId="{43B71669-8A80-4333-9349-B258A9296B49}" dt="2024-02-27T16:46:19.893" v="1033" actId="962"/>
          <ac:spMkLst>
            <pc:docMk/>
            <pc:sldMk cId="1752096405" sldId="591"/>
            <ac:spMk id="56" creationId="{3F6078B6-BA33-75D5-CE38-01E5DB4F9E08}"/>
          </ac:spMkLst>
        </pc:spChg>
        <pc:spChg chg="mod modVis">
          <ac:chgData name="Bullinger, Marvin" userId="5b54ce5a-dc89-476f-af33-5abd75d5b1e8" providerId="ADAL" clId="{43B71669-8A80-4333-9349-B258A9296B49}" dt="2024-02-27T16:46:19.909" v="1034" actId="962"/>
          <ac:spMkLst>
            <pc:docMk/>
            <pc:sldMk cId="1752096405" sldId="591"/>
            <ac:spMk id="57" creationId="{2CF53590-FB4C-A27D-52C2-11DD25351455}"/>
          </ac:spMkLst>
        </pc:spChg>
        <pc:spChg chg="mod modVis">
          <ac:chgData name="Bullinger, Marvin" userId="5b54ce5a-dc89-476f-af33-5abd75d5b1e8" providerId="ADAL" clId="{43B71669-8A80-4333-9349-B258A9296B49}" dt="2024-02-27T16:46:19.909" v="1035" actId="962"/>
          <ac:spMkLst>
            <pc:docMk/>
            <pc:sldMk cId="1752096405" sldId="591"/>
            <ac:spMk id="58" creationId="{83040107-F2FD-FC49-38FC-A9810A6DBEDE}"/>
          </ac:spMkLst>
        </pc:spChg>
        <pc:spChg chg="mod modVis">
          <ac:chgData name="Bullinger, Marvin" userId="5b54ce5a-dc89-476f-af33-5abd75d5b1e8" providerId="ADAL" clId="{43B71669-8A80-4333-9349-B258A9296B49}" dt="2024-02-27T16:46:19.909" v="1036" actId="962"/>
          <ac:spMkLst>
            <pc:docMk/>
            <pc:sldMk cId="1752096405" sldId="591"/>
            <ac:spMk id="59" creationId="{EA37AFFA-2C08-CD60-8492-A123C16FE421}"/>
          </ac:spMkLst>
        </pc:spChg>
        <pc:spChg chg="mod modVis">
          <ac:chgData name="Bullinger, Marvin" userId="5b54ce5a-dc89-476f-af33-5abd75d5b1e8" providerId="ADAL" clId="{43B71669-8A80-4333-9349-B258A9296B49}" dt="2024-02-27T16:46:19.924" v="1037" actId="962"/>
          <ac:spMkLst>
            <pc:docMk/>
            <pc:sldMk cId="1752096405" sldId="591"/>
            <ac:spMk id="60" creationId="{D7FC870B-5813-BA8D-2542-6147996FD781}"/>
          </ac:spMkLst>
        </pc:spChg>
        <pc:spChg chg="mod modVis">
          <ac:chgData name="Bullinger, Marvin" userId="5b54ce5a-dc89-476f-af33-5abd75d5b1e8" providerId="ADAL" clId="{43B71669-8A80-4333-9349-B258A9296B49}" dt="2024-02-27T16:46:19.924" v="1038" actId="962"/>
          <ac:spMkLst>
            <pc:docMk/>
            <pc:sldMk cId="1752096405" sldId="591"/>
            <ac:spMk id="61" creationId="{EC108070-F0B0-920A-3CEA-E815D74606CC}"/>
          </ac:spMkLst>
        </pc:spChg>
        <pc:spChg chg="mod modVis">
          <ac:chgData name="Bullinger, Marvin" userId="5b54ce5a-dc89-476f-af33-5abd75d5b1e8" providerId="ADAL" clId="{43B71669-8A80-4333-9349-B258A9296B49}" dt="2024-02-27T16:46:19.924" v="1039" actId="962"/>
          <ac:spMkLst>
            <pc:docMk/>
            <pc:sldMk cId="1752096405" sldId="591"/>
            <ac:spMk id="62" creationId="{5FA080F9-7962-199B-67BF-7C824BDDD01E}"/>
          </ac:spMkLst>
        </pc:spChg>
        <pc:spChg chg="mod modVis">
          <ac:chgData name="Bullinger, Marvin" userId="5b54ce5a-dc89-476f-af33-5abd75d5b1e8" providerId="ADAL" clId="{43B71669-8A80-4333-9349-B258A9296B49}" dt="2024-02-27T16:46:19.924" v="1040" actId="962"/>
          <ac:spMkLst>
            <pc:docMk/>
            <pc:sldMk cId="1752096405" sldId="591"/>
            <ac:spMk id="63" creationId="{FC73BDFF-AB51-6968-CB9B-1D33DEEA5B00}"/>
          </ac:spMkLst>
        </pc:spChg>
        <pc:spChg chg="mod modVis">
          <ac:chgData name="Bullinger, Marvin" userId="5b54ce5a-dc89-476f-af33-5abd75d5b1e8" providerId="ADAL" clId="{43B71669-8A80-4333-9349-B258A9296B49}" dt="2024-02-27T16:46:19.938" v="1041" actId="962"/>
          <ac:spMkLst>
            <pc:docMk/>
            <pc:sldMk cId="1752096405" sldId="591"/>
            <ac:spMk id="64" creationId="{D86B64F7-0A6B-4BF8-AC84-2A5D7902124A}"/>
          </ac:spMkLst>
        </pc:spChg>
        <pc:spChg chg="mod modVis">
          <ac:chgData name="Bullinger, Marvin" userId="5b54ce5a-dc89-476f-af33-5abd75d5b1e8" providerId="ADAL" clId="{43B71669-8A80-4333-9349-B258A9296B49}" dt="2024-02-27T16:46:19.938" v="1042" actId="962"/>
          <ac:spMkLst>
            <pc:docMk/>
            <pc:sldMk cId="1752096405" sldId="591"/>
            <ac:spMk id="65" creationId="{0A23E6EE-6387-2486-ACD2-7E6D66E53F64}"/>
          </ac:spMkLst>
        </pc:spChg>
        <pc:spChg chg="mod modVis">
          <ac:chgData name="Bullinger, Marvin" userId="5b54ce5a-dc89-476f-af33-5abd75d5b1e8" providerId="ADAL" clId="{43B71669-8A80-4333-9349-B258A9296B49}" dt="2024-02-27T16:46:19.938" v="1043" actId="962"/>
          <ac:spMkLst>
            <pc:docMk/>
            <pc:sldMk cId="1752096405" sldId="591"/>
            <ac:spMk id="66" creationId="{4BF444F1-8B11-4D42-7FBC-0568B0D1F0F4}"/>
          </ac:spMkLst>
        </pc:spChg>
        <pc:spChg chg="mod modVis">
          <ac:chgData name="Bullinger, Marvin" userId="5b54ce5a-dc89-476f-af33-5abd75d5b1e8" providerId="ADAL" clId="{43B71669-8A80-4333-9349-B258A9296B49}" dt="2024-02-27T16:46:19.957" v="1044" actId="962"/>
          <ac:spMkLst>
            <pc:docMk/>
            <pc:sldMk cId="1752096405" sldId="591"/>
            <ac:spMk id="67" creationId="{02BD938C-D049-B1F1-3DFE-F17A9AFB2A65}"/>
          </ac:spMkLst>
        </pc:spChg>
        <pc:spChg chg="mod modVis">
          <ac:chgData name="Bullinger, Marvin" userId="5b54ce5a-dc89-476f-af33-5abd75d5b1e8" providerId="ADAL" clId="{43B71669-8A80-4333-9349-B258A9296B49}" dt="2024-02-27T16:46:19.959" v="1045" actId="962"/>
          <ac:spMkLst>
            <pc:docMk/>
            <pc:sldMk cId="1752096405" sldId="591"/>
            <ac:spMk id="68" creationId="{26519CCC-1AD1-594F-F3FF-F5EFDA1FE669}"/>
          </ac:spMkLst>
        </pc:spChg>
        <pc:spChg chg="mod modVis">
          <ac:chgData name="Bullinger, Marvin" userId="5b54ce5a-dc89-476f-af33-5abd75d5b1e8" providerId="ADAL" clId="{43B71669-8A80-4333-9349-B258A9296B49}" dt="2024-02-27T16:46:19.959" v="1046" actId="962"/>
          <ac:spMkLst>
            <pc:docMk/>
            <pc:sldMk cId="1752096405" sldId="591"/>
            <ac:spMk id="69" creationId="{BC27CEDB-F830-C221-1F72-BD1ECEF7523A}"/>
          </ac:spMkLst>
        </pc:spChg>
        <pc:spChg chg="mod modVis">
          <ac:chgData name="Bullinger, Marvin" userId="5b54ce5a-dc89-476f-af33-5abd75d5b1e8" providerId="ADAL" clId="{43B71669-8A80-4333-9349-B258A9296B49}" dt="2024-02-27T16:46:19.959" v="1047" actId="962"/>
          <ac:spMkLst>
            <pc:docMk/>
            <pc:sldMk cId="1752096405" sldId="591"/>
            <ac:spMk id="70" creationId="{7B0BA78E-558E-07D6-9AE8-5951126D15C9}"/>
          </ac:spMkLst>
        </pc:spChg>
        <pc:spChg chg="mod modVis">
          <ac:chgData name="Bullinger, Marvin" userId="5b54ce5a-dc89-476f-af33-5abd75d5b1e8" providerId="ADAL" clId="{43B71669-8A80-4333-9349-B258A9296B49}" dt="2024-02-27T16:46:19.959" v="1048" actId="962"/>
          <ac:spMkLst>
            <pc:docMk/>
            <pc:sldMk cId="1752096405" sldId="591"/>
            <ac:spMk id="71" creationId="{3ECF314A-BF78-F97A-41FA-0B18DE874BC9}"/>
          </ac:spMkLst>
        </pc:spChg>
        <pc:spChg chg="mod modVis">
          <ac:chgData name="Bullinger, Marvin" userId="5b54ce5a-dc89-476f-af33-5abd75d5b1e8" providerId="ADAL" clId="{43B71669-8A80-4333-9349-B258A9296B49}" dt="2024-02-27T16:46:19.974" v="1049" actId="962"/>
          <ac:spMkLst>
            <pc:docMk/>
            <pc:sldMk cId="1752096405" sldId="591"/>
            <ac:spMk id="72" creationId="{1318BD85-F0CC-B3C7-FBC3-6E9CDF5615D2}"/>
          </ac:spMkLst>
        </pc:spChg>
        <pc:spChg chg="mod modVis">
          <ac:chgData name="Bullinger, Marvin" userId="5b54ce5a-dc89-476f-af33-5abd75d5b1e8" providerId="ADAL" clId="{43B71669-8A80-4333-9349-B258A9296B49}" dt="2024-02-27T16:46:19.974" v="1050" actId="962"/>
          <ac:spMkLst>
            <pc:docMk/>
            <pc:sldMk cId="1752096405" sldId="591"/>
            <ac:spMk id="73" creationId="{84581866-4DCA-2E9E-7094-79FF08A5A4B1}"/>
          </ac:spMkLst>
        </pc:spChg>
        <pc:spChg chg="mod modVis">
          <ac:chgData name="Bullinger, Marvin" userId="5b54ce5a-dc89-476f-af33-5abd75d5b1e8" providerId="ADAL" clId="{43B71669-8A80-4333-9349-B258A9296B49}" dt="2024-02-27T16:46:19.974" v="1051" actId="962"/>
          <ac:spMkLst>
            <pc:docMk/>
            <pc:sldMk cId="1752096405" sldId="591"/>
            <ac:spMk id="74" creationId="{DE5BA739-ABF2-1656-3EBC-040EE1C19EAB}"/>
          </ac:spMkLst>
        </pc:spChg>
        <pc:spChg chg="mod modVis">
          <ac:chgData name="Bullinger, Marvin" userId="5b54ce5a-dc89-476f-af33-5abd75d5b1e8" providerId="ADAL" clId="{43B71669-8A80-4333-9349-B258A9296B49}" dt="2024-02-27T16:46:19.990" v="1052" actId="962"/>
          <ac:spMkLst>
            <pc:docMk/>
            <pc:sldMk cId="1752096405" sldId="591"/>
            <ac:spMk id="75" creationId="{C6C0B360-BB7D-6428-7E81-E158068CD909}"/>
          </ac:spMkLst>
        </pc:spChg>
        <pc:spChg chg="mod modVis">
          <ac:chgData name="Bullinger, Marvin" userId="5b54ce5a-dc89-476f-af33-5abd75d5b1e8" providerId="ADAL" clId="{43B71669-8A80-4333-9349-B258A9296B49}" dt="2024-02-27T16:46:19.990" v="1053" actId="962"/>
          <ac:spMkLst>
            <pc:docMk/>
            <pc:sldMk cId="1752096405" sldId="591"/>
            <ac:spMk id="76" creationId="{AB0905A3-F006-97A1-AEBC-DA51B4A1192D}"/>
          </ac:spMkLst>
        </pc:spChg>
        <pc:spChg chg="mod modVis">
          <ac:chgData name="Bullinger, Marvin" userId="5b54ce5a-dc89-476f-af33-5abd75d5b1e8" providerId="ADAL" clId="{43B71669-8A80-4333-9349-B258A9296B49}" dt="2024-02-27T16:46:19.990" v="1054" actId="962"/>
          <ac:spMkLst>
            <pc:docMk/>
            <pc:sldMk cId="1752096405" sldId="591"/>
            <ac:spMk id="77" creationId="{1603DEDC-DB7A-DF7B-A62A-05A26F949048}"/>
          </ac:spMkLst>
        </pc:spChg>
        <pc:spChg chg="mod modVis">
          <ac:chgData name="Bullinger, Marvin" userId="5b54ce5a-dc89-476f-af33-5abd75d5b1e8" providerId="ADAL" clId="{43B71669-8A80-4333-9349-B258A9296B49}" dt="2024-02-27T16:46:19.990" v="1055" actId="962"/>
          <ac:spMkLst>
            <pc:docMk/>
            <pc:sldMk cId="1752096405" sldId="591"/>
            <ac:spMk id="78" creationId="{99B19EAA-B2F2-BF05-A2C6-6A45A222B664}"/>
          </ac:spMkLst>
        </pc:spChg>
        <pc:spChg chg="mod modVis">
          <ac:chgData name="Bullinger, Marvin" userId="5b54ce5a-dc89-476f-af33-5abd75d5b1e8" providerId="ADAL" clId="{43B71669-8A80-4333-9349-B258A9296B49}" dt="2024-02-27T16:46:20.006" v="1056" actId="962"/>
          <ac:spMkLst>
            <pc:docMk/>
            <pc:sldMk cId="1752096405" sldId="591"/>
            <ac:spMk id="79" creationId="{73CAA91D-BC1B-9569-376C-4B8D1A689D33}"/>
          </ac:spMkLst>
        </pc:spChg>
        <pc:spChg chg="mod modVis">
          <ac:chgData name="Bullinger, Marvin" userId="5b54ce5a-dc89-476f-af33-5abd75d5b1e8" providerId="ADAL" clId="{43B71669-8A80-4333-9349-B258A9296B49}" dt="2024-02-27T16:46:20.006" v="1057" actId="962"/>
          <ac:spMkLst>
            <pc:docMk/>
            <pc:sldMk cId="1752096405" sldId="591"/>
            <ac:spMk id="80" creationId="{1104C50F-DB5D-CA25-1476-81B21EF99FE1}"/>
          </ac:spMkLst>
        </pc:spChg>
        <pc:spChg chg="mod modVis">
          <ac:chgData name="Bullinger, Marvin" userId="5b54ce5a-dc89-476f-af33-5abd75d5b1e8" providerId="ADAL" clId="{43B71669-8A80-4333-9349-B258A9296B49}" dt="2024-02-27T16:46:20.006" v="1058" actId="962"/>
          <ac:spMkLst>
            <pc:docMk/>
            <pc:sldMk cId="1752096405" sldId="591"/>
            <ac:spMk id="81" creationId="{04A41C47-B0EA-60B0-CD2C-CABDE5BAE7E0}"/>
          </ac:spMkLst>
        </pc:spChg>
        <pc:spChg chg="mod modVis">
          <ac:chgData name="Bullinger, Marvin" userId="5b54ce5a-dc89-476f-af33-5abd75d5b1e8" providerId="ADAL" clId="{43B71669-8A80-4333-9349-B258A9296B49}" dt="2024-02-27T16:46:20.021" v="1059" actId="962"/>
          <ac:spMkLst>
            <pc:docMk/>
            <pc:sldMk cId="1752096405" sldId="591"/>
            <ac:spMk id="82" creationId="{07F43DD4-BFFE-B17A-357F-ED505684D0D4}"/>
          </ac:spMkLst>
        </pc:spChg>
        <pc:spChg chg="mod modVis">
          <ac:chgData name="Bullinger, Marvin" userId="5b54ce5a-dc89-476f-af33-5abd75d5b1e8" providerId="ADAL" clId="{43B71669-8A80-4333-9349-B258A9296B49}" dt="2024-02-27T16:46:20.021" v="1060" actId="962"/>
          <ac:spMkLst>
            <pc:docMk/>
            <pc:sldMk cId="1752096405" sldId="591"/>
            <ac:spMk id="83" creationId="{138D2E8D-9591-F404-3EEE-CF2C8E064578}"/>
          </ac:spMkLst>
        </pc:spChg>
        <pc:spChg chg="mod modVis">
          <ac:chgData name="Bullinger, Marvin" userId="5b54ce5a-dc89-476f-af33-5abd75d5b1e8" providerId="ADAL" clId="{43B71669-8A80-4333-9349-B258A9296B49}" dt="2024-02-27T16:46:20.021" v="1061" actId="962"/>
          <ac:spMkLst>
            <pc:docMk/>
            <pc:sldMk cId="1752096405" sldId="591"/>
            <ac:spMk id="84" creationId="{F1277B77-31D3-5472-9306-682515F5EF8C}"/>
          </ac:spMkLst>
        </pc:spChg>
        <pc:spChg chg="mod modVis">
          <ac:chgData name="Bullinger, Marvin" userId="5b54ce5a-dc89-476f-af33-5abd75d5b1e8" providerId="ADAL" clId="{43B71669-8A80-4333-9349-B258A9296B49}" dt="2024-02-27T16:46:20.039" v="1062" actId="962"/>
          <ac:spMkLst>
            <pc:docMk/>
            <pc:sldMk cId="1752096405" sldId="591"/>
            <ac:spMk id="85" creationId="{6F3360C7-089A-BB1A-1612-E638A8B28B48}"/>
          </ac:spMkLst>
        </pc:spChg>
        <pc:spChg chg="mod modVis">
          <ac:chgData name="Bullinger, Marvin" userId="5b54ce5a-dc89-476f-af33-5abd75d5b1e8" providerId="ADAL" clId="{43B71669-8A80-4333-9349-B258A9296B49}" dt="2024-02-27T16:46:20.039" v="1063" actId="962"/>
          <ac:spMkLst>
            <pc:docMk/>
            <pc:sldMk cId="1752096405" sldId="591"/>
            <ac:spMk id="86" creationId="{5AD4DD86-E9E0-B8BB-2B55-8C1E0A867FEB}"/>
          </ac:spMkLst>
        </pc:spChg>
        <pc:spChg chg="mod modVis">
          <ac:chgData name="Bullinger, Marvin" userId="5b54ce5a-dc89-476f-af33-5abd75d5b1e8" providerId="ADAL" clId="{43B71669-8A80-4333-9349-B258A9296B49}" dt="2024-02-27T16:46:20.039" v="1064" actId="962"/>
          <ac:spMkLst>
            <pc:docMk/>
            <pc:sldMk cId="1752096405" sldId="591"/>
            <ac:spMk id="87" creationId="{C13A2CA9-FD76-FE0A-51B5-B61DEFF3B5C4}"/>
          </ac:spMkLst>
        </pc:spChg>
        <pc:spChg chg="mod modVis">
          <ac:chgData name="Bullinger, Marvin" userId="5b54ce5a-dc89-476f-af33-5abd75d5b1e8" providerId="ADAL" clId="{43B71669-8A80-4333-9349-B258A9296B49}" dt="2024-02-27T16:46:20.039" v="1065" actId="962"/>
          <ac:spMkLst>
            <pc:docMk/>
            <pc:sldMk cId="1752096405" sldId="591"/>
            <ac:spMk id="88" creationId="{E06BEA85-F1BD-3CB5-5CAD-EEC5CFD2C26A}"/>
          </ac:spMkLst>
        </pc:spChg>
        <pc:spChg chg="mod modVis">
          <ac:chgData name="Bullinger, Marvin" userId="5b54ce5a-dc89-476f-af33-5abd75d5b1e8" providerId="ADAL" clId="{43B71669-8A80-4333-9349-B258A9296B49}" dt="2024-02-27T16:46:20.054" v="1066" actId="962"/>
          <ac:spMkLst>
            <pc:docMk/>
            <pc:sldMk cId="1752096405" sldId="591"/>
            <ac:spMk id="89" creationId="{68607598-9E72-0DC9-2F90-22845531AB67}"/>
          </ac:spMkLst>
        </pc:spChg>
        <pc:spChg chg="mod modVis">
          <ac:chgData name="Bullinger, Marvin" userId="5b54ce5a-dc89-476f-af33-5abd75d5b1e8" providerId="ADAL" clId="{43B71669-8A80-4333-9349-B258A9296B49}" dt="2024-02-27T16:46:20.054" v="1067" actId="962"/>
          <ac:spMkLst>
            <pc:docMk/>
            <pc:sldMk cId="1752096405" sldId="591"/>
            <ac:spMk id="90" creationId="{C8B69D11-91F1-FE3C-B318-6D34E2EBF141}"/>
          </ac:spMkLst>
        </pc:spChg>
        <pc:spChg chg="mod modVis">
          <ac:chgData name="Bullinger, Marvin" userId="5b54ce5a-dc89-476f-af33-5abd75d5b1e8" providerId="ADAL" clId="{43B71669-8A80-4333-9349-B258A9296B49}" dt="2024-02-27T16:46:20.054" v="1068" actId="962"/>
          <ac:spMkLst>
            <pc:docMk/>
            <pc:sldMk cId="1752096405" sldId="591"/>
            <ac:spMk id="91" creationId="{E119A5F4-2E4F-D367-12B9-6590A327DFCC}"/>
          </ac:spMkLst>
        </pc:spChg>
        <pc:spChg chg="mod modVis">
          <ac:chgData name="Bullinger, Marvin" userId="5b54ce5a-dc89-476f-af33-5abd75d5b1e8" providerId="ADAL" clId="{43B71669-8A80-4333-9349-B258A9296B49}" dt="2024-02-27T16:46:20.086" v="1069" actId="962"/>
          <ac:spMkLst>
            <pc:docMk/>
            <pc:sldMk cId="1752096405" sldId="591"/>
            <ac:spMk id="92" creationId="{D8459D60-7327-2691-F553-DF1E71158EAC}"/>
          </ac:spMkLst>
        </pc:spChg>
        <pc:spChg chg="mod modVis">
          <ac:chgData name="Bullinger, Marvin" userId="5b54ce5a-dc89-476f-af33-5abd75d5b1e8" providerId="ADAL" clId="{43B71669-8A80-4333-9349-B258A9296B49}" dt="2024-02-27T16:46:20.088" v="1070" actId="962"/>
          <ac:spMkLst>
            <pc:docMk/>
            <pc:sldMk cId="1752096405" sldId="591"/>
            <ac:spMk id="93" creationId="{9EFABD39-38A1-FCCD-60FD-34C0CD9960B6}"/>
          </ac:spMkLst>
        </pc:spChg>
        <pc:cxnChg chg="del">
          <ac:chgData name="Bullinger, Marvin" userId="5b54ce5a-dc89-476f-af33-5abd75d5b1e8" providerId="ADAL" clId="{43B71669-8A80-4333-9349-B258A9296B49}" dt="2024-02-27T16:46:20.977" v="1797" actId="478"/>
          <ac:cxnSpMkLst>
            <pc:docMk/>
            <pc:sldMk cId="1752096405" sldId="591"/>
            <ac:cxnSpMk id="43" creationId="{1B2C66DB-AA1C-9FB1-6DEC-0483F9C96A1D}"/>
          </ac:cxnSpMkLst>
        </pc:cxnChg>
      </pc:sldChg>
      <pc:sldChg chg="addSp delSp modSp mod replTag">
        <pc:chgData name="Bullinger, Marvin" userId="5b54ce5a-dc89-476f-af33-5abd75d5b1e8" providerId="ADAL" clId="{43B71669-8A80-4333-9349-B258A9296B49}" dt="2024-02-27T17:27:38.429" v="7785" actId="20577"/>
        <pc:sldMkLst>
          <pc:docMk/>
          <pc:sldMk cId="3574513803" sldId="591"/>
        </pc:sldMkLst>
        <pc:spChg chg="del">
          <ac:chgData name="Bullinger, Marvin" userId="5b54ce5a-dc89-476f-af33-5abd75d5b1e8" providerId="ADAL" clId="{43B71669-8A80-4333-9349-B258A9296B49}" dt="2024-02-27T17:21:08.793" v="4323" actId="478"/>
          <ac:spMkLst>
            <pc:docMk/>
            <pc:sldMk cId="3574513803" sldId="591"/>
            <ac:spMk id="2" creationId="{9CA4126C-D792-3356-05BB-AB97DE69B038}"/>
          </ac:spMkLst>
        </pc:spChg>
        <pc:spChg chg="del">
          <ac:chgData name="Bullinger, Marvin" userId="5b54ce5a-dc89-476f-af33-5abd75d5b1e8" providerId="ADAL" clId="{43B71669-8A80-4333-9349-B258A9296B49}" dt="2024-02-27T17:21:08.793" v="4322" actId="478"/>
          <ac:spMkLst>
            <pc:docMk/>
            <pc:sldMk cId="3574513803" sldId="591"/>
            <ac:spMk id="3" creationId="{C27E06A4-1F24-D326-F3E4-10DB6B75281E}"/>
          </ac:spMkLst>
        </pc:spChg>
        <pc:spChg chg="del">
          <ac:chgData name="Bullinger, Marvin" userId="5b54ce5a-dc89-476f-af33-5abd75d5b1e8" providerId="ADAL" clId="{43B71669-8A80-4333-9349-B258A9296B49}" dt="2024-02-27T17:21:08.793" v="4321" actId="478"/>
          <ac:spMkLst>
            <pc:docMk/>
            <pc:sldMk cId="3574513803" sldId="591"/>
            <ac:spMk id="4" creationId="{72BC045A-3566-A851-BDB5-206D2B3EC19A}"/>
          </ac:spMkLst>
        </pc:spChg>
        <pc:spChg chg="del">
          <ac:chgData name="Bullinger, Marvin" userId="5b54ce5a-dc89-476f-af33-5abd75d5b1e8" providerId="ADAL" clId="{43B71669-8A80-4333-9349-B258A9296B49}" dt="2024-02-27T17:21:08.793" v="4320" actId="478"/>
          <ac:spMkLst>
            <pc:docMk/>
            <pc:sldMk cId="3574513803" sldId="591"/>
            <ac:spMk id="5" creationId="{68CBD879-285F-F6BD-BB2B-FF17A4CEBEE7}"/>
          </ac:spMkLst>
        </pc:spChg>
        <pc:spChg chg="del">
          <ac:chgData name="Bullinger, Marvin" userId="5b54ce5a-dc89-476f-af33-5abd75d5b1e8" providerId="ADAL" clId="{43B71669-8A80-4333-9349-B258A9296B49}" dt="2024-02-27T17:21:08.793" v="4319" actId="478"/>
          <ac:spMkLst>
            <pc:docMk/>
            <pc:sldMk cId="3574513803" sldId="591"/>
            <ac:spMk id="6" creationId="{44A5FFF1-E2CB-BE31-CDEF-E4FF2E682D4F}"/>
          </ac:spMkLst>
        </pc:spChg>
        <pc:spChg chg="del">
          <ac:chgData name="Bullinger, Marvin" userId="5b54ce5a-dc89-476f-af33-5abd75d5b1e8" providerId="ADAL" clId="{43B71669-8A80-4333-9349-B258A9296B49}" dt="2024-02-27T17:21:08.793" v="4318" actId="478"/>
          <ac:spMkLst>
            <pc:docMk/>
            <pc:sldMk cId="3574513803" sldId="591"/>
            <ac:spMk id="7" creationId="{1ED02075-0EAF-5D31-3EC2-B11A03B41A9B}"/>
          </ac:spMkLst>
        </pc:spChg>
        <pc:spChg chg="del">
          <ac:chgData name="Bullinger, Marvin" userId="5b54ce5a-dc89-476f-af33-5abd75d5b1e8" providerId="ADAL" clId="{43B71669-8A80-4333-9349-B258A9296B49}" dt="2024-02-27T17:21:08.781" v="4317" actId="478"/>
          <ac:spMkLst>
            <pc:docMk/>
            <pc:sldMk cId="3574513803" sldId="591"/>
            <ac:spMk id="8" creationId="{51B5AC87-8131-FE2F-BC7A-FB7BD497261D}"/>
          </ac:spMkLst>
        </pc:spChg>
        <pc:spChg chg="del">
          <ac:chgData name="Bullinger, Marvin" userId="5b54ce5a-dc89-476f-af33-5abd75d5b1e8" providerId="ADAL" clId="{43B71669-8A80-4333-9349-B258A9296B49}" dt="2024-02-27T17:21:08.781" v="4316" actId="478"/>
          <ac:spMkLst>
            <pc:docMk/>
            <pc:sldMk cId="3574513803" sldId="591"/>
            <ac:spMk id="9" creationId="{E9F8F9B7-8735-F636-FC82-B2B78F056C70}"/>
          </ac:spMkLst>
        </pc:spChg>
        <pc:spChg chg="del">
          <ac:chgData name="Bullinger, Marvin" userId="5b54ce5a-dc89-476f-af33-5abd75d5b1e8" providerId="ADAL" clId="{43B71669-8A80-4333-9349-B258A9296B49}" dt="2024-02-27T17:21:08.781" v="4315" actId="478"/>
          <ac:spMkLst>
            <pc:docMk/>
            <pc:sldMk cId="3574513803" sldId="591"/>
            <ac:spMk id="10" creationId="{18B262B8-13E3-8101-AA7E-4EFA37026ADA}"/>
          </ac:spMkLst>
        </pc:spChg>
        <pc:spChg chg="del">
          <ac:chgData name="Bullinger, Marvin" userId="5b54ce5a-dc89-476f-af33-5abd75d5b1e8" providerId="ADAL" clId="{43B71669-8A80-4333-9349-B258A9296B49}" dt="2024-02-27T17:21:08.781" v="4314" actId="478"/>
          <ac:spMkLst>
            <pc:docMk/>
            <pc:sldMk cId="3574513803" sldId="591"/>
            <ac:spMk id="11" creationId="{175A5862-882A-4E41-6290-165FB6988A0C}"/>
          </ac:spMkLst>
        </pc:spChg>
        <pc:spChg chg="del">
          <ac:chgData name="Bullinger, Marvin" userId="5b54ce5a-dc89-476f-af33-5abd75d5b1e8" providerId="ADAL" clId="{43B71669-8A80-4333-9349-B258A9296B49}" dt="2024-02-27T17:21:08.781" v="4313" actId="478"/>
          <ac:spMkLst>
            <pc:docMk/>
            <pc:sldMk cId="3574513803" sldId="591"/>
            <ac:spMk id="12" creationId="{B4CE0ED0-E8BF-23C5-2CF2-0C6A07D7C100}"/>
          </ac:spMkLst>
        </pc:spChg>
        <pc:spChg chg="del">
          <ac:chgData name="Bullinger, Marvin" userId="5b54ce5a-dc89-476f-af33-5abd75d5b1e8" providerId="ADAL" clId="{43B71669-8A80-4333-9349-B258A9296B49}" dt="2024-02-27T17:21:08.781" v="4312" actId="478"/>
          <ac:spMkLst>
            <pc:docMk/>
            <pc:sldMk cId="3574513803" sldId="591"/>
            <ac:spMk id="13" creationId="{BFEA38D7-F4EE-9FDB-5196-AA4D59A95D4B}"/>
          </ac:spMkLst>
        </pc:spChg>
        <pc:spChg chg="del">
          <ac:chgData name="Bullinger, Marvin" userId="5b54ce5a-dc89-476f-af33-5abd75d5b1e8" providerId="ADAL" clId="{43B71669-8A80-4333-9349-B258A9296B49}" dt="2024-02-27T17:21:08.781" v="4311" actId="478"/>
          <ac:spMkLst>
            <pc:docMk/>
            <pc:sldMk cId="3574513803" sldId="591"/>
            <ac:spMk id="14" creationId="{65CD3768-8CFD-4DD2-2556-2F14DAB1BF02}"/>
          </ac:spMkLst>
        </pc:spChg>
        <pc:spChg chg="del">
          <ac:chgData name="Bullinger, Marvin" userId="5b54ce5a-dc89-476f-af33-5abd75d5b1e8" providerId="ADAL" clId="{43B71669-8A80-4333-9349-B258A9296B49}" dt="2024-02-27T17:21:08.781" v="4310" actId="478"/>
          <ac:spMkLst>
            <pc:docMk/>
            <pc:sldMk cId="3574513803" sldId="591"/>
            <ac:spMk id="15" creationId="{F4BD77E2-E9F8-C9B2-1F75-7870843F1E53}"/>
          </ac:spMkLst>
        </pc:spChg>
        <pc:spChg chg="del">
          <ac:chgData name="Bullinger, Marvin" userId="5b54ce5a-dc89-476f-af33-5abd75d5b1e8" providerId="ADAL" clId="{43B71669-8A80-4333-9349-B258A9296B49}" dt="2024-02-27T17:21:08.781" v="4309" actId="478"/>
          <ac:spMkLst>
            <pc:docMk/>
            <pc:sldMk cId="3574513803" sldId="591"/>
            <ac:spMk id="16" creationId="{701CA413-D972-82CD-0879-626B9FCA7B60}"/>
          </ac:spMkLst>
        </pc:spChg>
        <pc:spChg chg="del mod replST">
          <ac:chgData name="Bullinger, Marvin" userId="5b54ce5a-dc89-476f-af33-5abd75d5b1e8" providerId="ADAL" clId="{43B71669-8A80-4333-9349-B258A9296B49}" dt="2024-02-27T17:26:25.461" v="5617" actId="478"/>
          <ac:spMkLst>
            <pc:docMk/>
            <pc:sldMk cId="3574513803" sldId="591"/>
            <ac:spMk id="17" creationId="{86F69026-B433-3E0F-E58A-FC5F25A7B3B3}"/>
          </ac:spMkLst>
        </pc:spChg>
        <pc:spChg chg="del">
          <ac:chgData name="Bullinger, Marvin" userId="5b54ce5a-dc89-476f-af33-5abd75d5b1e8" providerId="ADAL" clId="{43B71669-8A80-4333-9349-B258A9296B49}" dt="2024-02-27T17:21:08.781" v="4308" actId="478"/>
          <ac:spMkLst>
            <pc:docMk/>
            <pc:sldMk cId="3574513803" sldId="591"/>
            <ac:spMk id="18" creationId="{C9E1B977-187C-596E-CE0F-3B5A6EF79D42}"/>
          </ac:spMkLst>
        </pc:spChg>
        <pc:spChg chg="del">
          <ac:chgData name="Bullinger, Marvin" userId="5b54ce5a-dc89-476f-af33-5abd75d5b1e8" providerId="ADAL" clId="{43B71669-8A80-4333-9349-B258A9296B49}" dt="2024-02-27T17:21:08.781" v="4307" actId="478"/>
          <ac:spMkLst>
            <pc:docMk/>
            <pc:sldMk cId="3574513803" sldId="591"/>
            <ac:spMk id="19" creationId="{0A9DCC6F-1644-91F4-58A7-1298D064A96F}"/>
          </ac:spMkLst>
        </pc:spChg>
        <pc:spChg chg="del">
          <ac:chgData name="Bullinger, Marvin" userId="5b54ce5a-dc89-476f-af33-5abd75d5b1e8" providerId="ADAL" clId="{43B71669-8A80-4333-9349-B258A9296B49}" dt="2024-02-27T17:21:08.781" v="4306" actId="478"/>
          <ac:spMkLst>
            <pc:docMk/>
            <pc:sldMk cId="3574513803" sldId="591"/>
            <ac:spMk id="20" creationId="{6890F8DA-F547-004A-C85D-FED027681BDA}"/>
          </ac:spMkLst>
        </pc:spChg>
        <pc:spChg chg="del">
          <ac:chgData name="Bullinger, Marvin" userId="5b54ce5a-dc89-476f-af33-5abd75d5b1e8" providerId="ADAL" clId="{43B71669-8A80-4333-9349-B258A9296B49}" dt="2024-02-27T17:21:08.781" v="4305" actId="478"/>
          <ac:spMkLst>
            <pc:docMk/>
            <pc:sldMk cId="3574513803" sldId="591"/>
            <ac:spMk id="21" creationId="{62EA7369-FBBF-1658-19BE-5E7029446457}"/>
          </ac:spMkLst>
        </pc:spChg>
        <pc:spChg chg="del">
          <ac:chgData name="Bullinger, Marvin" userId="5b54ce5a-dc89-476f-af33-5abd75d5b1e8" providerId="ADAL" clId="{43B71669-8A80-4333-9349-B258A9296B49}" dt="2024-02-27T17:21:08.781" v="4304" actId="478"/>
          <ac:spMkLst>
            <pc:docMk/>
            <pc:sldMk cId="3574513803" sldId="591"/>
            <ac:spMk id="22" creationId="{21B28FE8-2A73-E117-0427-9220F9C57B35}"/>
          </ac:spMkLst>
        </pc:spChg>
        <pc:spChg chg="del">
          <ac:chgData name="Bullinger, Marvin" userId="5b54ce5a-dc89-476f-af33-5abd75d5b1e8" providerId="ADAL" clId="{43B71669-8A80-4333-9349-B258A9296B49}" dt="2024-02-27T17:21:08.781" v="4303" actId="478"/>
          <ac:spMkLst>
            <pc:docMk/>
            <pc:sldMk cId="3574513803" sldId="591"/>
            <ac:spMk id="23" creationId="{79ADE6E2-3D8C-96C0-0F1F-26F6203E1ADB}"/>
          </ac:spMkLst>
        </pc:spChg>
        <pc:spChg chg="del">
          <ac:chgData name="Bullinger, Marvin" userId="5b54ce5a-dc89-476f-af33-5abd75d5b1e8" providerId="ADAL" clId="{43B71669-8A80-4333-9349-B258A9296B49}" dt="2024-02-27T17:21:08.781" v="4302" actId="478"/>
          <ac:spMkLst>
            <pc:docMk/>
            <pc:sldMk cId="3574513803" sldId="591"/>
            <ac:spMk id="24" creationId="{CF0F206F-BC20-1973-4BE9-8E4971964920}"/>
          </ac:spMkLst>
        </pc:spChg>
        <pc:spChg chg="del">
          <ac:chgData name="Bullinger, Marvin" userId="5b54ce5a-dc89-476f-af33-5abd75d5b1e8" providerId="ADAL" clId="{43B71669-8A80-4333-9349-B258A9296B49}" dt="2024-02-27T17:21:08.781" v="4301" actId="478"/>
          <ac:spMkLst>
            <pc:docMk/>
            <pc:sldMk cId="3574513803" sldId="591"/>
            <ac:spMk id="25" creationId="{72B8A36E-8BD2-9BB8-7644-0D19AE4526B2}"/>
          </ac:spMkLst>
        </pc:spChg>
        <pc:spChg chg="del">
          <ac:chgData name="Bullinger, Marvin" userId="5b54ce5a-dc89-476f-af33-5abd75d5b1e8" providerId="ADAL" clId="{43B71669-8A80-4333-9349-B258A9296B49}" dt="2024-02-27T17:21:08.781" v="4300" actId="478"/>
          <ac:spMkLst>
            <pc:docMk/>
            <pc:sldMk cId="3574513803" sldId="591"/>
            <ac:spMk id="28" creationId="{700F7C2E-583C-E5AA-BAFF-F49DB59774D9}"/>
          </ac:spMkLst>
        </pc:spChg>
        <pc:spChg chg="del">
          <ac:chgData name="Bullinger, Marvin" userId="5b54ce5a-dc89-476f-af33-5abd75d5b1e8" providerId="ADAL" clId="{43B71669-8A80-4333-9349-B258A9296B49}" dt="2024-02-27T17:21:08.781" v="4299" actId="478"/>
          <ac:spMkLst>
            <pc:docMk/>
            <pc:sldMk cId="3574513803" sldId="591"/>
            <ac:spMk id="29" creationId="{BAA67921-F3AF-18EC-F2EF-D1E31B101F93}"/>
          </ac:spMkLst>
        </pc:spChg>
        <pc:spChg chg="del">
          <ac:chgData name="Bullinger, Marvin" userId="5b54ce5a-dc89-476f-af33-5abd75d5b1e8" providerId="ADAL" clId="{43B71669-8A80-4333-9349-B258A9296B49}" dt="2024-02-27T17:21:08.781" v="4298" actId="478"/>
          <ac:spMkLst>
            <pc:docMk/>
            <pc:sldMk cId="3574513803" sldId="591"/>
            <ac:spMk id="30" creationId="{0409D7D7-FE46-DA75-538A-AB74075EA174}"/>
          </ac:spMkLst>
        </pc:spChg>
        <pc:spChg chg="del">
          <ac:chgData name="Bullinger, Marvin" userId="5b54ce5a-dc89-476f-af33-5abd75d5b1e8" providerId="ADAL" clId="{43B71669-8A80-4333-9349-B258A9296B49}" dt="2024-02-27T17:21:08.781" v="4297" actId="478"/>
          <ac:spMkLst>
            <pc:docMk/>
            <pc:sldMk cId="3574513803" sldId="591"/>
            <ac:spMk id="31" creationId="{C10DFFA3-D2FD-C3DA-DE65-33E354D24C5D}"/>
          </ac:spMkLst>
        </pc:spChg>
        <pc:spChg chg="del">
          <ac:chgData name="Bullinger, Marvin" userId="5b54ce5a-dc89-476f-af33-5abd75d5b1e8" providerId="ADAL" clId="{43B71669-8A80-4333-9349-B258A9296B49}" dt="2024-02-27T17:21:08.773" v="4296" actId="478"/>
          <ac:spMkLst>
            <pc:docMk/>
            <pc:sldMk cId="3574513803" sldId="591"/>
            <ac:spMk id="32" creationId="{7DD084CF-A9C6-95E0-A499-C1DB68225F67}"/>
          </ac:spMkLst>
        </pc:spChg>
        <pc:spChg chg="del">
          <ac:chgData name="Bullinger, Marvin" userId="5b54ce5a-dc89-476f-af33-5abd75d5b1e8" providerId="ADAL" clId="{43B71669-8A80-4333-9349-B258A9296B49}" dt="2024-02-27T17:21:08.773" v="4295" actId="478"/>
          <ac:spMkLst>
            <pc:docMk/>
            <pc:sldMk cId="3574513803" sldId="591"/>
            <ac:spMk id="33" creationId="{3FC38F44-DA25-3A60-6381-A316E3C41194}"/>
          </ac:spMkLst>
        </pc:spChg>
        <pc:spChg chg="del">
          <ac:chgData name="Bullinger, Marvin" userId="5b54ce5a-dc89-476f-af33-5abd75d5b1e8" providerId="ADAL" clId="{43B71669-8A80-4333-9349-B258A9296B49}" dt="2024-02-27T17:21:08.773" v="4294" actId="478"/>
          <ac:spMkLst>
            <pc:docMk/>
            <pc:sldMk cId="3574513803" sldId="591"/>
            <ac:spMk id="34" creationId="{A91E364E-E1C8-9E6A-A869-DEE505FB14AD}"/>
          </ac:spMkLst>
        </pc:spChg>
        <pc:spChg chg="del">
          <ac:chgData name="Bullinger, Marvin" userId="5b54ce5a-dc89-476f-af33-5abd75d5b1e8" providerId="ADAL" clId="{43B71669-8A80-4333-9349-B258A9296B49}" dt="2024-02-27T17:21:08.773" v="4293" actId="478"/>
          <ac:spMkLst>
            <pc:docMk/>
            <pc:sldMk cId="3574513803" sldId="591"/>
            <ac:spMk id="35" creationId="{C4FB316C-8935-32E7-F4CC-2C0FFECBADED}"/>
          </ac:spMkLst>
        </pc:spChg>
        <pc:spChg chg="del">
          <ac:chgData name="Bullinger, Marvin" userId="5b54ce5a-dc89-476f-af33-5abd75d5b1e8" providerId="ADAL" clId="{43B71669-8A80-4333-9349-B258A9296B49}" dt="2024-02-27T17:21:08.773" v="4292" actId="478"/>
          <ac:spMkLst>
            <pc:docMk/>
            <pc:sldMk cId="3574513803" sldId="591"/>
            <ac:spMk id="36" creationId="{ADB22E95-4E7F-1C1D-C629-DD897F33E4B7}"/>
          </ac:spMkLst>
        </pc:spChg>
        <pc:spChg chg="del">
          <ac:chgData name="Bullinger, Marvin" userId="5b54ce5a-dc89-476f-af33-5abd75d5b1e8" providerId="ADAL" clId="{43B71669-8A80-4333-9349-B258A9296B49}" dt="2024-02-27T17:21:08.773" v="4291" actId="478"/>
          <ac:spMkLst>
            <pc:docMk/>
            <pc:sldMk cId="3574513803" sldId="591"/>
            <ac:spMk id="37" creationId="{DFD09444-44E8-9555-72A5-ACD92D448599}"/>
          </ac:spMkLst>
        </pc:spChg>
        <pc:spChg chg="del">
          <ac:chgData name="Bullinger, Marvin" userId="5b54ce5a-dc89-476f-af33-5abd75d5b1e8" providerId="ADAL" clId="{43B71669-8A80-4333-9349-B258A9296B49}" dt="2024-02-27T17:21:08.773" v="4290" actId="478"/>
          <ac:spMkLst>
            <pc:docMk/>
            <pc:sldMk cId="3574513803" sldId="591"/>
            <ac:spMk id="38" creationId="{542A2351-D9D6-33B0-6693-A065CD930637}"/>
          </ac:spMkLst>
        </pc:spChg>
        <pc:spChg chg="del">
          <ac:chgData name="Bullinger, Marvin" userId="5b54ce5a-dc89-476f-af33-5abd75d5b1e8" providerId="ADAL" clId="{43B71669-8A80-4333-9349-B258A9296B49}" dt="2024-02-27T17:21:08.773" v="4289" actId="478"/>
          <ac:spMkLst>
            <pc:docMk/>
            <pc:sldMk cId="3574513803" sldId="591"/>
            <ac:spMk id="39" creationId="{6AF579CB-E09F-71F6-29C7-BC8F263E4817}"/>
          </ac:spMkLst>
        </pc:spChg>
        <pc:spChg chg="del">
          <ac:chgData name="Bullinger, Marvin" userId="5b54ce5a-dc89-476f-af33-5abd75d5b1e8" providerId="ADAL" clId="{43B71669-8A80-4333-9349-B258A9296B49}" dt="2024-02-27T17:21:08.773" v="4288" actId="478"/>
          <ac:spMkLst>
            <pc:docMk/>
            <pc:sldMk cId="3574513803" sldId="591"/>
            <ac:spMk id="40" creationId="{DCD3ACCD-6BE1-4420-1222-D07905E0A940}"/>
          </ac:spMkLst>
        </pc:spChg>
        <pc:spChg chg="del">
          <ac:chgData name="Bullinger, Marvin" userId="5b54ce5a-dc89-476f-af33-5abd75d5b1e8" providerId="ADAL" clId="{43B71669-8A80-4333-9349-B258A9296B49}" dt="2024-02-27T17:21:08.773" v="4287" actId="478"/>
          <ac:spMkLst>
            <pc:docMk/>
            <pc:sldMk cId="3574513803" sldId="591"/>
            <ac:spMk id="41" creationId="{954775F1-BD6A-D8B1-198A-ADB352112CDF}"/>
          </ac:spMkLst>
        </pc:spChg>
        <pc:spChg chg="add mod">
          <ac:chgData name="Bullinger, Marvin" userId="5b54ce5a-dc89-476f-af33-5abd75d5b1e8" providerId="ADAL" clId="{43B71669-8A80-4333-9349-B258A9296B49}" dt="2024-02-27T17:26:25.461" v="5617" actId="478"/>
          <ac:spMkLst>
            <pc:docMk/>
            <pc:sldMk cId="3574513803" sldId="591"/>
            <ac:spMk id="80" creationId="{2B4CE9CA-42B2-36C1-B9B1-295E848EAF52}"/>
          </ac:spMkLst>
        </pc:spChg>
        <pc:spChg chg="del mod replST">
          <ac:chgData name="Bullinger, Marvin" userId="5b54ce5a-dc89-476f-af33-5abd75d5b1e8" providerId="ADAL" clId="{43B71669-8A80-4333-9349-B258A9296B49}" dt="2024-02-27T17:27:01.029" v="6780" actId="478"/>
          <ac:spMkLst>
            <pc:docMk/>
            <pc:sldMk cId="3574513803" sldId="591"/>
            <ac:spMk id="81" creationId="{0B3E3D38-3889-B524-4DDD-B98EECD4D7B2}"/>
          </ac:spMkLst>
        </pc:spChg>
        <pc:spChg chg="del">
          <ac:chgData name="Bullinger, Marvin" userId="5b54ce5a-dc89-476f-af33-5abd75d5b1e8" providerId="ADAL" clId="{43B71669-8A80-4333-9349-B258A9296B49}" dt="2024-02-27T17:26:25.497" v="5646" actId="478"/>
          <ac:spMkLst>
            <pc:docMk/>
            <pc:sldMk cId="3574513803" sldId="591"/>
            <ac:spMk id="82" creationId="{48DEFBCA-FF1A-6886-53FE-01A04A27E811}"/>
          </ac:spMkLst>
        </pc:spChg>
        <pc:spChg chg="del">
          <ac:chgData name="Bullinger, Marvin" userId="5b54ce5a-dc89-476f-af33-5abd75d5b1e8" providerId="ADAL" clId="{43B71669-8A80-4333-9349-B258A9296B49}" dt="2024-02-27T17:26:25.497" v="5645" actId="478"/>
          <ac:spMkLst>
            <pc:docMk/>
            <pc:sldMk cId="3574513803" sldId="591"/>
            <ac:spMk id="83" creationId="{9D8B190A-5718-CE52-41DD-663E855D9A33}"/>
          </ac:spMkLst>
        </pc:spChg>
        <pc:spChg chg="del">
          <ac:chgData name="Bullinger, Marvin" userId="5b54ce5a-dc89-476f-af33-5abd75d5b1e8" providerId="ADAL" clId="{43B71669-8A80-4333-9349-B258A9296B49}" dt="2024-02-27T17:26:25.497" v="5644" actId="478"/>
          <ac:spMkLst>
            <pc:docMk/>
            <pc:sldMk cId="3574513803" sldId="591"/>
            <ac:spMk id="84" creationId="{2B216E9A-5D95-7768-E11B-57374942A343}"/>
          </ac:spMkLst>
        </pc:spChg>
        <pc:spChg chg="del">
          <ac:chgData name="Bullinger, Marvin" userId="5b54ce5a-dc89-476f-af33-5abd75d5b1e8" providerId="ADAL" clId="{43B71669-8A80-4333-9349-B258A9296B49}" dt="2024-02-27T17:26:25.497" v="5643" actId="478"/>
          <ac:spMkLst>
            <pc:docMk/>
            <pc:sldMk cId="3574513803" sldId="591"/>
            <ac:spMk id="85" creationId="{D8FC19E9-5345-1D5F-EF42-33B7DCA36373}"/>
          </ac:spMkLst>
        </pc:spChg>
        <pc:spChg chg="del">
          <ac:chgData name="Bullinger, Marvin" userId="5b54ce5a-dc89-476f-af33-5abd75d5b1e8" providerId="ADAL" clId="{43B71669-8A80-4333-9349-B258A9296B49}" dt="2024-02-27T17:26:25.497" v="5642" actId="478"/>
          <ac:spMkLst>
            <pc:docMk/>
            <pc:sldMk cId="3574513803" sldId="591"/>
            <ac:spMk id="86" creationId="{E6AAC2F1-F583-9643-E967-7049BCCA3DC9}"/>
          </ac:spMkLst>
        </pc:spChg>
        <pc:spChg chg="del">
          <ac:chgData name="Bullinger, Marvin" userId="5b54ce5a-dc89-476f-af33-5abd75d5b1e8" providerId="ADAL" clId="{43B71669-8A80-4333-9349-B258A9296B49}" dt="2024-02-27T17:26:25.497" v="5641" actId="478"/>
          <ac:spMkLst>
            <pc:docMk/>
            <pc:sldMk cId="3574513803" sldId="591"/>
            <ac:spMk id="87" creationId="{469335B0-4CA8-9D1E-1749-3ADC23154B4B}"/>
          </ac:spMkLst>
        </pc:spChg>
        <pc:spChg chg="del">
          <ac:chgData name="Bullinger, Marvin" userId="5b54ce5a-dc89-476f-af33-5abd75d5b1e8" providerId="ADAL" clId="{43B71669-8A80-4333-9349-B258A9296B49}" dt="2024-02-27T17:26:25.497" v="5638" actId="478"/>
          <ac:spMkLst>
            <pc:docMk/>
            <pc:sldMk cId="3574513803" sldId="591"/>
            <ac:spMk id="88" creationId="{0893F69A-C6AE-3D5E-6A09-C38D4CBFB35B}"/>
          </ac:spMkLst>
        </pc:spChg>
        <pc:spChg chg="del">
          <ac:chgData name="Bullinger, Marvin" userId="5b54ce5a-dc89-476f-af33-5abd75d5b1e8" providerId="ADAL" clId="{43B71669-8A80-4333-9349-B258A9296B49}" dt="2024-02-27T17:26:25.497" v="5637" actId="478"/>
          <ac:spMkLst>
            <pc:docMk/>
            <pc:sldMk cId="3574513803" sldId="591"/>
            <ac:spMk id="89" creationId="{0020F50A-5978-E898-4497-62EDC703F1D7}"/>
          </ac:spMkLst>
        </pc:spChg>
        <pc:spChg chg="del">
          <ac:chgData name="Bullinger, Marvin" userId="5b54ce5a-dc89-476f-af33-5abd75d5b1e8" providerId="ADAL" clId="{43B71669-8A80-4333-9349-B258A9296B49}" dt="2024-02-27T17:26:25.497" v="5636" actId="478"/>
          <ac:spMkLst>
            <pc:docMk/>
            <pc:sldMk cId="3574513803" sldId="591"/>
            <ac:spMk id="90" creationId="{1D40192A-BC7D-7CE3-67D4-DE21CB3249D9}"/>
          </ac:spMkLst>
        </pc:spChg>
        <pc:spChg chg="del">
          <ac:chgData name="Bullinger, Marvin" userId="5b54ce5a-dc89-476f-af33-5abd75d5b1e8" providerId="ADAL" clId="{43B71669-8A80-4333-9349-B258A9296B49}" dt="2024-02-27T17:26:25.489" v="5635" actId="478"/>
          <ac:spMkLst>
            <pc:docMk/>
            <pc:sldMk cId="3574513803" sldId="591"/>
            <ac:spMk id="91" creationId="{2F83FA91-EA0D-9CF8-C82C-F4BF5D28BEFB}"/>
          </ac:spMkLst>
        </pc:spChg>
        <pc:spChg chg="del">
          <ac:chgData name="Bullinger, Marvin" userId="5b54ce5a-dc89-476f-af33-5abd75d5b1e8" providerId="ADAL" clId="{43B71669-8A80-4333-9349-B258A9296B49}" dt="2024-02-27T17:26:25.489" v="5634" actId="478"/>
          <ac:spMkLst>
            <pc:docMk/>
            <pc:sldMk cId="3574513803" sldId="591"/>
            <ac:spMk id="92" creationId="{DAAC0385-7375-0A64-BBDA-E2FB68C21109}"/>
          </ac:spMkLst>
        </pc:spChg>
        <pc:spChg chg="del">
          <ac:chgData name="Bullinger, Marvin" userId="5b54ce5a-dc89-476f-af33-5abd75d5b1e8" providerId="ADAL" clId="{43B71669-8A80-4333-9349-B258A9296B49}" dt="2024-02-27T17:26:25.489" v="5633" actId="478"/>
          <ac:spMkLst>
            <pc:docMk/>
            <pc:sldMk cId="3574513803" sldId="591"/>
            <ac:spMk id="93" creationId="{0455557E-5383-A085-2EF9-81EF4065DA4C}"/>
          </ac:spMkLst>
        </pc:spChg>
        <pc:spChg chg="del">
          <ac:chgData name="Bullinger, Marvin" userId="5b54ce5a-dc89-476f-af33-5abd75d5b1e8" providerId="ADAL" clId="{43B71669-8A80-4333-9349-B258A9296B49}" dt="2024-02-27T17:26:25.497" v="5654" actId="478"/>
          <ac:spMkLst>
            <pc:docMk/>
            <pc:sldMk cId="3574513803" sldId="591"/>
            <ac:spMk id="94" creationId="{9EDC98AD-BBDC-EC61-76F9-EA099E84CFF8}"/>
          </ac:spMkLst>
        </pc:spChg>
        <pc:spChg chg="del">
          <ac:chgData name="Bullinger, Marvin" userId="5b54ce5a-dc89-476f-af33-5abd75d5b1e8" providerId="ADAL" clId="{43B71669-8A80-4333-9349-B258A9296B49}" dt="2024-02-27T17:26:25.497" v="5653" actId="478"/>
          <ac:spMkLst>
            <pc:docMk/>
            <pc:sldMk cId="3574513803" sldId="591"/>
            <ac:spMk id="95" creationId="{782CA26C-FAAA-3255-1467-25755A8C3111}"/>
          </ac:spMkLst>
        </pc:spChg>
        <pc:spChg chg="del">
          <ac:chgData name="Bullinger, Marvin" userId="5b54ce5a-dc89-476f-af33-5abd75d5b1e8" providerId="ADAL" clId="{43B71669-8A80-4333-9349-B258A9296B49}" dt="2024-02-27T17:26:25.497" v="5652" actId="478"/>
          <ac:spMkLst>
            <pc:docMk/>
            <pc:sldMk cId="3574513803" sldId="591"/>
            <ac:spMk id="96" creationId="{163E1AE6-E3E2-4000-796F-C06073CECE93}"/>
          </ac:spMkLst>
        </pc:spChg>
        <pc:spChg chg="del">
          <ac:chgData name="Bullinger, Marvin" userId="5b54ce5a-dc89-476f-af33-5abd75d5b1e8" providerId="ADAL" clId="{43B71669-8A80-4333-9349-B258A9296B49}" dt="2024-02-27T17:26:25.497" v="5651" actId="478"/>
          <ac:spMkLst>
            <pc:docMk/>
            <pc:sldMk cId="3574513803" sldId="591"/>
            <ac:spMk id="97" creationId="{619EFD26-1A6D-ADD8-2085-83773F60E2FD}"/>
          </ac:spMkLst>
        </pc:spChg>
        <pc:spChg chg="del">
          <ac:chgData name="Bullinger, Marvin" userId="5b54ce5a-dc89-476f-af33-5abd75d5b1e8" providerId="ADAL" clId="{43B71669-8A80-4333-9349-B258A9296B49}" dt="2024-02-27T17:26:25.497" v="5650" actId="478"/>
          <ac:spMkLst>
            <pc:docMk/>
            <pc:sldMk cId="3574513803" sldId="591"/>
            <ac:spMk id="98" creationId="{1BC1572B-9DCE-8C22-607C-50D274C17E4E}"/>
          </ac:spMkLst>
        </pc:spChg>
        <pc:spChg chg="del">
          <ac:chgData name="Bullinger, Marvin" userId="5b54ce5a-dc89-476f-af33-5abd75d5b1e8" providerId="ADAL" clId="{43B71669-8A80-4333-9349-B258A9296B49}" dt="2024-02-27T17:26:25.497" v="5649" actId="478"/>
          <ac:spMkLst>
            <pc:docMk/>
            <pc:sldMk cId="3574513803" sldId="591"/>
            <ac:spMk id="99" creationId="{43E46F33-4025-38A7-235D-759D8941FEE6}"/>
          </ac:spMkLst>
        </pc:spChg>
        <pc:spChg chg="del">
          <ac:chgData name="Bullinger, Marvin" userId="5b54ce5a-dc89-476f-af33-5abd75d5b1e8" providerId="ADAL" clId="{43B71669-8A80-4333-9349-B258A9296B49}" dt="2024-02-27T17:26:25.497" v="5648" actId="478"/>
          <ac:spMkLst>
            <pc:docMk/>
            <pc:sldMk cId="3574513803" sldId="591"/>
            <ac:spMk id="100" creationId="{C68BD51F-0E0B-998E-AB11-3B7F90B7BEA6}"/>
          </ac:spMkLst>
        </pc:spChg>
        <pc:spChg chg="del">
          <ac:chgData name="Bullinger, Marvin" userId="5b54ce5a-dc89-476f-af33-5abd75d5b1e8" providerId="ADAL" clId="{43B71669-8A80-4333-9349-B258A9296B49}" dt="2024-02-27T17:26:25.497" v="5647" actId="478"/>
          <ac:spMkLst>
            <pc:docMk/>
            <pc:sldMk cId="3574513803" sldId="591"/>
            <ac:spMk id="101" creationId="{F8CC02AE-084D-DB44-6E2F-A19BCA5FB7EA}"/>
          </ac:spMkLst>
        </pc:spChg>
        <pc:spChg chg="del">
          <ac:chgData name="Bullinger, Marvin" userId="5b54ce5a-dc89-476f-af33-5abd75d5b1e8" providerId="ADAL" clId="{43B71669-8A80-4333-9349-B258A9296B49}" dt="2024-02-27T17:26:25.497" v="5639" actId="478"/>
          <ac:spMkLst>
            <pc:docMk/>
            <pc:sldMk cId="3574513803" sldId="591"/>
            <ac:spMk id="102" creationId="{3DB2841D-6A4E-0392-1C85-A9BF149DA185}"/>
          </ac:spMkLst>
        </pc:spChg>
        <pc:spChg chg="del">
          <ac:chgData name="Bullinger, Marvin" userId="5b54ce5a-dc89-476f-af33-5abd75d5b1e8" providerId="ADAL" clId="{43B71669-8A80-4333-9349-B258A9296B49}" dt="2024-02-27T17:26:25.489" v="5632" actId="478"/>
          <ac:spMkLst>
            <pc:docMk/>
            <pc:sldMk cId="3574513803" sldId="591"/>
            <ac:spMk id="103" creationId="{38AA80AF-9F7C-5B53-D4D0-427D4B41EAB1}"/>
          </ac:spMkLst>
        </pc:spChg>
        <pc:spChg chg="del">
          <ac:chgData name="Bullinger, Marvin" userId="5b54ce5a-dc89-476f-af33-5abd75d5b1e8" providerId="ADAL" clId="{43B71669-8A80-4333-9349-B258A9296B49}" dt="2024-02-27T17:26:25.497" v="5640" actId="478"/>
          <ac:spMkLst>
            <pc:docMk/>
            <pc:sldMk cId="3574513803" sldId="591"/>
            <ac:spMk id="104" creationId="{EEF68D45-C902-FDB1-D781-1CE8F33E3F87}"/>
          </ac:spMkLst>
        </pc:spChg>
        <pc:spChg chg="del">
          <ac:chgData name="Bullinger, Marvin" userId="5b54ce5a-dc89-476f-af33-5abd75d5b1e8" providerId="ADAL" clId="{43B71669-8A80-4333-9349-B258A9296B49}" dt="2024-02-27T17:26:25.489" v="5631" actId="478"/>
          <ac:spMkLst>
            <pc:docMk/>
            <pc:sldMk cId="3574513803" sldId="591"/>
            <ac:spMk id="105" creationId="{D0A52FAC-0350-4351-4E45-4C70AA1AFB6D}"/>
          </ac:spMkLst>
        </pc:spChg>
        <pc:spChg chg="del">
          <ac:chgData name="Bullinger, Marvin" userId="5b54ce5a-dc89-476f-af33-5abd75d5b1e8" providerId="ADAL" clId="{43B71669-8A80-4333-9349-B258A9296B49}" dt="2024-02-27T17:26:25.489" v="5630" actId="478"/>
          <ac:spMkLst>
            <pc:docMk/>
            <pc:sldMk cId="3574513803" sldId="591"/>
            <ac:spMk id="106" creationId="{D573B960-911D-90C4-FBA3-114050CA6BE3}"/>
          </ac:spMkLst>
        </pc:spChg>
        <pc:spChg chg="del">
          <ac:chgData name="Bullinger, Marvin" userId="5b54ce5a-dc89-476f-af33-5abd75d5b1e8" providerId="ADAL" clId="{43B71669-8A80-4333-9349-B258A9296B49}" dt="2024-02-27T17:26:25.489" v="5629" actId="478"/>
          <ac:spMkLst>
            <pc:docMk/>
            <pc:sldMk cId="3574513803" sldId="591"/>
            <ac:spMk id="107" creationId="{A8ABDAAF-E0DF-4F5D-BCEC-9C18FA3405A7}"/>
          </ac:spMkLst>
        </pc:spChg>
        <pc:spChg chg="del">
          <ac:chgData name="Bullinger, Marvin" userId="5b54ce5a-dc89-476f-af33-5abd75d5b1e8" providerId="ADAL" clId="{43B71669-8A80-4333-9349-B258A9296B49}" dt="2024-02-27T17:26:25.489" v="5628" actId="478"/>
          <ac:spMkLst>
            <pc:docMk/>
            <pc:sldMk cId="3574513803" sldId="591"/>
            <ac:spMk id="108" creationId="{37A037B6-EAB3-E2B2-DCC2-E83EE5DBF805}"/>
          </ac:spMkLst>
        </pc:spChg>
        <pc:spChg chg="del">
          <ac:chgData name="Bullinger, Marvin" userId="5b54ce5a-dc89-476f-af33-5abd75d5b1e8" providerId="ADAL" clId="{43B71669-8A80-4333-9349-B258A9296B49}" dt="2024-02-27T17:26:25.489" v="5627" actId="478"/>
          <ac:spMkLst>
            <pc:docMk/>
            <pc:sldMk cId="3574513803" sldId="591"/>
            <ac:spMk id="109" creationId="{2E376D00-7B70-DACC-D190-968E1A23707C}"/>
          </ac:spMkLst>
        </pc:spChg>
        <pc:spChg chg="del">
          <ac:chgData name="Bullinger, Marvin" userId="5b54ce5a-dc89-476f-af33-5abd75d5b1e8" providerId="ADAL" clId="{43B71669-8A80-4333-9349-B258A9296B49}" dt="2024-02-27T17:26:25.489" v="5626" actId="478"/>
          <ac:spMkLst>
            <pc:docMk/>
            <pc:sldMk cId="3574513803" sldId="591"/>
            <ac:spMk id="110" creationId="{96BBD619-3788-EFC4-D9E7-47A8E4F7D81E}"/>
          </ac:spMkLst>
        </pc:spChg>
        <pc:spChg chg="del">
          <ac:chgData name="Bullinger, Marvin" userId="5b54ce5a-dc89-476f-af33-5abd75d5b1e8" providerId="ADAL" clId="{43B71669-8A80-4333-9349-B258A9296B49}" dt="2024-02-27T17:26:25.489" v="5625" actId="478"/>
          <ac:spMkLst>
            <pc:docMk/>
            <pc:sldMk cId="3574513803" sldId="591"/>
            <ac:spMk id="111" creationId="{0B76FD2D-429A-EC44-6944-0A3B8B3ED469}"/>
          </ac:spMkLst>
        </pc:spChg>
        <pc:spChg chg="del">
          <ac:chgData name="Bullinger, Marvin" userId="5b54ce5a-dc89-476f-af33-5abd75d5b1e8" providerId="ADAL" clId="{43B71669-8A80-4333-9349-B258A9296B49}" dt="2024-02-27T17:26:25.489" v="5624" actId="478"/>
          <ac:spMkLst>
            <pc:docMk/>
            <pc:sldMk cId="3574513803" sldId="591"/>
            <ac:spMk id="112" creationId="{7FE17F33-D143-C6B7-F5D8-0F24ED639018}"/>
          </ac:spMkLst>
        </pc:spChg>
        <pc:spChg chg="del">
          <ac:chgData name="Bullinger, Marvin" userId="5b54ce5a-dc89-476f-af33-5abd75d5b1e8" providerId="ADAL" clId="{43B71669-8A80-4333-9349-B258A9296B49}" dt="2024-02-27T17:26:25.481" v="5623" actId="478"/>
          <ac:spMkLst>
            <pc:docMk/>
            <pc:sldMk cId="3574513803" sldId="591"/>
            <ac:spMk id="113" creationId="{A53F8880-8431-1DE8-AED6-7FDACF1204DC}"/>
          </ac:spMkLst>
        </pc:spChg>
        <pc:spChg chg="del">
          <ac:chgData name="Bullinger, Marvin" userId="5b54ce5a-dc89-476f-af33-5abd75d5b1e8" providerId="ADAL" clId="{43B71669-8A80-4333-9349-B258A9296B49}" dt="2024-02-27T17:26:25.481" v="5622" actId="478"/>
          <ac:spMkLst>
            <pc:docMk/>
            <pc:sldMk cId="3574513803" sldId="591"/>
            <ac:spMk id="114" creationId="{20D0B09E-6B14-3F72-F7B3-178F4E8D1226}"/>
          </ac:spMkLst>
        </pc:spChg>
        <pc:spChg chg="del">
          <ac:chgData name="Bullinger, Marvin" userId="5b54ce5a-dc89-476f-af33-5abd75d5b1e8" providerId="ADAL" clId="{43B71669-8A80-4333-9349-B258A9296B49}" dt="2024-02-27T17:26:25.481" v="5621" actId="478"/>
          <ac:spMkLst>
            <pc:docMk/>
            <pc:sldMk cId="3574513803" sldId="591"/>
            <ac:spMk id="115" creationId="{D3206ED2-EA6C-3718-D689-A46C2D928560}"/>
          </ac:spMkLst>
        </pc:spChg>
        <pc:spChg chg="del">
          <ac:chgData name="Bullinger, Marvin" userId="5b54ce5a-dc89-476f-af33-5abd75d5b1e8" providerId="ADAL" clId="{43B71669-8A80-4333-9349-B258A9296B49}" dt="2024-02-27T17:26:25.481" v="5620" actId="478"/>
          <ac:spMkLst>
            <pc:docMk/>
            <pc:sldMk cId="3574513803" sldId="591"/>
            <ac:spMk id="116" creationId="{A3C72E77-2FA8-EA4A-56B4-7032C3C330DD}"/>
          </ac:spMkLst>
        </pc:spChg>
        <pc:spChg chg="del">
          <ac:chgData name="Bullinger, Marvin" userId="5b54ce5a-dc89-476f-af33-5abd75d5b1e8" providerId="ADAL" clId="{43B71669-8A80-4333-9349-B258A9296B49}" dt="2024-02-27T17:26:25.481" v="5619" actId="478"/>
          <ac:spMkLst>
            <pc:docMk/>
            <pc:sldMk cId="3574513803" sldId="591"/>
            <ac:spMk id="117" creationId="{285D7B85-3827-66F9-9024-8EBFC3F6D131}"/>
          </ac:spMkLst>
        </pc:spChg>
        <pc:spChg chg="del">
          <ac:chgData name="Bullinger, Marvin" userId="5b54ce5a-dc89-476f-af33-5abd75d5b1e8" providerId="ADAL" clId="{43B71669-8A80-4333-9349-B258A9296B49}" dt="2024-02-27T17:26:25.481" v="5618" actId="478"/>
          <ac:spMkLst>
            <pc:docMk/>
            <pc:sldMk cId="3574513803" sldId="591"/>
            <ac:spMk id="118" creationId="{9A14E32B-71E5-AD40-0290-4839024E4C05}"/>
          </ac:spMkLst>
        </pc:spChg>
        <pc:spChg chg="add mod">
          <ac:chgData name="Bullinger, Marvin" userId="5b54ce5a-dc89-476f-af33-5abd75d5b1e8" providerId="ADAL" clId="{43B71669-8A80-4333-9349-B258A9296B49}" dt="2024-02-27T17:27:01.029" v="6780" actId="478"/>
          <ac:spMkLst>
            <pc:docMk/>
            <pc:sldMk cId="3574513803" sldId="591"/>
            <ac:spMk id="157" creationId="{1739A85B-E65A-E4EC-4D47-EE643ED3C24F}"/>
          </ac:spMkLst>
        </pc:spChg>
        <pc:spChg chg="del mod replST">
          <ac:chgData name="Bullinger, Marvin" userId="5b54ce5a-dc89-476f-af33-5abd75d5b1e8" providerId="ADAL" clId="{43B71669-8A80-4333-9349-B258A9296B49}" dt="2024-02-27T17:27:38.395" v="7746" actId="478"/>
          <ac:spMkLst>
            <pc:docMk/>
            <pc:sldMk cId="3574513803" sldId="591"/>
            <ac:spMk id="158" creationId="{50BEB77B-8C46-DF5C-97D1-4C21D0AF11BE}"/>
          </ac:spMkLst>
        </pc:spChg>
        <pc:spChg chg="del">
          <ac:chgData name="Bullinger, Marvin" userId="5b54ce5a-dc89-476f-af33-5abd75d5b1e8" providerId="ADAL" clId="{43B71669-8A80-4333-9349-B258A9296B49}" dt="2024-02-27T17:27:01.062" v="6809" actId="478"/>
          <ac:spMkLst>
            <pc:docMk/>
            <pc:sldMk cId="3574513803" sldId="591"/>
            <ac:spMk id="159" creationId="{26A1CC82-FD87-0E51-73D4-ED5408FF354C}"/>
          </ac:spMkLst>
        </pc:spChg>
        <pc:spChg chg="del">
          <ac:chgData name="Bullinger, Marvin" userId="5b54ce5a-dc89-476f-af33-5abd75d5b1e8" providerId="ADAL" clId="{43B71669-8A80-4333-9349-B258A9296B49}" dt="2024-02-27T17:27:01.062" v="6808" actId="478"/>
          <ac:spMkLst>
            <pc:docMk/>
            <pc:sldMk cId="3574513803" sldId="591"/>
            <ac:spMk id="160" creationId="{3898A3F4-7747-3B69-809A-336ED4CD136D}"/>
          </ac:spMkLst>
        </pc:spChg>
        <pc:spChg chg="del">
          <ac:chgData name="Bullinger, Marvin" userId="5b54ce5a-dc89-476f-af33-5abd75d5b1e8" providerId="ADAL" clId="{43B71669-8A80-4333-9349-B258A9296B49}" dt="2024-02-27T17:27:01.062" v="6807" actId="478"/>
          <ac:spMkLst>
            <pc:docMk/>
            <pc:sldMk cId="3574513803" sldId="591"/>
            <ac:spMk id="161" creationId="{CBA55473-E31C-86B0-AD93-307030D43694}"/>
          </ac:spMkLst>
        </pc:spChg>
        <pc:spChg chg="del">
          <ac:chgData name="Bullinger, Marvin" userId="5b54ce5a-dc89-476f-af33-5abd75d5b1e8" providerId="ADAL" clId="{43B71669-8A80-4333-9349-B258A9296B49}" dt="2024-02-27T17:27:01.062" v="6806" actId="478"/>
          <ac:spMkLst>
            <pc:docMk/>
            <pc:sldMk cId="3574513803" sldId="591"/>
            <ac:spMk id="162" creationId="{7AB04C65-B70D-77C4-3F52-19117F3DE6C3}"/>
          </ac:spMkLst>
        </pc:spChg>
        <pc:spChg chg="del">
          <ac:chgData name="Bullinger, Marvin" userId="5b54ce5a-dc89-476f-af33-5abd75d5b1e8" providerId="ADAL" clId="{43B71669-8A80-4333-9349-B258A9296B49}" dt="2024-02-27T17:27:01.046" v="6805" actId="478"/>
          <ac:spMkLst>
            <pc:docMk/>
            <pc:sldMk cId="3574513803" sldId="591"/>
            <ac:spMk id="163" creationId="{490EA31A-D0CA-7337-8B9A-AE9B2F7248D2}"/>
          </ac:spMkLst>
        </pc:spChg>
        <pc:spChg chg="del">
          <ac:chgData name="Bullinger, Marvin" userId="5b54ce5a-dc89-476f-af33-5abd75d5b1e8" providerId="ADAL" clId="{43B71669-8A80-4333-9349-B258A9296B49}" dt="2024-02-27T17:27:01.046" v="6804" actId="478"/>
          <ac:spMkLst>
            <pc:docMk/>
            <pc:sldMk cId="3574513803" sldId="591"/>
            <ac:spMk id="164" creationId="{14BB12AF-0A6B-CE99-56BC-7B79D8AD62D7}"/>
          </ac:spMkLst>
        </pc:spChg>
        <pc:spChg chg="del">
          <ac:chgData name="Bullinger, Marvin" userId="5b54ce5a-dc89-476f-af33-5abd75d5b1e8" providerId="ADAL" clId="{43B71669-8A80-4333-9349-B258A9296B49}" dt="2024-02-27T17:27:01.046" v="6801" actId="478"/>
          <ac:spMkLst>
            <pc:docMk/>
            <pc:sldMk cId="3574513803" sldId="591"/>
            <ac:spMk id="165" creationId="{7C4D210A-258B-7304-64E3-63A33A194BE7}"/>
          </ac:spMkLst>
        </pc:spChg>
        <pc:spChg chg="del">
          <ac:chgData name="Bullinger, Marvin" userId="5b54ce5a-dc89-476f-af33-5abd75d5b1e8" providerId="ADAL" clId="{43B71669-8A80-4333-9349-B258A9296B49}" dt="2024-02-27T17:27:01.046" v="6800" actId="478"/>
          <ac:spMkLst>
            <pc:docMk/>
            <pc:sldMk cId="3574513803" sldId="591"/>
            <ac:spMk id="166" creationId="{2FAE01AE-0F66-9687-42FF-7E33C4228D0C}"/>
          </ac:spMkLst>
        </pc:spChg>
        <pc:spChg chg="del">
          <ac:chgData name="Bullinger, Marvin" userId="5b54ce5a-dc89-476f-af33-5abd75d5b1e8" providerId="ADAL" clId="{43B71669-8A80-4333-9349-B258A9296B49}" dt="2024-02-27T17:27:01.046" v="6799" actId="478"/>
          <ac:spMkLst>
            <pc:docMk/>
            <pc:sldMk cId="3574513803" sldId="591"/>
            <ac:spMk id="167" creationId="{861B3422-5362-2694-19ED-6B2F1B8E3EF4}"/>
          </ac:spMkLst>
        </pc:spChg>
        <pc:spChg chg="del">
          <ac:chgData name="Bullinger, Marvin" userId="5b54ce5a-dc89-476f-af33-5abd75d5b1e8" providerId="ADAL" clId="{43B71669-8A80-4333-9349-B258A9296B49}" dt="2024-02-27T17:27:01.046" v="6798" actId="478"/>
          <ac:spMkLst>
            <pc:docMk/>
            <pc:sldMk cId="3574513803" sldId="591"/>
            <ac:spMk id="168" creationId="{6669AFC5-EB1E-7876-35C0-DAFB22667EF2}"/>
          </ac:spMkLst>
        </pc:spChg>
        <pc:spChg chg="del">
          <ac:chgData name="Bullinger, Marvin" userId="5b54ce5a-dc89-476f-af33-5abd75d5b1e8" providerId="ADAL" clId="{43B71669-8A80-4333-9349-B258A9296B49}" dt="2024-02-27T17:27:01.046" v="6797" actId="478"/>
          <ac:spMkLst>
            <pc:docMk/>
            <pc:sldMk cId="3574513803" sldId="591"/>
            <ac:spMk id="169" creationId="{15C9AFB1-5F10-1DA7-BCF2-EE3A47701F67}"/>
          </ac:spMkLst>
        </pc:spChg>
        <pc:spChg chg="del">
          <ac:chgData name="Bullinger, Marvin" userId="5b54ce5a-dc89-476f-af33-5abd75d5b1e8" providerId="ADAL" clId="{43B71669-8A80-4333-9349-B258A9296B49}" dt="2024-02-27T17:27:01.046" v="6796" actId="478"/>
          <ac:spMkLst>
            <pc:docMk/>
            <pc:sldMk cId="3574513803" sldId="591"/>
            <ac:spMk id="170" creationId="{DCC5A7E6-DA40-FA69-63A3-FE53D07F001C}"/>
          </ac:spMkLst>
        </pc:spChg>
        <pc:spChg chg="del">
          <ac:chgData name="Bullinger, Marvin" userId="5b54ce5a-dc89-476f-af33-5abd75d5b1e8" providerId="ADAL" clId="{43B71669-8A80-4333-9349-B258A9296B49}" dt="2024-02-27T17:27:01.065" v="6817" actId="478"/>
          <ac:spMkLst>
            <pc:docMk/>
            <pc:sldMk cId="3574513803" sldId="591"/>
            <ac:spMk id="171" creationId="{CD653961-208E-FC6F-8FFC-C01612D9EA65}"/>
          </ac:spMkLst>
        </pc:spChg>
        <pc:spChg chg="del">
          <ac:chgData name="Bullinger, Marvin" userId="5b54ce5a-dc89-476f-af33-5abd75d5b1e8" providerId="ADAL" clId="{43B71669-8A80-4333-9349-B258A9296B49}" dt="2024-02-27T17:27:01.065" v="6816" actId="478"/>
          <ac:spMkLst>
            <pc:docMk/>
            <pc:sldMk cId="3574513803" sldId="591"/>
            <ac:spMk id="172" creationId="{1E849AAA-6169-5598-C1E5-6512E2BD2FD9}"/>
          </ac:spMkLst>
        </pc:spChg>
        <pc:spChg chg="del">
          <ac:chgData name="Bullinger, Marvin" userId="5b54ce5a-dc89-476f-af33-5abd75d5b1e8" providerId="ADAL" clId="{43B71669-8A80-4333-9349-B258A9296B49}" dt="2024-02-27T17:27:01.065" v="6815" actId="478"/>
          <ac:spMkLst>
            <pc:docMk/>
            <pc:sldMk cId="3574513803" sldId="591"/>
            <ac:spMk id="173" creationId="{FE7B6819-4FFD-96A5-BB6F-570644D01B5A}"/>
          </ac:spMkLst>
        </pc:spChg>
        <pc:spChg chg="del">
          <ac:chgData name="Bullinger, Marvin" userId="5b54ce5a-dc89-476f-af33-5abd75d5b1e8" providerId="ADAL" clId="{43B71669-8A80-4333-9349-B258A9296B49}" dt="2024-02-27T17:27:01.065" v="6814" actId="478"/>
          <ac:spMkLst>
            <pc:docMk/>
            <pc:sldMk cId="3574513803" sldId="591"/>
            <ac:spMk id="174" creationId="{15E93E5B-342F-578D-A0F1-6C7EC581A9CF}"/>
          </ac:spMkLst>
        </pc:spChg>
        <pc:spChg chg="del">
          <ac:chgData name="Bullinger, Marvin" userId="5b54ce5a-dc89-476f-af33-5abd75d5b1e8" providerId="ADAL" clId="{43B71669-8A80-4333-9349-B258A9296B49}" dt="2024-02-27T17:27:01.065" v="6813" actId="478"/>
          <ac:spMkLst>
            <pc:docMk/>
            <pc:sldMk cId="3574513803" sldId="591"/>
            <ac:spMk id="175" creationId="{203528F9-F5C1-FAF9-D1FD-55146245AA2F}"/>
          </ac:spMkLst>
        </pc:spChg>
        <pc:spChg chg="del">
          <ac:chgData name="Bullinger, Marvin" userId="5b54ce5a-dc89-476f-af33-5abd75d5b1e8" providerId="ADAL" clId="{43B71669-8A80-4333-9349-B258A9296B49}" dt="2024-02-27T17:27:01.065" v="6812" actId="478"/>
          <ac:spMkLst>
            <pc:docMk/>
            <pc:sldMk cId="3574513803" sldId="591"/>
            <ac:spMk id="176" creationId="{10903ED2-2357-CD8F-B870-54D963128E05}"/>
          </ac:spMkLst>
        </pc:spChg>
        <pc:spChg chg="del">
          <ac:chgData name="Bullinger, Marvin" userId="5b54ce5a-dc89-476f-af33-5abd75d5b1e8" providerId="ADAL" clId="{43B71669-8A80-4333-9349-B258A9296B49}" dt="2024-02-27T17:27:01.065" v="6811" actId="478"/>
          <ac:spMkLst>
            <pc:docMk/>
            <pc:sldMk cId="3574513803" sldId="591"/>
            <ac:spMk id="177" creationId="{39DF51B2-8A9B-809B-F588-1DDD66DF182E}"/>
          </ac:spMkLst>
        </pc:spChg>
        <pc:spChg chg="del">
          <ac:chgData name="Bullinger, Marvin" userId="5b54ce5a-dc89-476f-af33-5abd75d5b1e8" providerId="ADAL" clId="{43B71669-8A80-4333-9349-B258A9296B49}" dt="2024-02-27T17:27:01.062" v="6810" actId="478"/>
          <ac:spMkLst>
            <pc:docMk/>
            <pc:sldMk cId="3574513803" sldId="591"/>
            <ac:spMk id="178" creationId="{0941CE7C-8EB7-2808-9DA4-5DAFADCEEE8F}"/>
          </ac:spMkLst>
        </pc:spChg>
        <pc:spChg chg="del">
          <ac:chgData name="Bullinger, Marvin" userId="5b54ce5a-dc89-476f-af33-5abd75d5b1e8" providerId="ADAL" clId="{43B71669-8A80-4333-9349-B258A9296B49}" dt="2024-02-27T17:27:01.046" v="6802" actId="478"/>
          <ac:spMkLst>
            <pc:docMk/>
            <pc:sldMk cId="3574513803" sldId="591"/>
            <ac:spMk id="179" creationId="{7A50ABE7-5E5D-B375-4D85-725333908EF6}"/>
          </ac:spMkLst>
        </pc:spChg>
        <pc:spChg chg="del">
          <ac:chgData name="Bullinger, Marvin" userId="5b54ce5a-dc89-476f-af33-5abd75d5b1e8" providerId="ADAL" clId="{43B71669-8A80-4333-9349-B258A9296B49}" dt="2024-02-27T17:27:01.046" v="6795" actId="478"/>
          <ac:spMkLst>
            <pc:docMk/>
            <pc:sldMk cId="3574513803" sldId="591"/>
            <ac:spMk id="180" creationId="{2E0B4556-4855-3A21-6371-790C7A8F95A8}"/>
          </ac:spMkLst>
        </pc:spChg>
        <pc:spChg chg="del">
          <ac:chgData name="Bullinger, Marvin" userId="5b54ce5a-dc89-476f-af33-5abd75d5b1e8" providerId="ADAL" clId="{43B71669-8A80-4333-9349-B258A9296B49}" dt="2024-02-27T17:27:01.046" v="6803" actId="478"/>
          <ac:spMkLst>
            <pc:docMk/>
            <pc:sldMk cId="3574513803" sldId="591"/>
            <ac:spMk id="181" creationId="{8E2DBB21-88DA-FAB0-0B70-2500A8A68430}"/>
          </ac:spMkLst>
        </pc:spChg>
        <pc:spChg chg="del">
          <ac:chgData name="Bullinger, Marvin" userId="5b54ce5a-dc89-476f-af33-5abd75d5b1e8" providerId="ADAL" clId="{43B71669-8A80-4333-9349-B258A9296B49}" dt="2024-02-27T17:27:01.046" v="6794" actId="478"/>
          <ac:spMkLst>
            <pc:docMk/>
            <pc:sldMk cId="3574513803" sldId="591"/>
            <ac:spMk id="182" creationId="{5EA6F5B0-B900-1244-AA96-CEB98F2F08E3}"/>
          </ac:spMkLst>
        </pc:spChg>
        <pc:spChg chg="del">
          <ac:chgData name="Bullinger, Marvin" userId="5b54ce5a-dc89-476f-af33-5abd75d5b1e8" providerId="ADAL" clId="{43B71669-8A80-4333-9349-B258A9296B49}" dt="2024-02-27T17:27:01.046" v="6793" actId="478"/>
          <ac:spMkLst>
            <pc:docMk/>
            <pc:sldMk cId="3574513803" sldId="591"/>
            <ac:spMk id="183" creationId="{87AC249A-1769-40D5-8B44-D5283D5CB038}"/>
          </ac:spMkLst>
        </pc:spChg>
        <pc:spChg chg="del">
          <ac:chgData name="Bullinger, Marvin" userId="5b54ce5a-dc89-476f-af33-5abd75d5b1e8" providerId="ADAL" clId="{43B71669-8A80-4333-9349-B258A9296B49}" dt="2024-02-27T17:27:01.046" v="6792" actId="478"/>
          <ac:spMkLst>
            <pc:docMk/>
            <pc:sldMk cId="3574513803" sldId="591"/>
            <ac:spMk id="184" creationId="{03EED919-3997-3CC6-F2C9-2828459A3A4C}"/>
          </ac:spMkLst>
        </pc:spChg>
        <pc:spChg chg="del">
          <ac:chgData name="Bullinger, Marvin" userId="5b54ce5a-dc89-476f-af33-5abd75d5b1e8" providerId="ADAL" clId="{43B71669-8A80-4333-9349-B258A9296B49}" dt="2024-02-27T17:27:01.046" v="6791" actId="478"/>
          <ac:spMkLst>
            <pc:docMk/>
            <pc:sldMk cId="3574513803" sldId="591"/>
            <ac:spMk id="185" creationId="{B43A8562-EED0-2678-E978-042491628857}"/>
          </ac:spMkLst>
        </pc:spChg>
        <pc:spChg chg="del">
          <ac:chgData name="Bullinger, Marvin" userId="5b54ce5a-dc89-476f-af33-5abd75d5b1e8" providerId="ADAL" clId="{43B71669-8A80-4333-9349-B258A9296B49}" dt="2024-02-27T17:27:01.046" v="6790" actId="478"/>
          <ac:spMkLst>
            <pc:docMk/>
            <pc:sldMk cId="3574513803" sldId="591"/>
            <ac:spMk id="186" creationId="{8918ED6B-73AF-EDC7-E478-388B56A01680}"/>
          </ac:spMkLst>
        </pc:spChg>
        <pc:spChg chg="del">
          <ac:chgData name="Bullinger, Marvin" userId="5b54ce5a-dc89-476f-af33-5abd75d5b1e8" providerId="ADAL" clId="{43B71669-8A80-4333-9349-B258A9296B49}" dt="2024-02-27T17:27:01.046" v="6789" actId="478"/>
          <ac:spMkLst>
            <pc:docMk/>
            <pc:sldMk cId="3574513803" sldId="591"/>
            <ac:spMk id="187" creationId="{843124DF-B4B5-A1A0-075A-3DD3AD0019D2}"/>
          </ac:spMkLst>
        </pc:spChg>
        <pc:spChg chg="del">
          <ac:chgData name="Bullinger, Marvin" userId="5b54ce5a-dc89-476f-af33-5abd75d5b1e8" providerId="ADAL" clId="{43B71669-8A80-4333-9349-B258A9296B49}" dt="2024-02-27T17:27:01.046" v="6788" actId="478"/>
          <ac:spMkLst>
            <pc:docMk/>
            <pc:sldMk cId="3574513803" sldId="591"/>
            <ac:spMk id="188" creationId="{439B583E-ACED-8AF2-FBE2-4CAAA1F48490}"/>
          </ac:spMkLst>
        </pc:spChg>
        <pc:spChg chg="del">
          <ac:chgData name="Bullinger, Marvin" userId="5b54ce5a-dc89-476f-af33-5abd75d5b1e8" providerId="ADAL" clId="{43B71669-8A80-4333-9349-B258A9296B49}" dt="2024-02-27T17:27:01.046" v="6787" actId="478"/>
          <ac:spMkLst>
            <pc:docMk/>
            <pc:sldMk cId="3574513803" sldId="591"/>
            <ac:spMk id="189" creationId="{E34EAEB6-59D9-DEBA-D92B-9C456F81D84A}"/>
          </ac:spMkLst>
        </pc:spChg>
        <pc:spChg chg="del">
          <ac:chgData name="Bullinger, Marvin" userId="5b54ce5a-dc89-476f-af33-5abd75d5b1e8" providerId="ADAL" clId="{43B71669-8A80-4333-9349-B258A9296B49}" dt="2024-02-27T17:27:01.046" v="6786" actId="478"/>
          <ac:spMkLst>
            <pc:docMk/>
            <pc:sldMk cId="3574513803" sldId="591"/>
            <ac:spMk id="190" creationId="{992EFECC-E029-77FC-868B-F36C102F4E0B}"/>
          </ac:spMkLst>
        </pc:spChg>
        <pc:spChg chg="del">
          <ac:chgData name="Bullinger, Marvin" userId="5b54ce5a-dc89-476f-af33-5abd75d5b1e8" providerId="ADAL" clId="{43B71669-8A80-4333-9349-B258A9296B49}" dt="2024-02-27T17:27:01.046" v="6785" actId="478"/>
          <ac:spMkLst>
            <pc:docMk/>
            <pc:sldMk cId="3574513803" sldId="591"/>
            <ac:spMk id="191" creationId="{A9CEDF0E-C0BA-F6CB-085F-9A7325D6889B}"/>
          </ac:spMkLst>
        </pc:spChg>
        <pc:spChg chg="del">
          <ac:chgData name="Bullinger, Marvin" userId="5b54ce5a-dc89-476f-af33-5abd75d5b1e8" providerId="ADAL" clId="{43B71669-8A80-4333-9349-B258A9296B49}" dt="2024-02-27T17:27:01.046" v="6784" actId="478"/>
          <ac:spMkLst>
            <pc:docMk/>
            <pc:sldMk cId="3574513803" sldId="591"/>
            <ac:spMk id="192" creationId="{BBA97533-2D75-2DEB-F3DE-85789BF8DD70}"/>
          </ac:spMkLst>
        </pc:spChg>
        <pc:spChg chg="del">
          <ac:chgData name="Bullinger, Marvin" userId="5b54ce5a-dc89-476f-af33-5abd75d5b1e8" providerId="ADAL" clId="{43B71669-8A80-4333-9349-B258A9296B49}" dt="2024-02-27T17:27:01.046" v="6783" actId="478"/>
          <ac:spMkLst>
            <pc:docMk/>
            <pc:sldMk cId="3574513803" sldId="591"/>
            <ac:spMk id="193" creationId="{E20554F0-AD6D-1B6B-8794-4E29FB0BF75F}"/>
          </ac:spMkLst>
        </pc:spChg>
        <pc:spChg chg="del">
          <ac:chgData name="Bullinger, Marvin" userId="5b54ce5a-dc89-476f-af33-5abd75d5b1e8" providerId="ADAL" clId="{43B71669-8A80-4333-9349-B258A9296B49}" dt="2024-02-27T17:27:01.046" v="6782" actId="478"/>
          <ac:spMkLst>
            <pc:docMk/>
            <pc:sldMk cId="3574513803" sldId="591"/>
            <ac:spMk id="194" creationId="{8DCB008B-D3E4-1484-27F6-1006B4068A1B}"/>
          </ac:spMkLst>
        </pc:spChg>
        <pc:spChg chg="del">
          <ac:chgData name="Bullinger, Marvin" userId="5b54ce5a-dc89-476f-af33-5abd75d5b1e8" providerId="ADAL" clId="{43B71669-8A80-4333-9349-B258A9296B49}" dt="2024-02-27T17:27:01.046" v="6781" actId="478"/>
          <ac:spMkLst>
            <pc:docMk/>
            <pc:sldMk cId="3574513803" sldId="591"/>
            <ac:spMk id="195" creationId="{D241DD59-DC06-85AA-2DA4-6640E9ACCAFA}"/>
          </ac:spMkLst>
        </pc:spChg>
        <pc:spChg chg="add mod">
          <ac:chgData name="Bullinger, Marvin" userId="5b54ce5a-dc89-476f-af33-5abd75d5b1e8" providerId="ADAL" clId="{43B71669-8A80-4333-9349-B258A9296B49}" dt="2024-02-27T17:27:38.395" v="7746" actId="478"/>
          <ac:spMkLst>
            <pc:docMk/>
            <pc:sldMk cId="3574513803" sldId="591"/>
            <ac:spMk id="234" creationId="{61873691-EBFC-CE07-0BD6-DE34C30CA465}"/>
          </ac:spMkLst>
        </pc:spChg>
        <pc:spChg chg="mod replST">
          <ac:chgData name="Bullinger, Marvin" userId="5b54ce5a-dc89-476f-af33-5abd75d5b1e8" providerId="ADAL" clId="{43B71669-8A80-4333-9349-B258A9296B49}" dt="2024-02-27T17:27:38.429" v="7785" actId="20577"/>
          <ac:spMkLst>
            <pc:docMk/>
            <pc:sldMk cId="3574513803" sldId="591"/>
            <ac:spMk id="235" creationId="{EE4BBAFD-2578-E5EF-5F1F-83BF4CB5EB4C}"/>
          </ac:spMkLst>
        </pc:spChg>
        <pc:spChg chg="del">
          <ac:chgData name="Bullinger, Marvin" userId="5b54ce5a-dc89-476f-af33-5abd75d5b1e8" providerId="ADAL" clId="{43B71669-8A80-4333-9349-B258A9296B49}" dt="2024-02-27T17:27:38.429" v="7775" actId="478"/>
          <ac:spMkLst>
            <pc:docMk/>
            <pc:sldMk cId="3574513803" sldId="591"/>
            <ac:spMk id="236" creationId="{7DDB2DAC-344A-ECE4-DB76-09AB90797BE2}"/>
          </ac:spMkLst>
        </pc:spChg>
        <pc:spChg chg="del">
          <ac:chgData name="Bullinger, Marvin" userId="5b54ce5a-dc89-476f-af33-5abd75d5b1e8" providerId="ADAL" clId="{43B71669-8A80-4333-9349-B258A9296B49}" dt="2024-02-27T17:27:38.429" v="7774" actId="478"/>
          <ac:spMkLst>
            <pc:docMk/>
            <pc:sldMk cId="3574513803" sldId="591"/>
            <ac:spMk id="237" creationId="{0328408F-A84C-882F-7E89-4305E339774A}"/>
          </ac:spMkLst>
        </pc:spChg>
        <pc:spChg chg="del">
          <ac:chgData name="Bullinger, Marvin" userId="5b54ce5a-dc89-476f-af33-5abd75d5b1e8" providerId="ADAL" clId="{43B71669-8A80-4333-9349-B258A9296B49}" dt="2024-02-27T17:27:38.429" v="7773" actId="478"/>
          <ac:spMkLst>
            <pc:docMk/>
            <pc:sldMk cId="3574513803" sldId="591"/>
            <ac:spMk id="238" creationId="{DF8F4E45-1B9E-64AD-5702-6D2299193057}"/>
          </ac:spMkLst>
        </pc:spChg>
        <pc:spChg chg="del">
          <ac:chgData name="Bullinger, Marvin" userId="5b54ce5a-dc89-476f-af33-5abd75d5b1e8" providerId="ADAL" clId="{43B71669-8A80-4333-9349-B258A9296B49}" dt="2024-02-27T17:27:38.427" v="7772" actId="478"/>
          <ac:spMkLst>
            <pc:docMk/>
            <pc:sldMk cId="3574513803" sldId="591"/>
            <ac:spMk id="239" creationId="{CD53D501-4F8E-5CFE-EAD5-85FC0A4D8FBD}"/>
          </ac:spMkLst>
        </pc:spChg>
        <pc:spChg chg="del">
          <ac:chgData name="Bullinger, Marvin" userId="5b54ce5a-dc89-476f-af33-5abd75d5b1e8" providerId="ADAL" clId="{43B71669-8A80-4333-9349-B258A9296B49}" dt="2024-02-27T17:27:38.427" v="7771" actId="478"/>
          <ac:spMkLst>
            <pc:docMk/>
            <pc:sldMk cId="3574513803" sldId="591"/>
            <ac:spMk id="240" creationId="{47BFCD97-ED22-B6A5-A61D-EF4746EE36F5}"/>
          </ac:spMkLst>
        </pc:spChg>
        <pc:spChg chg="del">
          <ac:chgData name="Bullinger, Marvin" userId="5b54ce5a-dc89-476f-af33-5abd75d5b1e8" providerId="ADAL" clId="{43B71669-8A80-4333-9349-B258A9296B49}" dt="2024-02-27T17:27:38.427" v="7770" actId="478"/>
          <ac:spMkLst>
            <pc:docMk/>
            <pc:sldMk cId="3574513803" sldId="591"/>
            <ac:spMk id="241" creationId="{86A30A05-2AFC-1766-1B89-863F38542102}"/>
          </ac:spMkLst>
        </pc:spChg>
        <pc:spChg chg="del">
          <ac:chgData name="Bullinger, Marvin" userId="5b54ce5a-dc89-476f-af33-5abd75d5b1e8" providerId="ADAL" clId="{43B71669-8A80-4333-9349-B258A9296B49}" dt="2024-02-27T17:27:38.418" v="7767" actId="478"/>
          <ac:spMkLst>
            <pc:docMk/>
            <pc:sldMk cId="3574513803" sldId="591"/>
            <ac:spMk id="242" creationId="{BD6D6C21-090B-EA97-140F-F0C886FA22C7}"/>
          </ac:spMkLst>
        </pc:spChg>
        <pc:spChg chg="del">
          <ac:chgData name="Bullinger, Marvin" userId="5b54ce5a-dc89-476f-af33-5abd75d5b1e8" providerId="ADAL" clId="{43B71669-8A80-4333-9349-B258A9296B49}" dt="2024-02-27T17:27:38.418" v="7766" actId="478"/>
          <ac:spMkLst>
            <pc:docMk/>
            <pc:sldMk cId="3574513803" sldId="591"/>
            <ac:spMk id="243" creationId="{EEEEFD64-0781-632F-D1DD-2E3CE32AD4F9}"/>
          </ac:spMkLst>
        </pc:spChg>
        <pc:spChg chg="del">
          <ac:chgData name="Bullinger, Marvin" userId="5b54ce5a-dc89-476f-af33-5abd75d5b1e8" providerId="ADAL" clId="{43B71669-8A80-4333-9349-B258A9296B49}" dt="2024-02-27T17:27:38.418" v="7765" actId="478"/>
          <ac:spMkLst>
            <pc:docMk/>
            <pc:sldMk cId="3574513803" sldId="591"/>
            <ac:spMk id="244" creationId="{5F2F8789-69CE-4A29-E0FB-856779E969BD}"/>
          </ac:spMkLst>
        </pc:spChg>
        <pc:spChg chg="del">
          <ac:chgData name="Bullinger, Marvin" userId="5b54ce5a-dc89-476f-af33-5abd75d5b1e8" providerId="ADAL" clId="{43B71669-8A80-4333-9349-B258A9296B49}" dt="2024-02-27T17:27:38.418" v="7764" actId="478"/>
          <ac:spMkLst>
            <pc:docMk/>
            <pc:sldMk cId="3574513803" sldId="591"/>
            <ac:spMk id="245" creationId="{23038898-332A-A58A-5193-81759929630F}"/>
          </ac:spMkLst>
        </pc:spChg>
        <pc:spChg chg="del">
          <ac:chgData name="Bullinger, Marvin" userId="5b54ce5a-dc89-476f-af33-5abd75d5b1e8" providerId="ADAL" clId="{43B71669-8A80-4333-9349-B258A9296B49}" dt="2024-02-27T17:27:38.418" v="7763" actId="478"/>
          <ac:spMkLst>
            <pc:docMk/>
            <pc:sldMk cId="3574513803" sldId="591"/>
            <ac:spMk id="246" creationId="{707C0B72-EE0F-FE4F-A766-388BBA761D5B}"/>
          </ac:spMkLst>
        </pc:spChg>
        <pc:spChg chg="del">
          <ac:chgData name="Bullinger, Marvin" userId="5b54ce5a-dc89-476f-af33-5abd75d5b1e8" providerId="ADAL" clId="{43B71669-8A80-4333-9349-B258A9296B49}" dt="2024-02-27T17:27:38.418" v="7762" actId="478"/>
          <ac:spMkLst>
            <pc:docMk/>
            <pc:sldMk cId="3574513803" sldId="591"/>
            <ac:spMk id="247" creationId="{836CA12A-4F97-A983-3FFB-08376BA98062}"/>
          </ac:spMkLst>
        </pc:spChg>
        <pc:spChg chg="del">
          <ac:chgData name="Bullinger, Marvin" userId="5b54ce5a-dc89-476f-af33-5abd75d5b1e8" providerId="ADAL" clId="{43B71669-8A80-4333-9349-B258A9296B49}" dt="2024-02-27T17:27:38.429" v="7783" actId="478"/>
          <ac:spMkLst>
            <pc:docMk/>
            <pc:sldMk cId="3574513803" sldId="591"/>
            <ac:spMk id="248" creationId="{ACD180E5-BAF8-E0F3-3CA6-4264FCED3F94}"/>
          </ac:spMkLst>
        </pc:spChg>
        <pc:spChg chg="del">
          <ac:chgData name="Bullinger, Marvin" userId="5b54ce5a-dc89-476f-af33-5abd75d5b1e8" providerId="ADAL" clId="{43B71669-8A80-4333-9349-B258A9296B49}" dt="2024-02-27T17:27:38.429" v="7782" actId="478"/>
          <ac:spMkLst>
            <pc:docMk/>
            <pc:sldMk cId="3574513803" sldId="591"/>
            <ac:spMk id="249" creationId="{876D1B3D-5DDF-08A9-3B13-C6182F4F92B1}"/>
          </ac:spMkLst>
        </pc:spChg>
        <pc:spChg chg="del">
          <ac:chgData name="Bullinger, Marvin" userId="5b54ce5a-dc89-476f-af33-5abd75d5b1e8" providerId="ADAL" clId="{43B71669-8A80-4333-9349-B258A9296B49}" dt="2024-02-27T17:27:38.429" v="7781" actId="478"/>
          <ac:spMkLst>
            <pc:docMk/>
            <pc:sldMk cId="3574513803" sldId="591"/>
            <ac:spMk id="250" creationId="{D331A545-7370-DCA8-9630-4971C6C67C57}"/>
          </ac:spMkLst>
        </pc:spChg>
        <pc:spChg chg="del">
          <ac:chgData name="Bullinger, Marvin" userId="5b54ce5a-dc89-476f-af33-5abd75d5b1e8" providerId="ADAL" clId="{43B71669-8A80-4333-9349-B258A9296B49}" dt="2024-02-27T17:27:38.429" v="7780" actId="478"/>
          <ac:spMkLst>
            <pc:docMk/>
            <pc:sldMk cId="3574513803" sldId="591"/>
            <ac:spMk id="251" creationId="{874C736E-718A-C7AB-C4F8-AFF48B01C36D}"/>
          </ac:spMkLst>
        </pc:spChg>
        <pc:spChg chg="del">
          <ac:chgData name="Bullinger, Marvin" userId="5b54ce5a-dc89-476f-af33-5abd75d5b1e8" providerId="ADAL" clId="{43B71669-8A80-4333-9349-B258A9296B49}" dt="2024-02-27T17:27:38.429" v="7779" actId="478"/>
          <ac:spMkLst>
            <pc:docMk/>
            <pc:sldMk cId="3574513803" sldId="591"/>
            <ac:spMk id="252" creationId="{F49FCA94-C12C-B8B7-26E2-08AECB1CEDDC}"/>
          </ac:spMkLst>
        </pc:spChg>
        <pc:spChg chg="del">
          <ac:chgData name="Bullinger, Marvin" userId="5b54ce5a-dc89-476f-af33-5abd75d5b1e8" providerId="ADAL" clId="{43B71669-8A80-4333-9349-B258A9296B49}" dt="2024-02-27T17:27:38.429" v="7778" actId="478"/>
          <ac:spMkLst>
            <pc:docMk/>
            <pc:sldMk cId="3574513803" sldId="591"/>
            <ac:spMk id="253" creationId="{38E11208-8736-DB69-EE15-DC7D3BE3AF64}"/>
          </ac:spMkLst>
        </pc:spChg>
        <pc:spChg chg="del">
          <ac:chgData name="Bullinger, Marvin" userId="5b54ce5a-dc89-476f-af33-5abd75d5b1e8" providerId="ADAL" clId="{43B71669-8A80-4333-9349-B258A9296B49}" dt="2024-02-27T17:27:38.429" v="7777" actId="478"/>
          <ac:spMkLst>
            <pc:docMk/>
            <pc:sldMk cId="3574513803" sldId="591"/>
            <ac:spMk id="254" creationId="{862A7331-5616-EB1B-99B8-E78ED8502A6F}"/>
          </ac:spMkLst>
        </pc:spChg>
        <pc:spChg chg="del">
          <ac:chgData name="Bullinger, Marvin" userId="5b54ce5a-dc89-476f-af33-5abd75d5b1e8" providerId="ADAL" clId="{43B71669-8A80-4333-9349-B258A9296B49}" dt="2024-02-27T17:27:38.429" v="7776" actId="478"/>
          <ac:spMkLst>
            <pc:docMk/>
            <pc:sldMk cId="3574513803" sldId="591"/>
            <ac:spMk id="255" creationId="{0DBAF329-E563-0FCA-C43D-D0F82A81561A}"/>
          </ac:spMkLst>
        </pc:spChg>
        <pc:spChg chg="del">
          <ac:chgData name="Bullinger, Marvin" userId="5b54ce5a-dc89-476f-af33-5abd75d5b1e8" providerId="ADAL" clId="{43B71669-8A80-4333-9349-B258A9296B49}" dt="2024-02-27T17:27:38.418" v="7768" actId="478"/>
          <ac:spMkLst>
            <pc:docMk/>
            <pc:sldMk cId="3574513803" sldId="591"/>
            <ac:spMk id="256" creationId="{C0154858-AB0F-D1C4-2330-8A7A8A9FABD1}"/>
          </ac:spMkLst>
        </pc:spChg>
        <pc:spChg chg="del">
          <ac:chgData name="Bullinger, Marvin" userId="5b54ce5a-dc89-476f-af33-5abd75d5b1e8" providerId="ADAL" clId="{43B71669-8A80-4333-9349-B258A9296B49}" dt="2024-02-27T17:27:38.418" v="7761" actId="478"/>
          <ac:spMkLst>
            <pc:docMk/>
            <pc:sldMk cId="3574513803" sldId="591"/>
            <ac:spMk id="257" creationId="{E898E597-63CE-DE06-5DE9-E796ED40D83E}"/>
          </ac:spMkLst>
        </pc:spChg>
        <pc:spChg chg="del">
          <ac:chgData name="Bullinger, Marvin" userId="5b54ce5a-dc89-476f-af33-5abd75d5b1e8" providerId="ADAL" clId="{43B71669-8A80-4333-9349-B258A9296B49}" dt="2024-02-27T17:27:38.427" v="7769" actId="478"/>
          <ac:spMkLst>
            <pc:docMk/>
            <pc:sldMk cId="3574513803" sldId="591"/>
            <ac:spMk id="258" creationId="{0F83AB0A-2265-DC7E-1A6D-582528479499}"/>
          </ac:spMkLst>
        </pc:spChg>
        <pc:spChg chg="del">
          <ac:chgData name="Bullinger, Marvin" userId="5b54ce5a-dc89-476f-af33-5abd75d5b1e8" providerId="ADAL" clId="{43B71669-8A80-4333-9349-B258A9296B49}" dt="2024-02-27T17:27:38.418" v="7760" actId="478"/>
          <ac:spMkLst>
            <pc:docMk/>
            <pc:sldMk cId="3574513803" sldId="591"/>
            <ac:spMk id="259" creationId="{78F13D01-2903-1886-3BD8-7D56DAF515C8}"/>
          </ac:spMkLst>
        </pc:spChg>
        <pc:spChg chg="del">
          <ac:chgData name="Bullinger, Marvin" userId="5b54ce5a-dc89-476f-af33-5abd75d5b1e8" providerId="ADAL" clId="{43B71669-8A80-4333-9349-B258A9296B49}" dt="2024-02-27T17:27:38.418" v="7759" actId="478"/>
          <ac:spMkLst>
            <pc:docMk/>
            <pc:sldMk cId="3574513803" sldId="591"/>
            <ac:spMk id="260" creationId="{84BC4E3E-03EB-8706-5838-8485A9CDABEE}"/>
          </ac:spMkLst>
        </pc:spChg>
        <pc:spChg chg="del">
          <ac:chgData name="Bullinger, Marvin" userId="5b54ce5a-dc89-476f-af33-5abd75d5b1e8" providerId="ADAL" clId="{43B71669-8A80-4333-9349-B258A9296B49}" dt="2024-02-27T17:27:38.418" v="7758" actId="478"/>
          <ac:spMkLst>
            <pc:docMk/>
            <pc:sldMk cId="3574513803" sldId="591"/>
            <ac:spMk id="261" creationId="{FACF8539-A4F7-23F3-5322-7A19D520758B}"/>
          </ac:spMkLst>
        </pc:spChg>
        <pc:spChg chg="del">
          <ac:chgData name="Bullinger, Marvin" userId="5b54ce5a-dc89-476f-af33-5abd75d5b1e8" providerId="ADAL" clId="{43B71669-8A80-4333-9349-B258A9296B49}" dt="2024-02-27T17:27:38.418" v="7757" actId="478"/>
          <ac:spMkLst>
            <pc:docMk/>
            <pc:sldMk cId="3574513803" sldId="591"/>
            <ac:spMk id="262" creationId="{2CDEDAD9-49E6-1621-08A9-64821AE67FB3}"/>
          </ac:spMkLst>
        </pc:spChg>
        <pc:spChg chg="del">
          <ac:chgData name="Bullinger, Marvin" userId="5b54ce5a-dc89-476f-af33-5abd75d5b1e8" providerId="ADAL" clId="{43B71669-8A80-4333-9349-B258A9296B49}" dt="2024-02-27T17:27:38.418" v="7756" actId="478"/>
          <ac:spMkLst>
            <pc:docMk/>
            <pc:sldMk cId="3574513803" sldId="591"/>
            <ac:spMk id="263" creationId="{EF8F9DB8-BB82-6FD6-CF2F-F65AB9DCFE08}"/>
          </ac:spMkLst>
        </pc:spChg>
        <pc:spChg chg="del">
          <ac:chgData name="Bullinger, Marvin" userId="5b54ce5a-dc89-476f-af33-5abd75d5b1e8" providerId="ADAL" clId="{43B71669-8A80-4333-9349-B258A9296B49}" dt="2024-02-27T17:27:38.418" v="7755" actId="478"/>
          <ac:spMkLst>
            <pc:docMk/>
            <pc:sldMk cId="3574513803" sldId="591"/>
            <ac:spMk id="264" creationId="{674F7F0C-B162-9956-4059-4632ABF1D950}"/>
          </ac:spMkLst>
        </pc:spChg>
        <pc:spChg chg="del">
          <ac:chgData name="Bullinger, Marvin" userId="5b54ce5a-dc89-476f-af33-5abd75d5b1e8" providerId="ADAL" clId="{43B71669-8A80-4333-9349-B258A9296B49}" dt="2024-02-27T17:27:38.416" v="7754" actId="478"/>
          <ac:spMkLst>
            <pc:docMk/>
            <pc:sldMk cId="3574513803" sldId="591"/>
            <ac:spMk id="265" creationId="{BA0D067B-1FFD-EBBD-326D-AF29979346E8}"/>
          </ac:spMkLst>
        </pc:spChg>
        <pc:spChg chg="del">
          <ac:chgData name="Bullinger, Marvin" userId="5b54ce5a-dc89-476f-af33-5abd75d5b1e8" providerId="ADAL" clId="{43B71669-8A80-4333-9349-B258A9296B49}" dt="2024-02-27T17:27:38.416" v="7753" actId="478"/>
          <ac:spMkLst>
            <pc:docMk/>
            <pc:sldMk cId="3574513803" sldId="591"/>
            <ac:spMk id="266" creationId="{DB986A64-5A44-0EB1-B617-A1CE38E8BDBC}"/>
          </ac:spMkLst>
        </pc:spChg>
        <pc:spChg chg="del">
          <ac:chgData name="Bullinger, Marvin" userId="5b54ce5a-dc89-476f-af33-5abd75d5b1e8" providerId="ADAL" clId="{43B71669-8A80-4333-9349-B258A9296B49}" dt="2024-02-27T17:27:38.416" v="7752" actId="478"/>
          <ac:spMkLst>
            <pc:docMk/>
            <pc:sldMk cId="3574513803" sldId="591"/>
            <ac:spMk id="267" creationId="{3A01C980-CDE3-E28F-B50B-D5DD624276E2}"/>
          </ac:spMkLst>
        </pc:spChg>
        <pc:spChg chg="del">
          <ac:chgData name="Bullinger, Marvin" userId="5b54ce5a-dc89-476f-af33-5abd75d5b1e8" providerId="ADAL" clId="{43B71669-8A80-4333-9349-B258A9296B49}" dt="2024-02-27T17:27:38.408" v="7751" actId="478"/>
          <ac:spMkLst>
            <pc:docMk/>
            <pc:sldMk cId="3574513803" sldId="591"/>
            <ac:spMk id="268" creationId="{025CE603-227D-5328-DD85-F4B861EAF148}"/>
          </ac:spMkLst>
        </pc:spChg>
        <pc:spChg chg="del">
          <ac:chgData name="Bullinger, Marvin" userId="5b54ce5a-dc89-476f-af33-5abd75d5b1e8" providerId="ADAL" clId="{43B71669-8A80-4333-9349-B258A9296B49}" dt="2024-02-27T17:27:38.408" v="7750" actId="478"/>
          <ac:spMkLst>
            <pc:docMk/>
            <pc:sldMk cId="3574513803" sldId="591"/>
            <ac:spMk id="269" creationId="{8B374365-F578-F457-D74E-2017FF78AC58}"/>
          </ac:spMkLst>
        </pc:spChg>
        <pc:spChg chg="del">
          <ac:chgData name="Bullinger, Marvin" userId="5b54ce5a-dc89-476f-af33-5abd75d5b1e8" providerId="ADAL" clId="{43B71669-8A80-4333-9349-B258A9296B49}" dt="2024-02-27T17:27:38.408" v="7749" actId="478"/>
          <ac:spMkLst>
            <pc:docMk/>
            <pc:sldMk cId="3574513803" sldId="591"/>
            <ac:spMk id="270" creationId="{747098B2-DFC8-6B5F-119A-52B7B9FDFA5E}"/>
          </ac:spMkLst>
        </pc:spChg>
        <pc:spChg chg="del">
          <ac:chgData name="Bullinger, Marvin" userId="5b54ce5a-dc89-476f-af33-5abd75d5b1e8" providerId="ADAL" clId="{43B71669-8A80-4333-9349-B258A9296B49}" dt="2024-02-27T17:27:38.408" v="7748" actId="478"/>
          <ac:spMkLst>
            <pc:docMk/>
            <pc:sldMk cId="3574513803" sldId="591"/>
            <ac:spMk id="271" creationId="{B7CF71BA-FCA7-7328-340E-4509D42BA5B9}"/>
          </ac:spMkLst>
        </pc:spChg>
        <pc:spChg chg="del">
          <ac:chgData name="Bullinger, Marvin" userId="5b54ce5a-dc89-476f-af33-5abd75d5b1e8" providerId="ADAL" clId="{43B71669-8A80-4333-9349-B258A9296B49}" dt="2024-02-27T17:27:38.408" v="7747" actId="478"/>
          <ac:spMkLst>
            <pc:docMk/>
            <pc:sldMk cId="3574513803" sldId="591"/>
            <ac:spMk id="272" creationId="{1AA8E750-3A4C-58DC-DCD2-C1F6A79DE195}"/>
          </ac:spMkLst>
        </pc:spChg>
      </pc:sldChg>
      <pc:sldChg chg="addSp delSp modSp new add del mod modClrScheme chgLayout">
        <pc:chgData name="Bullinger, Marvin" userId="5b54ce5a-dc89-476f-af33-5abd75d5b1e8" providerId="ADAL" clId="{43B71669-8A80-4333-9349-B258A9296B49}" dt="2024-02-27T16:53:45.144" v="2601" actId="680"/>
        <pc:sldMkLst>
          <pc:docMk/>
          <pc:sldMk cId="3939108022" sldId="591"/>
        </pc:sldMkLst>
        <pc:spChg chg="add del mod ord">
          <ac:chgData name="Bullinger, Marvin" userId="5b54ce5a-dc89-476f-af33-5abd75d5b1e8" providerId="ADAL" clId="{43B71669-8A80-4333-9349-B258A9296B49}" dt="2024-02-27T16:53:44.885" v="2600" actId="700"/>
          <ac:spMkLst>
            <pc:docMk/>
            <pc:sldMk cId="3939108022" sldId="591"/>
            <ac:spMk id="2" creationId="{E3D9EA1C-6198-0E08-153C-6C256645C9E7}"/>
          </ac:spMkLst>
        </pc:spChg>
        <pc:spChg chg="add del mod ord">
          <ac:chgData name="Bullinger, Marvin" userId="5b54ce5a-dc89-476f-af33-5abd75d5b1e8" providerId="ADAL" clId="{43B71669-8A80-4333-9349-B258A9296B49}" dt="2024-02-27T16:53:44.885" v="2600" actId="700"/>
          <ac:spMkLst>
            <pc:docMk/>
            <pc:sldMk cId="3939108022" sldId="591"/>
            <ac:spMk id="3" creationId="{110E4F78-C9B4-C05C-709E-2C7160419633}"/>
          </ac:spMkLst>
        </pc:spChg>
        <pc:spChg chg="add del mod ord">
          <ac:chgData name="Bullinger, Marvin" userId="5b54ce5a-dc89-476f-af33-5abd75d5b1e8" providerId="ADAL" clId="{43B71669-8A80-4333-9349-B258A9296B49}" dt="2024-02-27T16:53:44.885" v="2600" actId="700"/>
          <ac:spMkLst>
            <pc:docMk/>
            <pc:sldMk cId="3939108022" sldId="591"/>
            <ac:spMk id="4" creationId="{C0F0767D-FD03-CC16-27C5-FDC821207F44}"/>
          </ac:spMkLst>
        </pc:spChg>
        <pc:spChg chg="add del mod ord">
          <ac:chgData name="Bullinger, Marvin" userId="5b54ce5a-dc89-476f-af33-5abd75d5b1e8" providerId="ADAL" clId="{43B71669-8A80-4333-9349-B258A9296B49}" dt="2024-02-27T16:53:44.885" v="2600" actId="700"/>
          <ac:spMkLst>
            <pc:docMk/>
            <pc:sldMk cId="3939108022" sldId="591"/>
            <ac:spMk id="5" creationId="{15054B16-8A35-8F85-2773-337F72F77278}"/>
          </ac:spMkLst>
        </pc:spChg>
        <pc:spChg chg="mod ord">
          <ac:chgData name="Bullinger, Marvin" userId="5b54ce5a-dc89-476f-af33-5abd75d5b1e8" providerId="ADAL" clId="{43B71669-8A80-4333-9349-B258A9296B49}" dt="2024-02-27T16:53:44.885" v="2600" actId="700"/>
          <ac:spMkLst>
            <pc:docMk/>
            <pc:sldMk cId="3939108022" sldId="591"/>
            <ac:spMk id="6" creationId="{6FBEC2FA-7834-675B-6499-6D2887FEFB85}"/>
          </ac:spMkLst>
        </pc:spChg>
        <pc:spChg chg="add del mod ord">
          <ac:chgData name="Bullinger, Marvin" userId="5b54ce5a-dc89-476f-af33-5abd75d5b1e8" providerId="ADAL" clId="{43B71669-8A80-4333-9349-B258A9296B49}" dt="2024-02-27T16:53:44.885" v="2600" actId="700"/>
          <ac:spMkLst>
            <pc:docMk/>
            <pc:sldMk cId="3939108022" sldId="591"/>
            <ac:spMk id="7" creationId="{7B6186BD-C88F-A398-C15A-115509FBC295}"/>
          </ac:spMkLst>
        </pc:spChg>
        <pc:spChg chg="add del mod ord">
          <ac:chgData name="Bullinger, Marvin" userId="5b54ce5a-dc89-476f-af33-5abd75d5b1e8" providerId="ADAL" clId="{43B71669-8A80-4333-9349-B258A9296B49}" dt="2024-02-27T16:53:44.885" v="2600" actId="700"/>
          <ac:spMkLst>
            <pc:docMk/>
            <pc:sldMk cId="3939108022" sldId="591"/>
            <ac:spMk id="8" creationId="{71C4584C-B9D4-9F86-1435-AE703B873550}"/>
          </ac:spMkLst>
        </pc:spChg>
        <pc:spChg chg="add del mod ord">
          <ac:chgData name="Bullinger, Marvin" userId="5b54ce5a-dc89-476f-af33-5abd75d5b1e8" providerId="ADAL" clId="{43B71669-8A80-4333-9349-B258A9296B49}" dt="2024-02-27T16:53:44.885" v="2600" actId="700"/>
          <ac:spMkLst>
            <pc:docMk/>
            <pc:sldMk cId="3939108022" sldId="591"/>
            <ac:spMk id="9" creationId="{E7119857-E76C-E41F-0C84-6DC91392ADD4}"/>
          </ac:spMkLst>
        </pc:spChg>
        <pc:spChg chg="add del mod ord">
          <ac:chgData name="Bullinger, Marvin" userId="5b54ce5a-dc89-476f-af33-5abd75d5b1e8" providerId="ADAL" clId="{43B71669-8A80-4333-9349-B258A9296B49}" dt="2024-02-27T16:53:44.885" v="2600" actId="700"/>
          <ac:spMkLst>
            <pc:docMk/>
            <pc:sldMk cId="3939108022" sldId="591"/>
            <ac:spMk id="10" creationId="{86B43BEE-CA30-DB65-7E8A-4A3A5582E2B1}"/>
          </ac:spMkLst>
        </pc:spChg>
        <pc:spChg chg="add del mod ord">
          <ac:chgData name="Bullinger, Marvin" userId="5b54ce5a-dc89-476f-af33-5abd75d5b1e8" providerId="ADAL" clId="{43B71669-8A80-4333-9349-B258A9296B49}" dt="2024-02-27T16:53:44.885" v="2600" actId="700"/>
          <ac:spMkLst>
            <pc:docMk/>
            <pc:sldMk cId="3939108022" sldId="591"/>
            <ac:spMk id="11" creationId="{8E14F187-1489-EC9E-8B50-B63BF00D925A}"/>
          </ac:spMkLst>
        </pc:spChg>
        <pc:spChg chg="add del mod ord">
          <ac:chgData name="Bullinger, Marvin" userId="5b54ce5a-dc89-476f-af33-5abd75d5b1e8" providerId="ADAL" clId="{43B71669-8A80-4333-9349-B258A9296B49}" dt="2024-02-27T16:53:44.885" v="2600" actId="700"/>
          <ac:spMkLst>
            <pc:docMk/>
            <pc:sldMk cId="3939108022" sldId="591"/>
            <ac:spMk id="12" creationId="{08A3F159-B3B4-4013-0951-70A286E906C0}"/>
          </ac:spMkLst>
        </pc:spChg>
        <pc:spChg chg="add del mod ord">
          <ac:chgData name="Bullinger, Marvin" userId="5b54ce5a-dc89-476f-af33-5abd75d5b1e8" providerId="ADAL" clId="{43B71669-8A80-4333-9349-B258A9296B49}" dt="2024-02-27T16:53:44.885" v="2600" actId="700"/>
          <ac:spMkLst>
            <pc:docMk/>
            <pc:sldMk cId="3939108022" sldId="591"/>
            <ac:spMk id="13" creationId="{5C1CD573-D443-66BD-C88D-C849A02D93C3}"/>
          </ac:spMkLst>
        </pc:spChg>
        <pc:spChg chg="add del mod ord">
          <ac:chgData name="Bullinger, Marvin" userId="5b54ce5a-dc89-476f-af33-5abd75d5b1e8" providerId="ADAL" clId="{43B71669-8A80-4333-9349-B258A9296B49}" dt="2024-02-27T16:53:44.885" v="2600" actId="700"/>
          <ac:spMkLst>
            <pc:docMk/>
            <pc:sldMk cId="3939108022" sldId="591"/>
            <ac:spMk id="14" creationId="{40676DB5-B2B8-742B-23AB-55219D084FB9}"/>
          </ac:spMkLst>
        </pc:spChg>
        <pc:spChg chg="add del mod ord">
          <ac:chgData name="Bullinger, Marvin" userId="5b54ce5a-dc89-476f-af33-5abd75d5b1e8" providerId="ADAL" clId="{43B71669-8A80-4333-9349-B258A9296B49}" dt="2024-02-27T16:53:44.885" v="2600" actId="700"/>
          <ac:spMkLst>
            <pc:docMk/>
            <pc:sldMk cId="3939108022" sldId="591"/>
            <ac:spMk id="15" creationId="{F9A9D2AA-D540-3D3B-FD98-3455BDFB3F1E}"/>
          </ac:spMkLst>
        </pc:spChg>
        <pc:spChg chg="add del mod ord">
          <ac:chgData name="Bullinger, Marvin" userId="5b54ce5a-dc89-476f-af33-5abd75d5b1e8" providerId="ADAL" clId="{43B71669-8A80-4333-9349-B258A9296B49}" dt="2024-02-27T16:53:44.885" v="2600" actId="700"/>
          <ac:spMkLst>
            <pc:docMk/>
            <pc:sldMk cId="3939108022" sldId="591"/>
            <ac:spMk id="16" creationId="{4151A5FE-D4FE-4D0B-4043-4A26376B373E}"/>
          </ac:spMkLst>
        </pc:spChg>
        <pc:spChg chg="add del mod ord">
          <ac:chgData name="Bullinger, Marvin" userId="5b54ce5a-dc89-476f-af33-5abd75d5b1e8" providerId="ADAL" clId="{43B71669-8A80-4333-9349-B258A9296B49}" dt="2024-02-27T16:53:44.885" v="2600" actId="700"/>
          <ac:spMkLst>
            <pc:docMk/>
            <pc:sldMk cId="3939108022" sldId="591"/>
            <ac:spMk id="17" creationId="{171F0DD6-D481-1BCC-3389-63E35784B868}"/>
          </ac:spMkLst>
        </pc:spChg>
        <pc:spChg chg="add del mod ord">
          <ac:chgData name="Bullinger, Marvin" userId="5b54ce5a-dc89-476f-af33-5abd75d5b1e8" providerId="ADAL" clId="{43B71669-8A80-4333-9349-B258A9296B49}" dt="2024-02-27T16:53:44.885" v="2600" actId="700"/>
          <ac:spMkLst>
            <pc:docMk/>
            <pc:sldMk cId="3939108022" sldId="591"/>
            <ac:spMk id="18" creationId="{F505C90D-AAD8-3FBF-8803-997815136C34}"/>
          </ac:spMkLst>
        </pc:spChg>
        <pc:spChg chg="add del mod ord">
          <ac:chgData name="Bullinger, Marvin" userId="5b54ce5a-dc89-476f-af33-5abd75d5b1e8" providerId="ADAL" clId="{43B71669-8A80-4333-9349-B258A9296B49}" dt="2024-02-27T16:53:44.885" v="2600" actId="700"/>
          <ac:spMkLst>
            <pc:docMk/>
            <pc:sldMk cId="3939108022" sldId="591"/>
            <ac:spMk id="19" creationId="{EC6F7560-34D6-3EAA-D6D0-12FF16BB48AE}"/>
          </ac:spMkLst>
        </pc:spChg>
        <pc:spChg chg="add del mod ord">
          <ac:chgData name="Bullinger, Marvin" userId="5b54ce5a-dc89-476f-af33-5abd75d5b1e8" providerId="ADAL" clId="{43B71669-8A80-4333-9349-B258A9296B49}" dt="2024-02-27T16:53:44.885" v="2600" actId="700"/>
          <ac:spMkLst>
            <pc:docMk/>
            <pc:sldMk cId="3939108022" sldId="591"/>
            <ac:spMk id="20" creationId="{06FC0606-BA9C-7ABE-7DC0-8109CF027D95}"/>
          </ac:spMkLst>
        </pc:spChg>
        <pc:spChg chg="add del mod ord">
          <ac:chgData name="Bullinger, Marvin" userId="5b54ce5a-dc89-476f-af33-5abd75d5b1e8" providerId="ADAL" clId="{43B71669-8A80-4333-9349-B258A9296B49}" dt="2024-02-27T16:53:44.885" v="2600" actId="700"/>
          <ac:spMkLst>
            <pc:docMk/>
            <pc:sldMk cId="3939108022" sldId="591"/>
            <ac:spMk id="21" creationId="{ECC22F82-584E-349D-FEDA-527BA5D78B34}"/>
          </ac:spMkLst>
        </pc:spChg>
        <pc:spChg chg="add del mod ord">
          <ac:chgData name="Bullinger, Marvin" userId="5b54ce5a-dc89-476f-af33-5abd75d5b1e8" providerId="ADAL" clId="{43B71669-8A80-4333-9349-B258A9296B49}" dt="2024-02-27T16:53:44.885" v="2600" actId="700"/>
          <ac:spMkLst>
            <pc:docMk/>
            <pc:sldMk cId="3939108022" sldId="591"/>
            <ac:spMk id="22" creationId="{E766A0CE-4F1F-E076-4567-1CA809012253}"/>
          </ac:spMkLst>
        </pc:spChg>
        <pc:spChg chg="add del mod ord">
          <ac:chgData name="Bullinger, Marvin" userId="5b54ce5a-dc89-476f-af33-5abd75d5b1e8" providerId="ADAL" clId="{43B71669-8A80-4333-9349-B258A9296B49}" dt="2024-02-27T16:53:44.885" v="2600" actId="700"/>
          <ac:spMkLst>
            <pc:docMk/>
            <pc:sldMk cId="3939108022" sldId="591"/>
            <ac:spMk id="23" creationId="{4D4639D5-0600-0067-6D48-CE792658ECDB}"/>
          </ac:spMkLst>
        </pc:spChg>
        <pc:spChg chg="add del mod ord">
          <ac:chgData name="Bullinger, Marvin" userId="5b54ce5a-dc89-476f-af33-5abd75d5b1e8" providerId="ADAL" clId="{43B71669-8A80-4333-9349-B258A9296B49}" dt="2024-02-27T16:53:44.885" v="2600" actId="700"/>
          <ac:spMkLst>
            <pc:docMk/>
            <pc:sldMk cId="3939108022" sldId="591"/>
            <ac:spMk id="24" creationId="{EDE2ED99-434F-25AD-2952-8683A1062C94}"/>
          </ac:spMkLst>
        </pc:spChg>
        <pc:spChg chg="add del mod ord">
          <ac:chgData name="Bullinger, Marvin" userId="5b54ce5a-dc89-476f-af33-5abd75d5b1e8" providerId="ADAL" clId="{43B71669-8A80-4333-9349-B258A9296B49}" dt="2024-02-27T16:53:44.885" v="2600" actId="700"/>
          <ac:spMkLst>
            <pc:docMk/>
            <pc:sldMk cId="3939108022" sldId="591"/>
            <ac:spMk id="25" creationId="{A4B38F6B-A47C-5F7F-6CCD-11A5B9994228}"/>
          </ac:spMkLst>
        </pc:spChg>
        <pc:spChg chg="add del mod ord">
          <ac:chgData name="Bullinger, Marvin" userId="5b54ce5a-dc89-476f-af33-5abd75d5b1e8" providerId="ADAL" clId="{43B71669-8A80-4333-9349-B258A9296B49}" dt="2024-02-27T16:53:44.885" v="2600" actId="700"/>
          <ac:spMkLst>
            <pc:docMk/>
            <pc:sldMk cId="3939108022" sldId="591"/>
            <ac:spMk id="26" creationId="{C0E6A557-D990-81DA-7781-3DC552108EDD}"/>
          </ac:spMkLst>
        </pc:spChg>
        <pc:spChg chg="add del mod ord">
          <ac:chgData name="Bullinger, Marvin" userId="5b54ce5a-dc89-476f-af33-5abd75d5b1e8" providerId="ADAL" clId="{43B71669-8A80-4333-9349-B258A9296B49}" dt="2024-02-27T16:53:44.885" v="2600" actId="700"/>
          <ac:spMkLst>
            <pc:docMk/>
            <pc:sldMk cId="3939108022" sldId="591"/>
            <ac:spMk id="27" creationId="{6C99827C-3357-477E-E506-1E79F30601A4}"/>
          </ac:spMkLst>
        </pc:spChg>
        <pc:spChg chg="add del mod ord">
          <ac:chgData name="Bullinger, Marvin" userId="5b54ce5a-dc89-476f-af33-5abd75d5b1e8" providerId="ADAL" clId="{43B71669-8A80-4333-9349-B258A9296B49}" dt="2024-02-27T16:53:44.885" v="2600" actId="700"/>
          <ac:spMkLst>
            <pc:docMk/>
            <pc:sldMk cId="3939108022" sldId="591"/>
            <ac:spMk id="28" creationId="{84BB5161-461F-BFC7-B5EF-CEB4DA9F6B88}"/>
          </ac:spMkLst>
        </pc:spChg>
        <pc:spChg chg="add del mod ord">
          <ac:chgData name="Bullinger, Marvin" userId="5b54ce5a-dc89-476f-af33-5abd75d5b1e8" providerId="ADAL" clId="{43B71669-8A80-4333-9349-B258A9296B49}" dt="2024-02-27T16:53:44.885" v="2600" actId="700"/>
          <ac:spMkLst>
            <pc:docMk/>
            <pc:sldMk cId="3939108022" sldId="591"/>
            <ac:spMk id="29" creationId="{F086EDC3-3718-ADD7-D89B-83C47920125F}"/>
          </ac:spMkLst>
        </pc:spChg>
        <pc:spChg chg="add del mod ord">
          <ac:chgData name="Bullinger, Marvin" userId="5b54ce5a-dc89-476f-af33-5abd75d5b1e8" providerId="ADAL" clId="{43B71669-8A80-4333-9349-B258A9296B49}" dt="2024-02-27T16:53:44.885" v="2600" actId="700"/>
          <ac:spMkLst>
            <pc:docMk/>
            <pc:sldMk cId="3939108022" sldId="591"/>
            <ac:spMk id="30" creationId="{1A7966DC-29D9-62F3-1309-AACDF498077C}"/>
          </ac:spMkLst>
        </pc:spChg>
        <pc:spChg chg="add del mod ord">
          <ac:chgData name="Bullinger, Marvin" userId="5b54ce5a-dc89-476f-af33-5abd75d5b1e8" providerId="ADAL" clId="{43B71669-8A80-4333-9349-B258A9296B49}" dt="2024-02-27T16:53:44.885" v="2600" actId="700"/>
          <ac:spMkLst>
            <pc:docMk/>
            <pc:sldMk cId="3939108022" sldId="591"/>
            <ac:spMk id="31" creationId="{AB7C99C6-6FBE-1420-F75A-A3383129139F}"/>
          </ac:spMkLst>
        </pc:spChg>
        <pc:spChg chg="add del mod ord">
          <ac:chgData name="Bullinger, Marvin" userId="5b54ce5a-dc89-476f-af33-5abd75d5b1e8" providerId="ADAL" clId="{43B71669-8A80-4333-9349-B258A9296B49}" dt="2024-02-27T16:53:44.885" v="2600" actId="700"/>
          <ac:spMkLst>
            <pc:docMk/>
            <pc:sldMk cId="3939108022" sldId="591"/>
            <ac:spMk id="32" creationId="{8F568D30-6C72-99EC-8DC9-F9831E818F8F}"/>
          </ac:spMkLst>
        </pc:spChg>
        <pc:spChg chg="add del mod ord">
          <ac:chgData name="Bullinger, Marvin" userId="5b54ce5a-dc89-476f-af33-5abd75d5b1e8" providerId="ADAL" clId="{43B71669-8A80-4333-9349-B258A9296B49}" dt="2024-02-27T16:53:44.885" v="2600" actId="700"/>
          <ac:spMkLst>
            <pc:docMk/>
            <pc:sldMk cId="3939108022" sldId="591"/>
            <ac:spMk id="33" creationId="{D9101D3C-0599-15A4-EDF0-9587395512D6}"/>
          </ac:spMkLst>
        </pc:spChg>
        <pc:spChg chg="add del mod ord">
          <ac:chgData name="Bullinger, Marvin" userId="5b54ce5a-dc89-476f-af33-5abd75d5b1e8" providerId="ADAL" clId="{43B71669-8A80-4333-9349-B258A9296B49}" dt="2024-02-27T16:53:44.885" v="2600" actId="700"/>
          <ac:spMkLst>
            <pc:docMk/>
            <pc:sldMk cId="3939108022" sldId="591"/>
            <ac:spMk id="34" creationId="{2AEA4F0A-F897-73DE-752B-572FA9A2B0E7}"/>
          </ac:spMkLst>
        </pc:spChg>
        <pc:spChg chg="add del mod ord">
          <ac:chgData name="Bullinger, Marvin" userId="5b54ce5a-dc89-476f-af33-5abd75d5b1e8" providerId="ADAL" clId="{43B71669-8A80-4333-9349-B258A9296B49}" dt="2024-02-27T16:53:44.885" v="2600" actId="700"/>
          <ac:spMkLst>
            <pc:docMk/>
            <pc:sldMk cId="3939108022" sldId="591"/>
            <ac:spMk id="35" creationId="{FFC7DF85-5198-E50F-2CED-51F6A6B0A35C}"/>
          </ac:spMkLst>
        </pc:spChg>
        <pc:spChg chg="add del mod ord">
          <ac:chgData name="Bullinger, Marvin" userId="5b54ce5a-dc89-476f-af33-5abd75d5b1e8" providerId="ADAL" clId="{43B71669-8A80-4333-9349-B258A9296B49}" dt="2024-02-27T16:53:44.885" v="2600" actId="700"/>
          <ac:spMkLst>
            <pc:docMk/>
            <pc:sldMk cId="3939108022" sldId="591"/>
            <ac:spMk id="36" creationId="{D1FBD9FD-4451-7692-34C6-01765F46AC3B}"/>
          </ac:spMkLst>
        </pc:spChg>
        <pc:spChg chg="add del mod ord">
          <ac:chgData name="Bullinger, Marvin" userId="5b54ce5a-dc89-476f-af33-5abd75d5b1e8" providerId="ADAL" clId="{43B71669-8A80-4333-9349-B258A9296B49}" dt="2024-02-27T16:53:44.885" v="2600" actId="700"/>
          <ac:spMkLst>
            <pc:docMk/>
            <pc:sldMk cId="3939108022" sldId="591"/>
            <ac:spMk id="37" creationId="{3EC22EE7-15DE-A1B5-8C58-FF67D30BD8B4}"/>
          </ac:spMkLst>
        </pc:spChg>
        <pc:spChg chg="add del mod ord">
          <ac:chgData name="Bullinger, Marvin" userId="5b54ce5a-dc89-476f-af33-5abd75d5b1e8" providerId="ADAL" clId="{43B71669-8A80-4333-9349-B258A9296B49}" dt="2024-02-27T16:53:44.885" v="2600" actId="700"/>
          <ac:spMkLst>
            <pc:docMk/>
            <pc:sldMk cId="3939108022" sldId="591"/>
            <ac:spMk id="38" creationId="{CDFC3EFB-B2E8-E3D8-EE65-5286160F6EE1}"/>
          </ac:spMkLst>
        </pc:spChg>
        <pc:spChg chg="add del mod ord">
          <ac:chgData name="Bullinger, Marvin" userId="5b54ce5a-dc89-476f-af33-5abd75d5b1e8" providerId="ADAL" clId="{43B71669-8A80-4333-9349-B258A9296B49}" dt="2024-02-27T16:53:44.885" v="2600" actId="700"/>
          <ac:spMkLst>
            <pc:docMk/>
            <pc:sldMk cId="3939108022" sldId="591"/>
            <ac:spMk id="39" creationId="{AF4355EA-E6F2-5094-0B25-C4DB914A2B97}"/>
          </ac:spMkLst>
        </pc:spChg>
        <pc:spChg chg="add del mod ord">
          <ac:chgData name="Bullinger, Marvin" userId="5b54ce5a-dc89-476f-af33-5abd75d5b1e8" providerId="ADAL" clId="{43B71669-8A80-4333-9349-B258A9296B49}" dt="2024-02-27T16:53:44.885" v="2600" actId="700"/>
          <ac:spMkLst>
            <pc:docMk/>
            <pc:sldMk cId="3939108022" sldId="591"/>
            <ac:spMk id="40" creationId="{0511C0AE-9B2D-62F7-FB3A-4A689C25683B}"/>
          </ac:spMkLst>
        </pc:spChg>
        <pc:spChg chg="add del mod ord">
          <ac:chgData name="Bullinger, Marvin" userId="5b54ce5a-dc89-476f-af33-5abd75d5b1e8" providerId="ADAL" clId="{43B71669-8A80-4333-9349-B258A9296B49}" dt="2024-02-27T16:53:44.885" v="2600" actId="700"/>
          <ac:spMkLst>
            <pc:docMk/>
            <pc:sldMk cId="3939108022" sldId="591"/>
            <ac:spMk id="41" creationId="{1951219E-4204-A784-D1D7-35821C1AF947}"/>
          </ac:spMkLst>
        </pc:spChg>
        <pc:spChg chg="add del mod ord">
          <ac:chgData name="Bullinger, Marvin" userId="5b54ce5a-dc89-476f-af33-5abd75d5b1e8" providerId="ADAL" clId="{43B71669-8A80-4333-9349-B258A9296B49}" dt="2024-02-27T16:53:44.885" v="2600" actId="700"/>
          <ac:spMkLst>
            <pc:docMk/>
            <pc:sldMk cId="3939108022" sldId="591"/>
            <ac:spMk id="42" creationId="{28188C8B-826F-C40A-F34E-8BDB84C36F66}"/>
          </ac:spMkLst>
        </pc:spChg>
        <pc:spChg chg="add del mod ord">
          <ac:chgData name="Bullinger, Marvin" userId="5b54ce5a-dc89-476f-af33-5abd75d5b1e8" providerId="ADAL" clId="{43B71669-8A80-4333-9349-B258A9296B49}" dt="2024-02-27T16:53:44.885" v="2600" actId="700"/>
          <ac:spMkLst>
            <pc:docMk/>
            <pc:sldMk cId="3939108022" sldId="591"/>
            <ac:spMk id="43" creationId="{B1BB163F-6486-60BA-AB77-298B6672CCE7}"/>
          </ac:spMkLst>
        </pc:spChg>
        <pc:spChg chg="add del mod ord">
          <ac:chgData name="Bullinger, Marvin" userId="5b54ce5a-dc89-476f-af33-5abd75d5b1e8" providerId="ADAL" clId="{43B71669-8A80-4333-9349-B258A9296B49}" dt="2024-02-27T16:53:44.885" v="2600" actId="700"/>
          <ac:spMkLst>
            <pc:docMk/>
            <pc:sldMk cId="3939108022" sldId="591"/>
            <ac:spMk id="44" creationId="{925C2CE5-922A-D630-3C5B-C96FFFAF298A}"/>
          </ac:spMkLst>
        </pc:spChg>
      </pc:sldChg>
      <pc:sldChg chg="delSp modSp del mod">
        <pc:chgData name="Bullinger, Marvin" userId="5b54ce5a-dc89-476f-af33-5abd75d5b1e8" providerId="ADAL" clId="{43B71669-8A80-4333-9349-B258A9296B49}" dt="2024-02-27T17:26:25.513" v="5661" actId="2696"/>
        <pc:sldMkLst>
          <pc:docMk/>
          <pc:sldMk cId="105158186" sldId="592"/>
        </pc:sldMkLst>
        <pc:spChg chg="del">
          <ac:chgData name="Bullinger, Marvin" userId="5b54ce5a-dc89-476f-af33-5abd75d5b1e8" providerId="ADAL" clId="{43B71669-8A80-4333-9349-B258A9296B49}" dt="2024-02-27T17:26:25.513" v="5659" actId="478"/>
          <ac:spMkLst>
            <pc:docMk/>
            <pc:sldMk cId="105158186" sldId="592"/>
            <ac:spMk id="42" creationId="{4C0304C6-DB64-1C42-9E66-81CBEF8C1CAF}"/>
          </ac:spMkLst>
        </pc:spChg>
        <pc:spChg chg="mod">
          <ac:chgData name="Bullinger, Marvin" userId="5b54ce5a-dc89-476f-af33-5abd75d5b1e8" providerId="ADAL" clId="{43B71669-8A80-4333-9349-B258A9296B49}" dt="2024-02-27T17:26:22.211" v="4333" actId="207"/>
          <ac:spMkLst>
            <pc:docMk/>
            <pc:sldMk cId="105158186" sldId="592"/>
            <ac:spMk id="44" creationId="{8F028B8D-66CD-A7EC-69F9-F5574C497E5D}"/>
          </ac:spMkLst>
        </pc:spChg>
        <pc:spChg chg="mod modVis">
          <ac:chgData name="Bullinger, Marvin" userId="5b54ce5a-dc89-476f-af33-5abd75d5b1e8" providerId="ADAL" clId="{43B71669-8A80-4333-9349-B258A9296B49}" dt="2024-02-27T17:26:22.279" v="4334" actId="962"/>
          <ac:spMkLst>
            <pc:docMk/>
            <pc:sldMk cId="105158186" sldId="592"/>
            <ac:spMk id="46" creationId="{90F0D96E-CE7D-35A3-4E26-4EB82D80D281}"/>
          </ac:spMkLst>
        </pc:spChg>
        <pc:spChg chg="mod modVis">
          <ac:chgData name="Bullinger, Marvin" userId="5b54ce5a-dc89-476f-af33-5abd75d5b1e8" providerId="ADAL" clId="{43B71669-8A80-4333-9349-B258A9296B49}" dt="2024-02-27T17:26:22.279" v="4335" actId="962"/>
          <ac:spMkLst>
            <pc:docMk/>
            <pc:sldMk cId="105158186" sldId="592"/>
            <ac:spMk id="47" creationId="{07081BC4-76D9-AB16-D409-0306DFD47425}"/>
          </ac:spMkLst>
        </pc:spChg>
        <pc:spChg chg="mod modVis">
          <ac:chgData name="Bullinger, Marvin" userId="5b54ce5a-dc89-476f-af33-5abd75d5b1e8" providerId="ADAL" clId="{43B71669-8A80-4333-9349-B258A9296B49}" dt="2024-02-27T17:26:22.296" v="4336" actId="962"/>
          <ac:spMkLst>
            <pc:docMk/>
            <pc:sldMk cId="105158186" sldId="592"/>
            <ac:spMk id="48" creationId="{0E99FC8F-1445-BBF0-3B7E-98C13DCABCE7}"/>
          </ac:spMkLst>
        </pc:spChg>
        <pc:spChg chg="mod modVis">
          <ac:chgData name="Bullinger, Marvin" userId="5b54ce5a-dc89-476f-af33-5abd75d5b1e8" providerId="ADAL" clId="{43B71669-8A80-4333-9349-B258A9296B49}" dt="2024-02-27T17:26:22.319" v="4337" actId="962"/>
          <ac:spMkLst>
            <pc:docMk/>
            <pc:sldMk cId="105158186" sldId="592"/>
            <ac:spMk id="49" creationId="{AA0A915A-E930-DDC4-B33F-3C9557A4B9E6}"/>
          </ac:spMkLst>
        </pc:spChg>
        <pc:spChg chg="mod modVis">
          <ac:chgData name="Bullinger, Marvin" userId="5b54ce5a-dc89-476f-af33-5abd75d5b1e8" providerId="ADAL" clId="{43B71669-8A80-4333-9349-B258A9296B49}" dt="2024-02-27T17:26:22.319" v="4338" actId="962"/>
          <ac:spMkLst>
            <pc:docMk/>
            <pc:sldMk cId="105158186" sldId="592"/>
            <ac:spMk id="50" creationId="{830BC472-0B1E-F1B9-8EE3-B17C73B1B150}"/>
          </ac:spMkLst>
        </pc:spChg>
        <pc:spChg chg="mod modVis">
          <ac:chgData name="Bullinger, Marvin" userId="5b54ce5a-dc89-476f-af33-5abd75d5b1e8" providerId="ADAL" clId="{43B71669-8A80-4333-9349-B258A9296B49}" dt="2024-02-27T17:26:22.335" v="4339" actId="962"/>
          <ac:spMkLst>
            <pc:docMk/>
            <pc:sldMk cId="105158186" sldId="592"/>
            <ac:spMk id="51" creationId="{A46A3695-4993-2728-918A-69B54A18B112}"/>
          </ac:spMkLst>
        </pc:spChg>
        <pc:spChg chg="mod modVis">
          <ac:chgData name="Bullinger, Marvin" userId="5b54ce5a-dc89-476f-af33-5abd75d5b1e8" providerId="ADAL" clId="{43B71669-8A80-4333-9349-B258A9296B49}" dt="2024-02-27T17:26:22.335" v="4340" actId="962"/>
          <ac:spMkLst>
            <pc:docMk/>
            <pc:sldMk cId="105158186" sldId="592"/>
            <ac:spMk id="52" creationId="{4DD85D15-C58E-0069-DC20-9872F4D07D23}"/>
          </ac:spMkLst>
        </pc:spChg>
        <pc:spChg chg="mod modVis">
          <ac:chgData name="Bullinger, Marvin" userId="5b54ce5a-dc89-476f-af33-5abd75d5b1e8" providerId="ADAL" clId="{43B71669-8A80-4333-9349-B258A9296B49}" dt="2024-02-27T17:26:22.351" v="4341" actId="962"/>
          <ac:spMkLst>
            <pc:docMk/>
            <pc:sldMk cId="105158186" sldId="592"/>
            <ac:spMk id="53" creationId="{C590E8F2-33D6-8B5A-34A9-BC1D0C9AC7BC}"/>
          </ac:spMkLst>
        </pc:spChg>
        <pc:spChg chg="mod modVis">
          <ac:chgData name="Bullinger, Marvin" userId="5b54ce5a-dc89-476f-af33-5abd75d5b1e8" providerId="ADAL" clId="{43B71669-8A80-4333-9349-B258A9296B49}" dt="2024-02-27T17:26:22.351" v="4342" actId="962"/>
          <ac:spMkLst>
            <pc:docMk/>
            <pc:sldMk cId="105158186" sldId="592"/>
            <ac:spMk id="54" creationId="{064B0BFE-7ABB-60D7-A0F5-6FAF20AD33BA}"/>
          </ac:spMkLst>
        </pc:spChg>
        <pc:spChg chg="mod modVis">
          <ac:chgData name="Bullinger, Marvin" userId="5b54ce5a-dc89-476f-af33-5abd75d5b1e8" providerId="ADAL" clId="{43B71669-8A80-4333-9349-B258A9296B49}" dt="2024-02-27T17:26:22.363" v="4343" actId="962"/>
          <ac:spMkLst>
            <pc:docMk/>
            <pc:sldMk cId="105158186" sldId="592"/>
            <ac:spMk id="55" creationId="{EF7F38B1-999B-1AE4-5C0A-AF4EBC4DFD7C}"/>
          </ac:spMkLst>
        </pc:spChg>
        <pc:spChg chg="mod modVis">
          <ac:chgData name="Bullinger, Marvin" userId="5b54ce5a-dc89-476f-af33-5abd75d5b1e8" providerId="ADAL" clId="{43B71669-8A80-4333-9349-B258A9296B49}" dt="2024-02-27T17:26:22.363" v="4344" actId="962"/>
          <ac:spMkLst>
            <pc:docMk/>
            <pc:sldMk cId="105158186" sldId="592"/>
            <ac:spMk id="56" creationId="{BA5352A4-7CB8-CA35-AFFC-0EF56BB70CAC}"/>
          </ac:spMkLst>
        </pc:spChg>
        <pc:spChg chg="mod modVis">
          <ac:chgData name="Bullinger, Marvin" userId="5b54ce5a-dc89-476f-af33-5abd75d5b1e8" providerId="ADAL" clId="{43B71669-8A80-4333-9349-B258A9296B49}" dt="2024-02-27T17:26:22.379" v="4345" actId="962"/>
          <ac:spMkLst>
            <pc:docMk/>
            <pc:sldMk cId="105158186" sldId="592"/>
            <ac:spMk id="57" creationId="{46E29F1C-6DFC-592A-3F77-2AB929CA8D53}"/>
          </ac:spMkLst>
        </pc:spChg>
        <pc:spChg chg="mod modVis">
          <ac:chgData name="Bullinger, Marvin" userId="5b54ce5a-dc89-476f-af33-5abd75d5b1e8" providerId="ADAL" clId="{43B71669-8A80-4333-9349-B258A9296B49}" dt="2024-02-27T17:26:22.379" v="4346" actId="962"/>
          <ac:spMkLst>
            <pc:docMk/>
            <pc:sldMk cId="105158186" sldId="592"/>
            <ac:spMk id="58" creationId="{3F39C6DB-E16E-88B6-8C97-C301F6C5476B}"/>
          </ac:spMkLst>
        </pc:spChg>
        <pc:spChg chg="mod modVis">
          <ac:chgData name="Bullinger, Marvin" userId="5b54ce5a-dc89-476f-af33-5abd75d5b1e8" providerId="ADAL" clId="{43B71669-8A80-4333-9349-B258A9296B49}" dt="2024-02-27T17:26:22.395" v="4347" actId="962"/>
          <ac:spMkLst>
            <pc:docMk/>
            <pc:sldMk cId="105158186" sldId="592"/>
            <ac:spMk id="59" creationId="{15D7C80D-E214-DB17-7D44-C8756343AC1A}"/>
          </ac:spMkLst>
        </pc:spChg>
        <pc:spChg chg="mod modVis">
          <ac:chgData name="Bullinger, Marvin" userId="5b54ce5a-dc89-476f-af33-5abd75d5b1e8" providerId="ADAL" clId="{43B71669-8A80-4333-9349-B258A9296B49}" dt="2024-02-27T17:26:22.395" v="4348" actId="962"/>
          <ac:spMkLst>
            <pc:docMk/>
            <pc:sldMk cId="105158186" sldId="592"/>
            <ac:spMk id="60" creationId="{97BEA047-0B44-639B-B260-A38E78FA1B2C}"/>
          </ac:spMkLst>
        </pc:spChg>
        <pc:spChg chg="mod modVis">
          <ac:chgData name="Bullinger, Marvin" userId="5b54ce5a-dc89-476f-af33-5abd75d5b1e8" providerId="ADAL" clId="{43B71669-8A80-4333-9349-B258A9296B49}" dt="2024-02-27T17:26:22.410" v="4349" actId="962"/>
          <ac:spMkLst>
            <pc:docMk/>
            <pc:sldMk cId="105158186" sldId="592"/>
            <ac:spMk id="61" creationId="{D14BC04E-0D10-D56A-FCEC-BD1A4B1C7890}"/>
          </ac:spMkLst>
        </pc:spChg>
        <pc:spChg chg="mod modVis">
          <ac:chgData name="Bullinger, Marvin" userId="5b54ce5a-dc89-476f-af33-5abd75d5b1e8" providerId="ADAL" clId="{43B71669-8A80-4333-9349-B258A9296B49}" dt="2024-02-27T17:26:22.410" v="4350" actId="962"/>
          <ac:spMkLst>
            <pc:docMk/>
            <pc:sldMk cId="105158186" sldId="592"/>
            <ac:spMk id="62" creationId="{A199C98E-0F11-3AAE-F419-3224D2AF947E}"/>
          </ac:spMkLst>
        </pc:spChg>
        <pc:spChg chg="mod modVis">
          <ac:chgData name="Bullinger, Marvin" userId="5b54ce5a-dc89-476f-af33-5abd75d5b1e8" providerId="ADAL" clId="{43B71669-8A80-4333-9349-B258A9296B49}" dt="2024-02-27T17:26:22.410" v="4351" actId="962"/>
          <ac:spMkLst>
            <pc:docMk/>
            <pc:sldMk cId="105158186" sldId="592"/>
            <ac:spMk id="63" creationId="{5BC632C5-A650-3009-3D4B-5FC4619B190D}"/>
          </ac:spMkLst>
        </pc:spChg>
        <pc:spChg chg="mod modVis">
          <ac:chgData name="Bullinger, Marvin" userId="5b54ce5a-dc89-476f-af33-5abd75d5b1e8" providerId="ADAL" clId="{43B71669-8A80-4333-9349-B258A9296B49}" dt="2024-02-27T17:26:22.426" v="4352" actId="962"/>
          <ac:spMkLst>
            <pc:docMk/>
            <pc:sldMk cId="105158186" sldId="592"/>
            <ac:spMk id="64" creationId="{E4BB97B6-79E0-F364-6349-9653397CD1C7}"/>
          </ac:spMkLst>
        </pc:spChg>
        <pc:spChg chg="mod modVis">
          <ac:chgData name="Bullinger, Marvin" userId="5b54ce5a-dc89-476f-af33-5abd75d5b1e8" providerId="ADAL" clId="{43B71669-8A80-4333-9349-B258A9296B49}" dt="2024-02-27T17:26:22.426" v="4353" actId="962"/>
          <ac:spMkLst>
            <pc:docMk/>
            <pc:sldMk cId="105158186" sldId="592"/>
            <ac:spMk id="65" creationId="{740E9CEF-BBA1-EE68-7FEF-34C2ECDA49DF}"/>
          </ac:spMkLst>
        </pc:spChg>
        <pc:spChg chg="mod modVis">
          <ac:chgData name="Bullinger, Marvin" userId="5b54ce5a-dc89-476f-af33-5abd75d5b1e8" providerId="ADAL" clId="{43B71669-8A80-4333-9349-B258A9296B49}" dt="2024-02-27T17:26:22.442" v="4354" actId="962"/>
          <ac:spMkLst>
            <pc:docMk/>
            <pc:sldMk cId="105158186" sldId="592"/>
            <ac:spMk id="66" creationId="{504218BF-D5C2-A80D-0C3B-A2DDCAE0DDD5}"/>
          </ac:spMkLst>
        </pc:spChg>
        <pc:spChg chg="mod modVis">
          <ac:chgData name="Bullinger, Marvin" userId="5b54ce5a-dc89-476f-af33-5abd75d5b1e8" providerId="ADAL" clId="{43B71669-8A80-4333-9349-B258A9296B49}" dt="2024-02-27T17:26:22.450" v="4355" actId="962"/>
          <ac:spMkLst>
            <pc:docMk/>
            <pc:sldMk cId="105158186" sldId="592"/>
            <ac:spMk id="67" creationId="{B9FFC08F-B044-BC79-D755-7F8B95E4468B}"/>
          </ac:spMkLst>
        </pc:spChg>
        <pc:spChg chg="mod modVis">
          <ac:chgData name="Bullinger, Marvin" userId="5b54ce5a-dc89-476f-af33-5abd75d5b1e8" providerId="ADAL" clId="{43B71669-8A80-4333-9349-B258A9296B49}" dt="2024-02-27T17:26:22.459" v="4356" actId="962"/>
          <ac:spMkLst>
            <pc:docMk/>
            <pc:sldMk cId="105158186" sldId="592"/>
            <ac:spMk id="68" creationId="{E21C33A8-A031-77BA-E68B-85828D013276}"/>
          </ac:spMkLst>
        </pc:spChg>
        <pc:spChg chg="mod modVis">
          <ac:chgData name="Bullinger, Marvin" userId="5b54ce5a-dc89-476f-af33-5abd75d5b1e8" providerId="ADAL" clId="{43B71669-8A80-4333-9349-B258A9296B49}" dt="2024-02-27T17:26:22.463" v="4357" actId="962"/>
          <ac:spMkLst>
            <pc:docMk/>
            <pc:sldMk cId="105158186" sldId="592"/>
            <ac:spMk id="69" creationId="{DB3E2764-8716-4F8A-2143-857D9C99A299}"/>
          </ac:spMkLst>
        </pc:spChg>
        <pc:spChg chg="mod modVis">
          <ac:chgData name="Bullinger, Marvin" userId="5b54ce5a-dc89-476f-af33-5abd75d5b1e8" providerId="ADAL" clId="{43B71669-8A80-4333-9349-B258A9296B49}" dt="2024-02-27T17:26:22.463" v="4358" actId="962"/>
          <ac:spMkLst>
            <pc:docMk/>
            <pc:sldMk cId="105158186" sldId="592"/>
            <ac:spMk id="70" creationId="{3E629483-7666-3586-EAEA-31C8F1B82CDC}"/>
          </ac:spMkLst>
        </pc:spChg>
        <pc:spChg chg="mod modVis">
          <ac:chgData name="Bullinger, Marvin" userId="5b54ce5a-dc89-476f-af33-5abd75d5b1e8" providerId="ADAL" clId="{43B71669-8A80-4333-9349-B258A9296B49}" dt="2024-02-27T17:26:22.471" v="4359" actId="962"/>
          <ac:spMkLst>
            <pc:docMk/>
            <pc:sldMk cId="105158186" sldId="592"/>
            <ac:spMk id="71" creationId="{2DDB7508-4ECE-C6EC-AB0E-2C13BF975924}"/>
          </ac:spMkLst>
        </pc:spChg>
        <pc:spChg chg="mod modVis">
          <ac:chgData name="Bullinger, Marvin" userId="5b54ce5a-dc89-476f-af33-5abd75d5b1e8" providerId="ADAL" clId="{43B71669-8A80-4333-9349-B258A9296B49}" dt="2024-02-27T17:26:22.480" v="4360" actId="962"/>
          <ac:spMkLst>
            <pc:docMk/>
            <pc:sldMk cId="105158186" sldId="592"/>
            <ac:spMk id="72" creationId="{FA54DA9B-37AA-C3A5-D10A-1F471D90110C}"/>
          </ac:spMkLst>
        </pc:spChg>
        <pc:spChg chg="mod modVis">
          <ac:chgData name="Bullinger, Marvin" userId="5b54ce5a-dc89-476f-af33-5abd75d5b1e8" providerId="ADAL" clId="{43B71669-8A80-4333-9349-B258A9296B49}" dt="2024-02-27T17:26:22.489" v="4361" actId="962"/>
          <ac:spMkLst>
            <pc:docMk/>
            <pc:sldMk cId="105158186" sldId="592"/>
            <ac:spMk id="73" creationId="{12E7FFA5-FB2F-36DD-015C-732774AB3CE2}"/>
          </ac:spMkLst>
        </pc:spChg>
        <pc:spChg chg="mod modVis">
          <ac:chgData name="Bullinger, Marvin" userId="5b54ce5a-dc89-476f-af33-5abd75d5b1e8" providerId="ADAL" clId="{43B71669-8A80-4333-9349-B258A9296B49}" dt="2024-02-27T17:26:22.497" v="4362" actId="962"/>
          <ac:spMkLst>
            <pc:docMk/>
            <pc:sldMk cId="105158186" sldId="592"/>
            <ac:spMk id="74" creationId="{46BB56B6-1685-D956-4011-6B1EB8F7B4B3}"/>
          </ac:spMkLst>
        </pc:spChg>
        <pc:spChg chg="mod modVis">
          <ac:chgData name="Bullinger, Marvin" userId="5b54ce5a-dc89-476f-af33-5abd75d5b1e8" providerId="ADAL" clId="{43B71669-8A80-4333-9349-B258A9296B49}" dt="2024-02-27T17:26:22.505" v="4363" actId="962"/>
          <ac:spMkLst>
            <pc:docMk/>
            <pc:sldMk cId="105158186" sldId="592"/>
            <ac:spMk id="75" creationId="{83F86502-6446-194C-052F-F4EA83AD68A6}"/>
          </ac:spMkLst>
        </pc:spChg>
        <pc:spChg chg="mod modVis">
          <ac:chgData name="Bullinger, Marvin" userId="5b54ce5a-dc89-476f-af33-5abd75d5b1e8" providerId="ADAL" clId="{43B71669-8A80-4333-9349-B258A9296B49}" dt="2024-02-27T17:26:22.510" v="4364" actId="962"/>
          <ac:spMkLst>
            <pc:docMk/>
            <pc:sldMk cId="105158186" sldId="592"/>
            <ac:spMk id="76" creationId="{73EADF22-3368-B323-2E1A-BDD1231CBC43}"/>
          </ac:spMkLst>
        </pc:spChg>
        <pc:spChg chg="mod modVis">
          <ac:chgData name="Bullinger, Marvin" userId="5b54ce5a-dc89-476f-af33-5abd75d5b1e8" providerId="ADAL" clId="{43B71669-8A80-4333-9349-B258A9296B49}" dt="2024-02-27T17:26:22.519" v="4365" actId="962"/>
          <ac:spMkLst>
            <pc:docMk/>
            <pc:sldMk cId="105158186" sldId="592"/>
            <ac:spMk id="77" creationId="{7D354D8B-D51F-5175-7AD4-7BE05291D91B}"/>
          </ac:spMkLst>
        </pc:spChg>
        <pc:spChg chg="mod modVis">
          <ac:chgData name="Bullinger, Marvin" userId="5b54ce5a-dc89-476f-af33-5abd75d5b1e8" providerId="ADAL" clId="{43B71669-8A80-4333-9349-B258A9296B49}" dt="2024-02-27T17:26:22.527" v="4366" actId="962"/>
          <ac:spMkLst>
            <pc:docMk/>
            <pc:sldMk cId="105158186" sldId="592"/>
            <ac:spMk id="78" creationId="{880DAB24-31CC-6275-A820-72F24272474B}"/>
          </ac:spMkLst>
        </pc:spChg>
        <pc:spChg chg="mod modVis">
          <ac:chgData name="Bullinger, Marvin" userId="5b54ce5a-dc89-476f-af33-5abd75d5b1e8" providerId="ADAL" clId="{43B71669-8A80-4333-9349-B258A9296B49}" dt="2024-02-27T17:26:22.535" v="4367" actId="962"/>
          <ac:spMkLst>
            <pc:docMk/>
            <pc:sldMk cId="105158186" sldId="592"/>
            <ac:spMk id="79" creationId="{73D8C47A-674E-287C-4372-84E891C6D22E}"/>
          </ac:spMkLst>
        </pc:spChg>
        <pc:spChg chg="mod modVis">
          <ac:chgData name="Bullinger, Marvin" userId="5b54ce5a-dc89-476f-af33-5abd75d5b1e8" providerId="ADAL" clId="{43B71669-8A80-4333-9349-B258A9296B49}" dt="2024-02-27T17:26:22.543" v="4368" actId="962"/>
          <ac:spMkLst>
            <pc:docMk/>
            <pc:sldMk cId="105158186" sldId="592"/>
            <ac:spMk id="80" creationId="{258A5CB8-F55E-7189-83E2-29C9AA2C0C0A}"/>
          </ac:spMkLst>
        </pc:spChg>
        <pc:spChg chg="mod modVis">
          <ac:chgData name="Bullinger, Marvin" userId="5b54ce5a-dc89-476f-af33-5abd75d5b1e8" providerId="ADAL" clId="{43B71669-8A80-4333-9349-B258A9296B49}" dt="2024-02-27T17:26:22.551" v="4369" actId="962"/>
          <ac:spMkLst>
            <pc:docMk/>
            <pc:sldMk cId="105158186" sldId="592"/>
            <ac:spMk id="81" creationId="{2A818A7A-1A41-BBF1-302F-71384262F455}"/>
          </ac:spMkLst>
        </pc:spChg>
        <pc:spChg chg="mod modVis">
          <ac:chgData name="Bullinger, Marvin" userId="5b54ce5a-dc89-476f-af33-5abd75d5b1e8" providerId="ADAL" clId="{43B71669-8A80-4333-9349-B258A9296B49}" dt="2024-02-27T17:26:22.559" v="4370" actId="962"/>
          <ac:spMkLst>
            <pc:docMk/>
            <pc:sldMk cId="105158186" sldId="592"/>
            <ac:spMk id="82" creationId="{B48E408F-08A4-D5BD-70BF-2AD33D6AFF12}"/>
          </ac:spMkLst>
        </pc:spChg>
        <pc:spChg chg="mod modVis">
          <ac:chgData name="Bullinger, Marvin" userId="5b54ce5a-dc89-476f-af33-5abd75d5b1e8" providerId="ADAL" clId="{43B71669-8A80-4333-9349-B258A9296B49}" dt="2024-02-27T17:26:22.563" v="4371" actId="962"/>
          <ac:spMkLst>
            <pc:docMk/>
            <pc:sldMk cId="105158186" sldId="592"/>
            <ac:spMk id="83" creationId="{482044F1-92D8-F8CF-2A72-2F93688A3D91}"/>
          </ac:spMkLst>
        </pc:spChg>
        <pc:spChg chg="mod modVis">
          <ac:chgData name="Bullinger, Marvin" userId="5b54ce5a-dc89-476f-af33-5abd75d5b1e8" providerId="ADAL" clId="{43B71669-8A80-4333-9349-B258A9296B49}" dt="2024-02-27T17:26:22.574" v="4372" actId="962"/>
          <ac:spMkLst>
            <pc:docMk/>
            <pc:sldMk cId="105158186" sldId="592"/>
            <ac:spMk id="84" creationId="{A32BC995-4980-1652-17A4-45429F92B3B6}"/>
          </ac:spMkLst>
        </pc:spChg>
        <pc:spChg chg="mod modVis">
          <ac:chgData name="Bullinger, Marvin" userId="5b54ce5a-dc89-476f-af33-5abd75d5b1e8" providerId="ADAL" clId="{43B71669-8A80-4333-9349-B258A9296B49}" dt="2024-02-27T17:26:22.574" v="4373" actId="962"/>
          <ac:spMkLst>
            <pc:docMk/>
            <pc:sldMk cId="105158186" sldId="592"/>
            <ac:spMk id="85" creationId="{C3572ED9-5298-8A58-0CEC-9D9DB92BC4D9}"/>
          </ac:spMkLst>
        </pc:spChg>
        <pc:spChg chg="mod modVis">
          <ac:chgData name="Bullinger, Marvin" userId="5b54ce5a-dc89-476f-af33-5abd75d5b1e8" providerId="ADAL" clId="{43B71669-8A80-4333-9349-B258A9296B49}" dt="2024-02-27T17:26:22.574" v="4374" actId="962"/>
          <ac:spMkLst>
            <pc:docMk/>
            <pc:sldMk cId="105158186" sldId="592"/>
            <ac:spMk id="86" creationId="{24481449-B886-EF73-4903-4F9659AE135A}"/>
          </ac:spMkLst>
        </pc:spChg>
        <pc:spChg chg="mod modVis">
          <ac:chgData name="Bullinger, Marvin" userId="5b54ce5a-dc89-476f-af33-5abd75d5b1e8" providerId="ADAL" clId="{43B71669-8A80-4333-9349-B258A9296B49}" dt="2024-02-27T17:26:22.589" v="4375" actId="962"/>
          <ac:spMkLst>
            <pc:docMk/>
            <pc:sldMk cId="105158186" sldId="592"/>
            <ac:spMk id="87" creationId="{9ADFC4AA-D04B-FA83-53C2-C7DE5D0FDC04}"/>
          </ac:spMkLst>
        </pc:spChg>
        <pc:spChg chg="mod modVis">
          <ac:chgData name="Bullinger, Marvin" userId="5b54ce5a-dc89-476f-af33-5abd75d5b1e8" providerId="ADAL" clId="{43B71669-8A80-4333-9349-B258A9296B49}" dt="2024-02-27T17:26:22.589" v="4376" actId="962"/>
          <ac:spMkLst>
            <pc:docMk/>
            <pc:sldMk cId="105158186" sldId="592"/>
            <ac:spMk id="88" creationId="{4AD461FA-C3D1-7BA5-1A1F-7ABE56B90B3A}"/>
          </ac:spMkLst>
        </pc:spChg>
        <pc:spChg chg="mod modVis">
          <ac:chgData name="Bullinger, Marvin" userId="5b54ce5a-dc89-476f-af33-5abd75d5b1e8" providerId="ADAL" clId="{43B71669-8A80-4333-9349-B258A9296B49}" dt="2024-02-27T17:26:22.605" v="4377" actId="962"/>
          <ac:spMkLst>
            <pc:docMk/>
            <pc:sldMk cId="105158186" sldId="592"/>
            <ac:spMk id="89" creationId="{4D7A2273-CF1C-A70D-4473-460E587DAC00}"/>
          </ac:spMkLst>
        </pc:spChg>
        <pc:spChg chg="mod modVis">
          <ac:chgData name="Bullinger, Marvin" userId="5b54ce5a-dc89-476f-af33-5abd75d5b1e8" providerId="ADAL" clId="{43B71669-8A80-4333-9349-B258A9296B49}" dt="2024-02-27T17:26:22.621" v="4378" actId="962"/>
          <ac:spMkLst>
            <pc:docMk/>
            <pc:sldMk cId="105158186" sldId="592"/>
            <ac:spMk id="90" creationId="{0A0FC617-D2E6-4FEB-0BBA-75B9CD0ACA92}"/>
          </ac:spMkLst>
        </pc:spChg>
        <pc:spChg chg="mod modVis">
          <ac:chgData name="Bullinger, Marvin" userId="5b54ce5a-dc89-476f-af33-5abd75d5b1e8" providerId="ADAL" clId="{43B71669-8A80-4333-9349-B258A9296B49}" dt="2024-02-27T17:26:22.621" v="4379" actId="962"/>
          <ac:spMkLst>
            <pc:docMk/>
            <pc:sldMk cId="105158186" sldId="592"/>
            <ac:spMk id="91" creationId="{7B5E45A5-A338-1EF3-B12C-39536007A486}"/>
          </ac:spMkLst>
        </pc:spChg>
        <pc:spChg chg="mod modVis">
          <ac:chgData name="Bullinger, Marvin" userId="5b54ce5a-dc89-476f-af33-5abd75d5b1e8" providerId="ADAL" clId="{43B71669-8A80-4333-9349-B258A9296B49}" dt="2024-02-27T17:26:22.621" v="4380" actId="962"/>
          <ac:spMkLst>
            <pc:docMk/>
            <pc:sldMk cId="105158186" sldId="592"/>
            <ac:spMk id="92" creationId="{62D8F1EE-FED9-0A21-3030-5E2E472ED80A}"/>
          </ac:spMkLst>
        </pc:spChg>
        <pc:spChg chg="mod modVis">
          <ac:chgData name="Bullinger, Marvin" userId="5b54ce5a-dc89-476f-af33-5abd75d5b1e8" providerId="ADAL" clId="{43B71669-8A80-4333-9349-B258A9296B49}" dt="2024-02-27T17:26:22.638" v="4381" actId="962"/>
          <ac:spMkLst>
            <pc:docMk/>
            <pc:sldMk cId="105158186" sldId="592"/>
            <ac:spMk id="93" creationId="{847B41E3-277D-905C-9086-91469A9BE7E4}"/>
          </ac:spMkLst>
        </pc:spChg>
        <pc:spChg chg="mod modVis">
          <ac:chgData name="Bullinger, Marvin" userId="5b54ce5a-dc89-476f-af33-5abd75d5b1e8" providerId="ADAL" clId="{43B71669-8A80-4333-9349-B258A9296B49}" dt="2024-02-27T17:26:22.638" v="4382" actId="962"/>
          <ac:spMkLst>
            <pc:docMk/>
            <pc:sldMk cId="105158186" sldId="592"/>
            <ac:spMk id="94" creationId="{93C51101-D054-0406-A15F-88AA2968BE83}"/>
          </ac:spMkLst>
        </pc:spChg>
        <pc:spChg chg="mod modVis">
          <ac:chgData name="Bullinger, Marvin" userId="5b54ce5a-dc89-476f-af33-5abd75d5b1e8" providerId="ADAL" clId="{43B71669-8A80-4333-9349-B258A9296B49}" dt="2024-02-27T17:26:22.654" v="4383" actId="962"/>
          <ac:spMkLst>
            <pc:docMk/>
            <pc:sldMk cId="105158186" sldId="592"/>
            <ac:spMk id="95" creationId="{E88468C3-6A74-3EDB-FDBB-2D4B1E1BF28A}"/>
          </ac:spMkLst>
        </pc:spChg>
        <pc:spChg chg="mod modVis">
          <ac:chgData name="Bullinger, Marvin" userId="5b54ce5a-dc89-476f-af33-5abd75d5b1e8" providerId="ADAL" clId="{43B71669-8A80-4333-9349-B258A9296B49}" dt="2024-02-27T17:26:22.658" v="4384" actId="962"/>
          <ac:spMkLst>
            <pc:docMk/>
            <pc:sldMk cId="105158186" sldId="592"/>
            <ac:spMk id="96" creationId="{4B1D8456-16C6-7E09-8C34-AB74AD245755}"/>
          </ac:spMkLst>
        </pc:spChg>
        <pc:spChg chg="mod modVis">
          <ac:chgData name="Bullinger, Marvin" userId="5b54ce5a-dc89-476f-af33-5abd75d5b1e8" providerId="ADAL" clId="{43B71669-8A80-4333-9349-B258A9296B49}" dt="2024-02-27T17:26:22.664" v="4385" actId="962"/>
          <ac:spMkLst>
            <pc:docMk/>
            <pc:sldMk cId="105158186" sldId="592"/>
            <ac:spMk id="97" creationId="{19FDB2DC-7CDE-5B47-D0E7-F076C8293754}"/>
          </ac:spMkLst>
        </pc:spChg>
        <pc:spChg chg="mod modVis">
          <ac:chgData name="Bullinger, Marvin" userId="5b54ce5a-dc89-476f-af33-5abd75d5b1e8" providerId="ADAL" clId="{43B71669-8A80-4333-9349-B258A9296B49}" dt="2024-02-27T17:26:22.664" v="4386" actId="962"/>
          <ac:spMkLst>
            <pc:docMk/>
            <pc:sldMk cId="105158186" sldId="592"/>
            <ac:spMk id="98" creationId="{4B6B75E6-F812-4163-F907-1417F915886B}"/>
          </ac:spMkLst>
        </pc:spChg>
        <pc:spChg chg="mod modVis">
          <ac:chgData name="Bullinger, Marvin" userId="5b54ce5a-dc89-476f-af33-5abd75d5b1e8" providerId="ADAL" clId="{43B71669-8A80-4333-9349-B258A9296B49}" dt="2024-02-27T17:26:22.680" v="4387" actId="962"/>
          <ac:spMkLst>
            <pc:docMk/>
            <pc:sldMk cId="105158186" sldId="592"/>
            <ac:spMk id="99" creationId="{5950FEE9-0389-7A77-7B15-6594A365F8FF}"/>
          </ac:spMkLst>
        </pc:spChg>
        <pc:spChg chg="mod modVis">
          <ac:chgData name="Bullinger, Marvin" userId="5b54ce5a-dc89-476f-af33-5abd75d5b1e8" providerId="ADAL" clId="{43B71669-8A80-4333-9349-B258A9296B49}" dt="2024-02-27T17:26:22.680" v="4388" actId="962"/>
          <ac:spMkLst>
            <pc:docMk/>
            <pc:sldMk cId="105158186" sldId="592"/>
            <ac:spMk id="100" creationId="{DA3D99C2-BFC8-42B5-898F-FB1759297920}"/>
          </ac:spMkLst>
        </pc:spChg>
        <pc:spChg chg="mod modVis">
          <ac:chgData name="Bullinger, Marvin" userId="5b54ce5a-dc89-476f-af33-5abd75d5b1e8" providerId="ADAL" clId="{43B71669-8A80-4333-9349-B258A9296B49}" dt="2024-02-27T17:26:22.696" v="4389" actId="962"/>
          <ac:spMkLst>
            <pc:docMk/>
            <pc:sldMk cId="105158186" sldId="592"/>
            <ac:spMk id="101" creationId="{805E97FE-A578-EE64-094D-D6DEBB318E0C}"/>
          </ac:spMkLst>
        </pc:spChg>
        <pc:spChg chg="mod modVis">
          <ac:chgData name="Bullinger, Marvin" userId="5b54ce5a-dc89-476f-af33-5abd75d5b1e8" providerId="ADAL" clId="{43B71669-8A80-4333-9349-B258A9296B49}" dt="2024-02-27T17:26:22.698" v="4390" actId="962"/>
          <ac:spMkLst>
            <pc:docMk/>
            <pc:sldMk cId="105158186" sldId="592"/>
            <ac:spMk id="102" creationId="{27D6CEAA-1320-3265-81B1-273FDBD83C59}"/>
          </ac:spMkLst>
        </pc:spChg>
        <pc:spChg chg="mod modVis">
          <ac:chgData name="Bullinger, Marvin" userId="5b54ce5a-dc89-476f-af33-5abd75d5b1e8" providerId="ADAL" clId="{43B71669-8A80-4333-9349-B258A9296B49}" dt="2024-02-27T17:26:22.698" v="4391" actId="962"/>
          <ac:spMkLst>
            <pc:docMk/>
            <pc:sldMk cId="105158186" sldId="592"/>
            <ac:spMk id="103" creationId="{4A26EB7E-E642-D01A-90C0-5B46C19EBADC}"/>
          </ac:spMkLst>
        </pc:spChg>
        <pc:spChg chg="mod modVis">
          <ac:chgData name="Bullinger, Marvin" userId="5b54ce5a-dc89-476f-af33-5abd75d5b1e8" providerId="ADAL" clId="{43B71669-8A80-4333-9349-B258A9296B49}" dt="2024-02-27T17:26:22.717" v="4392" actId="962"/>
          <ac:spMkLst>
            <pc:docMk/>
            <pc:sldMk cId="105158186" sldId="592"/>
            <ac:spMk id="104" creationId="{8DD95030-85AB-9A71-C70D-7F66C1932FC7}"/>
          </ac:spMkLst>
        </pc:spChg>
        <pc:spChg chg="mod modVis">
          <ac:chgData name="Bullinger, Marvin" userId="5b54ce5a-dc89-476f-af33-5abd75d5b1e8" providerId="ADAL" clId="{43B71669-8A80-4333-9349-B258A9296B49}" dt="2024-02-27T17:26:22.717" v="4393" actId="962"/>
          <ac:spMkLst>
            <pc:docMk/>
            <pc:sldMk cId="105158186" sldId="592"/>
            <ac:spMk id="105" creationId="{A5E03D62-07CA-F8E2-7A21-FD0B14011C76}"/>
          </ac:spMkLst>
        </pc:spChg>
        <pc:spChg chg="mod modVis">
          <ac:chgData name="Bullinger, Marvin" userId="5b54ce5a-dc89-476f-af33-5abd75d5b1e8" providerId="ADAL" clId="{43B71669-8A80-4333-9349-B258A9296B49}" dt="2024-02-27T17:26:22.733" v="4394" actId="962"/>
          <ac:spMkLst>
            <pc:docMk/>
            <pc:sldMk cId="105158186" sldId="592"/>
            <ac:spMk id="106" creationId="{27C09433-63D4-1BAF-C118-A43BB068063A}"/>
          </ac:spMkLst>
        </pc:spChg>
        <pc:spChg chg="mod modVis">
          <ac:chgData name="Bullinger, Marvin" userId="5b54ce5a-dc89-476f-af33-5abd75d5b1e8" providerId="ADAL" clId="{43B71669-8A80-4333-9349-B258A9296B49}" dt="2024-02-27T17:26:22.733" v="4395" actId="962"/>
          <ac:spMkLst>
            <pc:docMk/>
            <pc:sldMk cId="105158186" sldId="592"/>
            <ac:spMk id="107" creationId="{2572BE0F-BCEA-03E6-A96D-1884696C8341}"/>
          </ac:spMkLst>
        </pc:spChg>
        <pc:spChg chg="mod modVis">
          <ac:chgData name="Bullinger, Marvin" userId="5b54ce5a-dc89-476f-af33-5abd75d5b1e8" providerId="ADAL" clId="{43B71669-8A80-4333-9349-B258A9296B49}" dt="2024-02-27T17:26:22.748" v="4396" actId="962"/>
          <ac:spMkLst>
            <pc:docMk/>
            <pc:sldMk cId="105158186" sldId="592"/>
            <ac:spMk id="108" creationId="{A080C7B6-88B4-E2CA-D707-70D0CD3CF844}"/>
          </ac:spMkLst>
        </pc:spChg>
        <pc:spChg chg="mod modVis">
          <ac:chgData name="Bullinger, Marvin" userId="5b54ce5a-dc89-476f-af33-5abd75d5b1e8" providerId="ADAL" clId="{43B71669-8A80-4333-9349-B258A9296B49}" dt="2024-02-27T17:26:22.748" v="4397" actId="962"/>
          <ac:spMkLst>
            <pc:docMk/>
            <pc:sldMk cId="105158186" sldId="592"/>
            <ac:spMk id="109" creationId="{BD6C7678-B065-202F-F8A1-270A868B7B87}"/>
          </ac:spMkLst>
        </pc:spChg>
        <pc:spChg chg="mod modVis">
          <ac:chgData name="Bullinger, Marvin" userId="5b54ce5a-dc89-476f-af33-5abd75d5b1e8" providerId="ADAL" clId="{43B71669-8A80-4333-9349-B258A9296B49}" dt="2024-02-27T17:26:22.764" v="4398" actId="962"/>
          <ac:spMkLst>
            <pc:docMk/>
            <pc:sldMk cId="105158186" sldId="592"/>
            <ac:spMk id="110" creationId="{CABF9DB6-0579-AC28-C9EB-DA9011D77E5E}"/>
          </ac:spMkLst>
        </pc:spChg>
        <pc:spChg chg="mod modVis">
          <ac:chgData name="Bullinger, Marvin" userId="5b54ce5a-dc89-476f-af33-5abd75d5b1e8" providerId="ADAL" clId="{43B71669-8A80-4333-9349-B258A9296B49}" dt="2024-02-27T17:26:22.780" v="4399" actId="962"/>
          <ac:spMkLst>
            <pc:docMk/>
            <pc:sldMk cId="105158186" sldId="592"/>
            <ac:spMk id="111" creationId="{B4074470-E6CE-0BC5-D7CF-A9F7E3873484}"/>
          </ac:spMkLst>
        </pc:spChg>
        <pc:spChg chg="mod modVis">
          <ac:chgData name="Bullinger, Marvin" userId="5b54ce5a-dc89-476f-af33-5abd75d5b1e8" providerId="ADAL" clId="{43B71669-8A80-4333-9349-B258A9296B49}" dt="2024-02-27T17:26:22.788" v="4400" actId="962"/>
          <ac:spMkLst>
            <pc:docMk/>
            <pc:sldMk cId="105158186" sldId="592"/>
            <ac:spMk id="112" creationId="{4E21583C-4E87-76B6-0718-FEB5B47EA6FB}"/>
          </ac:spMkLst>
        </pc:spChg>
        <pc:spChg chg="mod modVis">
          <ac:chgData name="Bullinger, Marvin" userId="5b54ce5a-dc89-476f-af33-5abd75d5b1e8" providerId="ADAL" clId="{43B71669-8A80-4333-9349-B258A9296B49}" dt="2024-02-27T17:26:22.793" v="4401" actId="962"/>
          <ac:spMkLst>
            <pc:docMk/>
            <pc:sldMk cId="105158186" sldId="592"/>
            <ac:spMk id="113" creationId="{87A6BD1F-E8BA-CFD1-E7DA-D63396BACD4E}"/>
          </ac:spMkLst>
        </pc:spChg>
        <pc:spChg chg="mod modVis">
          <ac:chgData name="Bullinger, Marvin" userId="5b54ce5a-dc89-476f-af33-5abd75d5b1e8" providerId="ADAL" clId="{43B71669-8A80-4333-9349-B258A9296B49}" dt="2024-02-27T17:26:22.801" v="4402" actId="962"/>
          <ac:spMkLst>
            <pc:docMk/>
            <pc:sldMk cId="105158186" sldId="592"/>
            <ac:spMk id="114" creationId="{44A22C91-79C0-F153-F85A-A5C0F5A05FA7}"/>
          </ac:spMkLst>
        </pc:spChg>
        <pc:spChg chg="mod modVis">
          <ac:chgData name="Bullinger, Marvin" userId="5b54ce5a-dc89-476f-af33-5abd75d5b1e8" providerId="ADAL" clId="{43B71669-8A80-4333-9349-B258A9296B49}" dt="2024-02-27T17:26:22.801" v="4403" actId="962"/>
          <ac:spMkLst>
            <pc:docMk/>
            <pc:sldMk cId="105158186" sldId="592"/>
            <ac:spMk id="115" creationId="{1422C27B-97BB-5060-7179-4246FAE46F0D}"/>
          </ac:spMkLst>
        </pc:spChg>
        <pc:spChg chg="mod modVis">
          <ac:chgData name="Bullinger, Marvin" userId="5b54ce5a-dc89-476f-af33-5abd75d5b1e8" providerId="ADAL" clId="{43B71669-8A80-4333-9349-B258A9296B49}" dt="2024-02-27T17:26:22.817" v="4404" actId="962"/>
          <ac:spMkLst>
            <pc:docMk/>
            <pc:sldMk cId="105158186" sldId="592"/>
            <ac:spMk id="116" creationId="{0EF903D6-30A5-6C4C-FAEA-1F0A3B6AFE84}"/>
          </ac:spMkLst>
        </pc:spChg>
        <pc:spChg chg="mod modVis">
          <ac:chgData name="Bullinger, Marvin" userId="5b54ce5a-dc89-476f-af33-5abd75d5b1e8" providerId="ADAL" clId="{43B71669-8A80-4333-9349-B258A9296B49}" dt="2024-02-27T17:26:22.834" v="4405" actId="962"/>
          <ac:spMkLst>
            <pc:docMk/>
            <pc:sldMk cId="105158186" sldId="592"/>
            <ac:spMk id="117" creationId="{C2DA997D-EDE5-35DB-C338-6E10E93C71E1}"/>
          </ac:spMkLst>
        </pc:spChg>
        <pc:cxnChg chg="del">
          <ac:chgData name="Bullinger, Marvin" userId="5b54ce5a-dc89-476f-af33-5abd75d5b1e8" providerId="ADAL" clId="{43B71669-8A80-4333-9349-B258A9296B49}" dt="2024-02-27T17:26:25.513" v="5660" actId="478"/>
          <ac:cxnSpMkLst>
            <pc:docMk/>
            <pc:sldMk cId="105158186" sldId="592"/>
            <ac:cxnSpMk id="43" creationId="{D533BE58-B0D1-0719-4158-98A666416C40}"/>
          </ac:cxnSpMkLst>
        </pc:cxnChg>
      </pc:sldChg>
      <pc:sldChg chg="del">
        <pc:chgData name="Bullinger, Marvin" userId="5b54ce5a-dc89-476f-af33-5abd75d5b1e8" providerId="ADAL" clId="{43B71669-8A80-4333-9349-B258A9296B49}" dt="2024-02-27T16:46:20.969" v="1795" actId="2696"/>
        <pc:sldMkLst>
          <pc:docMk/>
          <pc:sldMk cId="408257011" sldId="592"/>
        </pc:sldMkLst>
      </pc:sldChg>
      <pc:sldChg chg="addSp add del">
        <pc:chgData name="Bullinger, Marvin" userId="5b54ce5a-dc89-476f-af33-5abd75d5b1e8" providerId="ADAL" clId="{43B71669-8A80-4333-9349-B258A9296B49}" dt="2024-02-27T16:53:49.050" v="3382"/>
        <pc:sldMkLst>
          <pc:docMk/>
          <pc:sldMk cId="1778971240" sldId="592"/>
        </pc:sldMkLst>
        <pc:spChg chg="add">
          <ac:chgData name="Bullinger, Marvin" userId="5b54ce5a-dc89-476f-af33-5abd75d5b1e8" providerId="ADAL" clId="{43B71669-8A80-4333-9349-B258A9296B49}" dt="2024-02-27T16:53:49.050" v="3382"/>
          <ac:spMkLst>
            <pc:docMk/>
            <pc:sldMk cId="1778971240" sldId="592"/>
            <ac:spMk id="42" creationId="{7ADA1772-3501-8FB5-F31D-566384E5C602}"/>
          </ac:spMkLst>
        </pc:spChg>
        <pc:spChg chg="add">
          <ac:chgData name="Bullinger, Marvin" userId="5b54ce5a-dc89-476f-af33-5abd75d5b1e8" providerId="ADAL" clId="{43B71669-8A80-4333-9349-B258A9296B49}" dt="2024-02-27T16:53:49.050" v="3382"/>
          <ac:spMkLst>
            <pc:docMk/>
            <pc:sldMk cId="1778971240" sldId="592"/>
            <ac:spMk id="44" creationId="{4E1872C7-E864-DDC2-78F2-763648D8228A}"/>
          </ac:spMkLst>
        </pc:spChg>
        <pc:cxnChg chg="add">
          <ac:chgData name="Bullinger, Marvin" userId="5b54ce5a-dc89-476f-af33-5abd75d5b1e8" providerId="ADAL" clId="{43B71669-8A80-4333-9349-B258A9296B49}" dt="2024-02-27T16:53:49.050" v="3382"/>
          <ac:cxnSpMkLst>
            <pc:docMk/>
            <pc:sldMk cId="1778971240" sldId="592"/>
            <ac:cxnSpMk id="43" creationId="{0567B7CF-94A7-B660-970B-A9D3F5DB90C4}"/>
          </ac:cxnSpMkLst>
        </pc:cxnChg>
        <pc:cxnChg chg="add">
          <ac:chgData name="Bullinger, Marvin" userId="5b54ce5a-dc89-476f-af33-5abd75d5b1e8" providerId="ADAL" clId="{43B71669-8A80-4333-9349-B258A9296B49}" dt="2024-02-27T16:53:49.050" v="3382"/>
          <ac:cxnSpMkLst>
            <pc:docMk/>
            <pc:sldMk cId="1778971240" sldId="592"/>
            <ac:cxnSpMk id="45" creationId="{911EEB3D-D33B-1F2B-16CF-EC62272EF2D7}"/>
          </ac:cxnSpMkLst>
        </pc:cxnChg>
      </pc:sldChg>
      <pc:sldChg chg="del">
        <pc:chgData name="Bullinger, Marvin" userId="5b54ce5a-dc89-476f-af33-5abd75d5b1e8" providerId="ADAL" clId="{43B71669-8A80-4333-9349-B258A9296B49}" dt="2024-02-27T16:46:20.969" v="1794" actId="2696"/>
        <pc:sldMkLst>
          <pc:docMk/>
          <pc:sldMk cId="137798345" sldId="593"/>
        </pc:sldMkLst>
      </pc:sldChg>
      <pc:sldChg chg="addSp add del">
        <pc:chgData name="Bullinger, Marvin" userId="5b54ce5a-dc89-476f-af33-5abd75d5b1e8" providerId="ADAL" clId="{43B71669-8A80-4333-9349-B258A9296B49}" dt="2024-02-27T16:53:49.050" v="3382"/>
        <pc:sldMkLst>
          <pc:docMk/>
          <pc:sldMk cId="1252089272" sldId="593"/>
        </pc:sldMkLst>
        <pc:spChg chg="add">
          <ac:chgData name="Bullinger, Marvin" userId="5b54ce5a-dc89-476f-af33-5abd75d5b1e8" providerId="ADAL" clId="{43B71669-8A80-4333-9349-B258A9296B49}" dt="2024-02-27T16:53:49.050" v="3382"/>
          <ac:spMkLst>
            <pc:docMk/>
            <pc:sldMk cId="1252089272" sldId="593"/>
            <ac:spMk id="42" creationId="{170A9FBC-D0BE-C507-04D9-D6C24C4E9191}"/>
          </ac:spMkLst>
        </pc:spChg>
        <pc:spChg chg="add">
          <ac:chgData name="Bullinger, Marvin" userId="5b54ce5a-dc89-476f-af33-5abd75d5b1e8" providerId="ADAL" clId="{43B71669-8A80-4333-9349-B258A9296B49}" dt="2024-02-27T16:53:49.050" v="3382"/>
          <ac:spMkLst>
            <pc:docMk/>
            <pc:sldMk cId="1252089272" sldId="593"/>
            <ac:spMk id="44" creationId="{F26B5C16-298B-58B4-41DC-479DB8A06197}"/>
          </ac:spMkLst>
        </pc:spChg>
        <pc:cxnChg chg="add">
          <ac:chgData name="Bullinger, Marvin" userId="5b54ce5a-dc89-476f-af33-5abd75d5b1e8" providerId="ADAL" clId="{43B71669-8A80-4333-9349-B258A9296B49}" dt="2024-02-27T16:53:49.050" v="3382"/>
          <ac:cxnSpMkLst>
            <pc:docMk/>
            <pc:sldMk cId="1252089272" sldId="593"/>
            <ac:cxnSpMk id="43" creationId="{D914798D-EBC8-BB32-1737-A0F452449B64}"/>
          </ac:cxnSpMkLst>
        </pc:cxnChg>
        <pc:cxnChg chg="add">
          <ac:chgData name="Bullinger, Marvin" userId="5b54ce5a-dc89-476f-af33-5abd75d5b1e8" providerId="ADAL" clId="{43B71669-8A80-4333-9349-B258A9296B49}" dt="2024-02-27T16:53:49.050" v="3382"/>
          <ac:cxnSpMkLst>
            <pc:docMk/>
            <pc:sldMk cId="1252089272" sldId="593"/>
            <ac:cxnSpMk id="45" creationId="{F276167F-D10F-B938-B387-782E1D0AADAA}"/>
          </ac:cxnSpMkLst>
        </pc:cxnChg>
      </pc:sldChg>
      <pc:sldChg chg="del">
        <pc:chgData name="Bullinger, Marvin" userId="5b54ce5a-dc89-476f-af33-5abd75d5b1e8" providerId="ADAL" clId="{43B71669-8A80-4333-9349-B258A9296B49}" dt="2024-02-27T17:26:25.513" v="5658" actId="2696"/>
        <pc:sldMkLst>
          <pc:docMk/>
          <pc:sldMk cId="2213773119" sldId="593"/>
        </pc:sldMkLst>
      </pc:sldChg>
      <pc:sldChg chg="del">
        <pc:chgData name="Bullinger, Marvin" userId="5b54ce5a-dc89-476f-af33-5abd75d5b1e8" providerId="ADAL" clId="{43B71669-8A80-4333-9349-B258A9296B49}" dt="2024-02-27T17:26:25.513" v="5657" actId="2696"/>
        <pc:sldMkLst>
          <pc:docMk/>
          <pc:sldMk cId="2287144949" sldId="594"/>
        </pc:sldMkLst>
      </pc:sldChg>
      <pc:sldChg chg="addSp delSp modSp mod replTag">
        <pc:chgData name="Bullinger, Marvin" userId="5b54ce5a-dc89-476f-af33-5abd75d5b1e8" providerId="ADAL" clId="{43B71669-8A80-4333-9349-B258A9296B49}" dt="2024-02-27T17:27:37.834" v="7503"/>
        <pc:sldMkLst>
          <pc:docMk/>
          <pc:sldMk cId="4264639648" sldId="595"/>
        </pc:sldMkLst>
        <pc:spChg chg="del">
          <ac:chgData name="Bullinger, Marvin" userId="5b54ce5a-dc89-476f-af33-5abd75d5b1e8" providerId="ADAL" clId="{43B71669-8A80-4333-9349-B258A9296B49}" dt="2024-02-27T17:26:23.266" v="4627" actId="478"/>
          <ac:spMkLst>
            <pc:docMk/>
            <pc:sldMk cId="4264639648" sldId="595"/>
            <ac:spMk id="2" creationId="{2A0AFDF8-8E5E-50AA-5720-AC1DA19B3A97}"/>
          </ac:spMkLst>
        </pc:spChg>
        <pc:spChg chg="del">
          <ac:chgData name="Bullinger, Marvin" userId="5b54ce5a-dc89-476f-af33-5abd75d5b1e8" providerId="ADAL" clId="{43B71669-8A80-4333-9349-B258A9296B49}" dt="2024-02-27T17:26:23.266" v="4626" actId="478"/>
          <ac:spMkLst>
            <pc:docMk/>
            <pc:sldMk cId="4264639648" sldId="595"/>
            <ac:spMk id="3" creationId="{C371F271-8412-7528-BABC-B3B1DEF2C124}"/>
          </ac:spMkLst>
        </pc:spChg>
        <pc:spChg chg="del">
          <ac:chgData name="Bullinger, Marvin" userId="5b54ce5a-dc89-476f-af33-5abd75d5b1e8" providerId="ADAL" clId="{43B71669-8A80-4333-9349-B258A9296B49}" dt="2024-02-27T17:26:23.266" v="4625" actId="478"/>
          <ac:spMkLst>
            <pc:docMk/>
            <pc:sldMk cId="4264639648" sldId="595"/>
            <ac:spMk id="4" creationId="{0A09BDBC-DC35-25DB-D503-6F7B81AC9B4F}"/>
          </ac:spMkLst>
        </pc:spChg>
        <pc:spChg chg="del">
          <ac:chgData name="Bullinger, Marvin" userId="5b54ce5a-dc89-476f-af33-5abd75d5b1e8" providerId="ADAL" clId="{43B71669-8A80-4333-9349-B258A9296B49}" dt="2024-02-27T17:26:23.266" v="4624" actId="478"/>
          <ac:spMkLst>
            <pc:docMk/>
            <pc:sldMk cId="4264639648" sldId="595"/>
            <ac:spMk id="5" creationId="{453CF54E-6652-4DA8-775F-A9BA6A1A02D9}"/>
          </ac:spMkLst>
        </pc:spChg>
        <pc:spChg chg="del">
          <ac:chgData name="Bullinger, Marvin" userId="5b54ce5a-dc89-476f-af33-5abd75d5b1e8" providerId="ADAL" clId="{43B71669-8A80-4333-9349-B258A9296B49}" dt="2024-02-27T17:26:23.266" v="4623" actId="478"/>
          <ac:spMkLst>
            <pc:docMk/>
            <pc:sldMk cId="4264639648" sldId="595"/>
            <ac:spMk id="6" creationId="{8F753985-6FC2-61FD-DCF7-2E6724E843F7}"/>
          </ac:spMkLst>
        </pc:spChg>
        <pc:spChg chg="del">
          <ac:chgData name="Bullinger, Marvin" userId="5b54ce5a-dc89-476f-af33-5abd75d5b1e8" providerId="ADAL" clId="{43B71669-8A80-4333-9349-B258A9296B49}" dt="2024-02-27T17:26:23.266" v="4622" actId="478"/>
          <ac:spMkLst>
            <pc:docMk/>
            <pc:sldMk cId="4264639648" sldId="595"/>
            <ac:spMk id="7" creationId="{5B5EAD02-F3A3-C12D-5893-0BD37169355D}"/>
          </ac:spMkLst>
        </pc:spChg>
        <pc:spChg chg="del">
          <ac:chgData name="Bullinger, Marvin" userId="5b54ce5a-dc89-476f-af33-5abd75d5b1e8" providerId="ADAL" clId="{43B71669-8A80-4333-9349-B258A9296B49}" dt="2024-02-27T17:26:23.266" v="4621" actId="478"/>
          <ac:spMkLst>
            <pc:docMk/>
            <pc:sldMk cId="4264639648" sldId="595"/>
            <ac:spMk id="8" creationId="{1977EF0F-519D-19FB-B54D-910A33B734D5}"/>
          </ac:spMkLst>
        </pc:spChg>
        <pc:spChg chg="del">
          <ac:chgData name="Bullinger, Marvin" userId="5b54ce5a-dc89-476f-af33-5abd75d5b1e8" providerId="ADAL" clId="{43B71669-8A80-4333-9349-B258A9296B49}" dt="2024-02-27T17:26:23.266" v="4620" actId="478"/>
          <ac:spMkLst>
            <pc:docMk/>
            <pc:sldMk cId="4264639648" sldId="595"/>
            <ac:spMk id="9" creationId="{1D463259-63F0-6352-2F31-9727AC9AE2A2}"/>
          </ac:spMkLst>
        </pc:spChg>
        <pc:spChg chg="del">
          <ac:chgData name="Bullinger, Marvin" userId="5b54ce5a-dc89-476f-af33-5abd75d5b1e8" providerId="ADAL" clId="{43B71669-8A80-4333-9349-B258A9296B49}" dt="2024-02-27T17:26:23.266" v="4619" actId="478"/>
          <ac:spMkLst>
            <pc:docMk/>
            <pc:sldMk cId="4264639648" sldId="595"/>
            <ac:spMk id="10" creationId="{C0CA8758-5588-F47E-CB1A-0CCB7BE6641E}"/>
          </ac:spMkLst>
        </pc:spChg>
        <pc:spChg chg="del">
          <ac:chgData name="Bullinger, Marvin" userId="5b54ce5a-dc89-476f-af33-5abd75d5b1e8" providerId="ADAL" clId="{43B71669-8A80-4333-9349-B258A9296B49}" dt="2024-02-27T17:26:23.266" v="4618" actId="478"/>
          <ac:spMkLst>
            <pc:docMk/>
            <pc:sldMk cId="4264639648" sldId="595"/>
            <ac:spMk id="11" creationId="{F6743D6B-CA66-D3B8-EE37-37B059669001}"/>
          </ac:spMkLst>
        </pc:spChg>
        <pc:spChg chg="del">
          <ac:chgData name="Bullinger, Marvin" userId="5b54ce5a-dc89-476f-af33-5abd75d5b1e8" providerId="ADAL" clId="{43B71669-8A80-4333-9349-B258A9296B49}" dt="2024-02-27T17:26:23.266" v="4617" actId="478"/>
          <ac:spMkLst>
            <pc:docMk/>
            <pc:sldMk cId="4264639648" sldId="595"/>
            <ac:spMk id="12" creationId="{BE4D035B-5F02-80DB-3105-BFA99FFE07E3}"/>
          </ac:spMkLst>
        </pc:spChg>
        <pc:spChg chg="del">
          <ac:chgData name="Bullinger, Marvin" userId="5b54ce5a-dc89-476f-af33-5abd75d5b1e8" providerId="ADAL" clId="{43B71669-8A80-4333-9349-B258A9296B49}" dt="2024-02-27T17:26:23.266" v="4616" actId="478"/>
          <ac:spMkLst>
            <pc:docMk/>
            <pc:sldMk cId="4264639648" sldId="595"/>
            <ac:spMk id="13" creationId="{E7E3509A-E55E-2DB6-812A-9CDB61AF0C99}"/>
          </ac:spMkLst>
        </pc:spChg>
        <pc:spChg chg="del">
          <ac:chgData name="Bullinger, Marvin" userId="5b54ce5a-dc89-476f-af33-5abd75d5b1e8" providerId="ADAL" clId="{43B71669-8A80-4333-9349-B258A9296B49}" dt="2024-02-27T17:26:23.266" v="4615" actId="478"/>
          <ac:spMkLst>
            <pc:docMk/>
            <pc:sldMk cId="4264639648" sldId="595"/>
            <ac:spMk id="14" creationId="{2E4C2B38-6D94-D3E0-F0E0-462CB0ADD9F2}"/>
          </ac:spMkLst>
        </pc:spChg>
        <pc:spChg chg="del">
          <ac:chgData name="Bullinger, Marvin" userId="5b54ce5a-dc89-476f-af33-5abd75d5b1e8" providerId="ADAL" clId="{43B71669-8A80-4333-9349-B258A9296B49}" dt="2024-02-27T17:26:23.264" v="4614" actId="478"/>
          <ac:spMkLst>
            <pc:docMk/>
            <pc:sldMk cId="4264639648" sldId="595"/>
            <ac:spMk id="15" creationId="{3842E43E-347F-E6AB-137F-12230C201A62}"/>
          </ac:spMkLst>
        </pc:spChg>
        <pc:spChg chg="del">
          <ac:chgData name="Bullinger, Marvin" userId="5b54ce5a-dc89-476f-af33-5abd75d5b1e8" providerId="ADAL" clId="{43B71669-8A80-4333-9349-B258A9296B49}" dt="2024-02-27T17:26:23.264" v="4613" actId="478"/>
          <ac:spMkLst>
            <pc:docMk/>
            <pc:sldMk cId="4264639648" sldId="595"/>
            <ac:spMk id="16" creationId="{E7811354-36DB-C101-77FD-AF7A233E7B50}"/>
          </ac:spMkLst>
        </pc:spChg>
        <pc:spChg chg="del mod ord replST">
          <ac:chgData name="Bullinger, Marvin" userId="5b54ce5a-dc89-476f-af33-5abd75d5b1e8" providerId="ADAL" clId="{43B71669-8A80-4333-9349-B258A9296B49}" dt="2024-02-27T17:26:59.234" v="5922" actId="478"/>
          <ac:spMkLst>
            <pc:docMk/>
            <pc:sldMk cId="4264639648" sldId="595"/>
            <ac:spMk id="17" creationId="{E5C5D51E-4C10-3FC7-C45A-6D6BD6FE7214}"/>
          </ac:spMkLst>
        </pc:spChg>
        <pc:spChg chg="del">
          <ac:chgData name="Bullinger, Marvin" userId="5b54ce5a-dc89-476f-af33-5abd75d5b1e8" providerId="ADAL" clId="{43B71669-8A80-4333-9349-B258A9296B49}" dt="2024-02-27T17:26:23.264" v="4612" actId="478"/>
          <ac:spMkLst>
            <pc:docMk/>
            <pc:sldMk cId="4264639648" sldId="595"/>
            <ac:spMk id="18" creationId="{763C5175-FA31-96D5-6B69-59571D79FF0A}"/>
          </ac:spMkLst>
        </pc:spChg>
        <pc:spChg chg="del">
          <ac:chgData name="Bullinger, Marvin" userId="5b54ce5a-dc89-476f-af33-5abd75d5b1e8" providerId="ADAL" clId="{43B71669-8A80-4333-9349-B258A9296B49}" dt="2024-02-27T17:26:23.264" v="4611" actId="478"/>
          <ac:spMkLst>
            <pc:docMk/>
            <pc:sldMk cId="4264639648" sldId="595"/>
            <ac:spMk id="19" creationId="{2140222E-CF7A-CD11-1D3A-E0286D28CD9F}"/>
          </ac:spMkLst>
        </pc:spChg>
        <pc:spChg chg="del">
          <ac:chgData name="Bullinger, Marvin" userId="5b54ce5a-dc89-476f-af33-5abd75d5b1e8" providerId="ADAL" clId="{43B71669-8A80-4333-9349-B258A9296B49}" dt="2024-02-27T17:26:23.260" v="4610" actId="478"/>
          <ac:spMkLst>
            <pc:docMk/>
            <pc:sldMk cId="4264639648" sldId="595"/>
            <ac:spMk id="20" creationId="{4D585ECD-F3CB-0571-8694-B0DAF45A83A4}"/>
          </ac:spMkLst>
        </pc:spChg>
        <pc:spChg chg="del">
          <ac:chgData name="Bullinger, Marvin" userId="5b54ce5a-dc89-476f-af33-5abd75d5b1e8" providerId="ADAL" clId="{43B71669-8A80-4333-9349-B258A9296B49}" dt="2024-02-27T17:26:23.260" v="4609" actId="478"/>
          <ac:spMkLst>
            <pc:docMk/>
            <pc:sldMk cId="4264639648" sldId="595"/>
            <ac:spMk id="21" creationId="{57965ABC-5331-CA56-7201-F9370C1207E5}"/>
          </ac:spMkLst>
        </pc:spChg>
        <pc:spChg chg="del">
          <ac:chgData name="Bullinger, Marvin" userId="5b54ce5a-dc89-476f-af33-5abd75d5b1e8" providerId="ADAL" clId="{43B71669-8A80-4333-9349-B258A9296B49}" dt="2024-02-27T17:26:23.260" v="4608" actId="478"/>
          <ac:spMkLst>
            <pc:docMk/>
            <pc:sldMk cId="4264639648" sldId="595"/>
            <ac:spMk id="22" creationId="{3DFD53BB-BB70-A68D-C652-05A1DB10321B}"/>
          </ac:spMkLst>
        </pc:spChg>
        <pc:spChg chg="del">
          <ac:chgData name="Bullinger, Marvin" userId="5b54ce5a-dc89-476f-af33-5abd75d5b1e8" providerId="ADAL" clId="{43B71669-8A80-4333-9349-B258A9296B49}" dt="2024-02-27T17:26:23.260" v="4607" actId="478"/>
          <ac:spMkLst>
            <pc:docMk/>
            <pc:sldMk cId="4264639648" sldId="595"/>
            <ac:spMk id="23" creationId="{3539D589-458C-686F-3410-A5189BBE8787}"/>
          </ac:spMkLst>
        </pc:spChg>
        <pc:spChg chg="del">
          <ac:chgData name="Bullinger, Marvin" userId="5b54ce5a-dc89-476f-af33-5abd75d5b1e8" providerId="ADAL" clId="{43B71669-8A80-4333-9349-B258A9296B49}" dt="2024-02-27T17:26:23.260" v="4606" actId="478"/>
          <ac:spMkLst>
            <pc:docMk/>
            <pc:sldMk cId="4264639648" sldId="595"/>
            <ac:spMk id="24" creationId="{DAB85803-AC5E-9728-F58E-1334169C5CB8}"/>
          </ac:spMkLst>
        </pc:spChg>
        <pc:spChg chg="del">
          <ac:chgData name="Bullinger, Marvin" userId="5b54ce5a-dc89-476f-af33-5abd75d5b1e8" providerId="ADAL" clId="{43B71669-8A80-4333-9349-B258A9296B49}" dt="2024-02-27T17:26:23.260" v="4605" actId="478"/>
          <ac:spMkLst>
            <pc:docMk/>
            <pc:sldMk cId="4264639648" sldId="595"/>
            <ac:spMk id="25" creationId="{C303676E-BCCA-9E86-EF60-5370270977E1}"/>
          </ac:spMkLst>
        </pc:spChg>
        <pc:spChg chg="del">
          <ac:chgData name="Bullinger, Marvin" userId="5b54ce5a-dc89-476f-af33-5abd75d5b1e8" providerId="ADAL" clId="{43B71669-8A80-4333-9349-B258A9296B49}" dt="2024-02-27T17:26:23.260" v="4604" actId="478"/>
          <ac:spMkLst>
            <pc:docMk/>
            <pc:sldMk cId="4264639648" sldId="595"/>
            <ac:spMk id="28" creationId="{569E9895-47F9-392C-685A-55285B0EE610}"/>
          </ac:spMkLst>
        </pc:spChg>
        <pc:spChg chg="del">
          <ac:chgData name="Bullinger, Marvin" userId="5b54ce5a-dc89-476f-af33-5abd75d5b1e8" providerId="ADAL" clId="{43B71669-8A80-4333-9349-B258A9296B49}" dt="2024-02-27T17:26:23.260" v="4603" actId="478"/>
          <ac:spMkLst>
            <pc:docMk/>
            <pc:sldMk cId="4264639648" sldId="595"/>
            <ac:spMk id="29" creationId="{036051A3-5021-A3E0-6D60-86EFF0DD49B0}"/>
          </ac:spMkLst>
        </pc:spChg>
        <pc:spChg chg="del">
          <ac:chgData name="Bullinger, Marvin" userId="5b54ce5a-dc89-476f-af33-5abd75d5b1e8" providerId="ADAL" clId="{43B71669-8A80-4333-9349-B258A9296B49}" dt="2024-02-27T17:26:23.244" v="4602" actId="478"/>
          <ac:spMkLst>
            <pc:docMk/>
            <pc:sldMk cId="4264639648" sldId="595"/>
            <ac:spMk id="30" creationId="{3DE3BEBF-04AB-7C4C-EF31-389B51DA7292}"/>
          </ac:spMkLst>
        </pc:spChg>
        <pc:spChg chg="del">
          <ac:chgData name="Bullinger, Marvin" userId="5b54ce5a-dc89-476f-af33-5abd75d5b1e8" providerId="ADAL" clId="{43B71669-8A80-4333-9349-B258A9296B49}" dt="2024-02-27T17:26:23.244" v="4601" actId="478"/>
          <ac:spMkLst>
            <pc:docMk/>
            <pc:sldMk cId="4264639648" sldId="595"/>
            <ac:spMk id="31" creationId="{0DEFADA2-EBA1-7F67-E039-A02C5145FAFD}"/>
          </ac:spMkLst>
        </pc:spChg>
        <pc:spChg chg="del">
          <ac:chgData name="Bullinger, Marvin" userId="5b54ce5a-dc89-476f-af33-5abd75d5b1e8" providerId="ADAL" clId="{43B71669-8A80-4333-9349-B258A9296B49}" dt="2024-02-27T17:26:23.244" v="4600" actId="478"/>
          <ac:spMkLst>
            <pc:docMk/>
            <pc:sldMk cId="4264639648" sldId="595"/>
            <ac:spMk id="32" creationId="{54C5A4EE-A4E6-E770-26A6-54236AEBBA9C}"/>
          </ac:spMkLst>
        </pc:spChg>
        <pc:spChg chg="del">
          <ac:chgData name="Bullinger, Marvin" userId="5b54ce5a-dc89-476f-af33-5abd75d5b1e8" providerId="ADAL" clId="{43B71669-8A80-4333-9349-B258A9296B49}" dt="2024-02-27T17:26:23.244" v="4599" actId="478"/>
          <ac:spMkLst>
            <pc:docMk/>
            <pc:sldMk cId="4264639648" sldId="595"/>
            <ac:spMk id="33" creationId="{FA83E8DB-3474-D3F7-18ED-E8852FACE25B}"/>
          </ac:spMkLst>
        </pc:spChg>
        <pc:spChg chg="del">
          <ac:chgData name="Bullinger, Marvin" userId="5b54ce5a-dc89-476f-af33-5abd75d5b1e8" providerId="ADAL" clId="{43B71669-8A80-4333-9349-B258A9296B49}" dt="2024-02-27T17:26:23.244" v="4598" actId="478"/>
          <ac:spMkLst>
            <pc:docMk/>
            <pc:sldMk cId="4264639648" sldId="595"/>
            <ac:spMk id="34" creationId="{33E6B01A-0CF6-199A-75AF-3E2F43D40D0F}"/>
          </ac:spMkLst>
        </pc:spChg>
        <pc:spChg chg="del">
          <ac:chgData name="Bullinger, Marvin" userId="5b54ce5a-dc89-476f-af33-5abd75d5b1e8" providerId="ADAL" clId="{43B71669-8A80-4333-9349-B258A9296B49}" dt="2024-02-27T17:26:23.244" v="4597" actId="478"/>
          <ac:spMkLst>
            <pc:docMk/>
            <pc:sldMk cId="4264639648" sldId="595"/>
            <ac:spMk id="35" creationId="{5C86CE18-291F-4C2A-1451-DBBB7AF19716}"/>
          </ac:spMkLst>
        </pc:spChg>
        <pc:spChg chg="del">
          <ac:chgData name="Bullinger, Marvin" userId="5b54ce5a-dc89-476f-af33-5abd75d5b1e8" providerId="ADAL" clId="{43B71669-8A80-4333-9349-B258A9296B49}" dt="2024-02-27T17:26:23.244" v="4596" actId="478"/>
          <ac:spMkLst>
            <pc:docMk/>
            <pc:sldMk cId="4264639648" sldId="595"/>
            <ac:spMk id="36" creationId="{846357B2-E93B-194F-AA69-C332AA5A8452}"/>
          </ac:spMkLst>
        </pc:spChg>
        <pc:spChg chg="del">
          <ac:chgData name="Bullinger, Marvin" userId="5b54ce5a-dc89-476f-af33-5abd75d5b1e8" providerId="ADAL" clId="{43B71669-8A80-4333-9349-B258A9296B49}" dt="2024-02-27T17:26:23.244" v="4595" actId="478"/>
          <ac:spMkLst>
            <pc:docMk/>
            <pc:sldMk cId="4264639648" sldId="595"/>
            <ac:spMk id="37" creationId="{6FF191A5-5766-C286-9292-DA2FDFE88941}"/>
          </ac:spMkLst>
        </pc:spChg>
        <pc:spChg chg="del">
          <ac:chgData name="Bullinger, Marvin" userId="5b54ce5a-dc89-476f-af33-5abd75d5b1e8" providerId="ADAL" clId="{43B71669-8A80-4333-9349-B258A9296B49}" dt="2024-02-27T17:26:23.244" v="4594" actId="478"/>
          <ac:spMkLst>
            <pc:docMk/>
            <pc:sldMk cId="4264639648" sldId="595"/>
            <ac:spMk id="38" creationId="{1E4C27AB-B1C9-8D1B-7B5E-B2329E1C1C8E}"/>
          </ac:spMkLst>
        </pc:spChg>
        <pc:spChg chg="del">
          <ac:chgData name="Bullinger, Marvin" userId="5b54ce5a-dc89-476f-af33-5abd75d5b1e8" providerId="ADAL" clId="{43B71669-8A80-4333-9349-B258A9296B49}" dt="2024-02-27T17:26:23.244" v="4593" actId="478"/>
          <ac:spMkLst>
            <pc:docMk/>
            <pc:sldMk cId="4264639648" sldId="595"/>
            <ac:spMk id="39" creationId="{5329E7A9-D937-8A20-954A-4D93BC84E91B}"/>
          </ac:spMkLst>
        </pc:spChg>
        <pc:spChg chg="del">
          <ac:chgData name="Bullinger, Marvin" userId="5b54ce5a-dc89-476f-af33-5abd75d5b1e8" providerId="ADAL" clId="{43B71669-8A80-4333-9349-B258A9296B49}" dt="2024-02-27T17:26:23.244" v="4592" actId="478"/>
          <ac:spMkLst>
            <pc:docMk/>
            <pc:sldMk cId="4264639648" sldId="595"/>
            <ac:spMk id="40" creationId="{4CE28380-29C1-60AA-4C24-B83B43D59FE1}"/>
          </ac:spMkLst>
        </pc:spChg>
        <pc:spChg chg="del">
          <ac:chgData name="Bullinger, Marvin" userId="5b54ce5a-dc89-476f-af33-5abd75d5b1e8" providerId="ADAL" clId="{43B71669-8A80-4333-9349-B258A9296B49}" dt="2024-02-27T17:26:23.244" v="4591" actId="478"/>
          <ac:spMkLst>
            <pc:docMk/>
            <pc:sldMk cId="4264639648" sldId="595"/>
            <ac:spMk id="41" creationId="{7EF7BE50-3A0E-620D-D59C-40CA994510F4}"/>
          </ac:spMkLst>
        </pc:spChg>
        <pc:spChg chg="replST">
          <ac:chgData name="Bullinger, Marvin" userId="5b54ce5a-dc89-476f-af33-5abd75d5b1e8" providerId="ADAL" clId="{43B71669-8A80-4333-9349-B258A9296B49}" dt="2024-02-27T17:26:24.281" v="5161"/>
          <ac:spMkLst>
            <pc:docMk/>
            <pc:sldMk cId="4264639648" sldId="595"/>
            <ac:spMk id="42" creationId="{3BC73C0A-D852-83CB-00C3-E08B072C22E9}"/>
          </ac:spMkLst>
        </pc:spChg>
        <pc:spChg chg="replST">
          <ac:chgData name="Bullinger, Marvin" userId="5b54ce5a-dc89-476f-af33-5abd75d5b1e8" providerId="ADAL" clId="{43B71669-8A80-4333-9349-B258A9296B49}" dt="2024-02-27T17:26:24.281" v="5164"/>
          <ac:spMkLst>
            <pc:docMk/>
            <pc:sldMk cId="4264639648" sldId="595"/>
            <ac:spMk id="43" creationId="{7814A964-C62D-15BB-DBA9-7A698004CA0F}"/>
          </ac:spMkLst>
        </pc:spChg>
        <pc:spChg chg="replST">
          <ac:chgData name="Bullinger, Marvin" userId="5b54ce5a-dc89-476f-af33-5abd75d5b1e8" providerId="ADAL" clId="{43B71669-8A80-4333-9349-B258A9296B49}" dt="2024-02-27T17:26:24.281" v="5168"/>
          <ac:spMkLst>
            <pc:docMk/>
            <pc:sldMk cId="4264639648" sldId="595"/>
            <ac:spMk id="45" creationId="{EE0AB807-B62D-C9E9-2A11-4D1D4AC19AF4}"/>
          </ac:spMkLst>
        </pc:spChg>
        <pc:spChg chg="replST">
          <ac:chgData name="Bullinger, Marvin" userId="5b54ce5a-dc89-476f-af33-5abd75d5b1e8" providerId="ADAL" clId="{43B71669-8A80-4333-9349-B258A9296B49}" dt="2024-02-27T17:26:24.298" v="5171"/>
          <ac:spMkLst>
            <pc:docMk/>
            <pc:sldMk cId="4264639648" sldId="595"/>
            <ac:spMk id="46" creationId="{DDABC2A4-9B84-8692-40C5-43405832C655}"/>
          </ac:spMkLst>
        </pc:spChg>
        <pc:spChg chg="replST">
          <ac:chgData name="Bullinger, Marvin" userId="5b54ce5a-dc89-476f-af33-5abd75d5b1e8" providerId="ADAL" clId="{43B71669-8A80-4333-9349-B258A9296B49}" dt="2024-02-27T17:26:24.298" v="5175"/>
          <ac:spMkLst>
            <pc:docMk/>
            <pc:sldMk cId="4264639648" sldId="595"/>
            <ac:spMk id="48" creationId="{1CA7010F-4CB1-28D2-CF29-CDBF6F073D40}"/>
          </ac:spMkLst>
        </pc:spChg>
        <pc:spChg chg="replST">
          <ac:chgData name="Bullinger, Marvin" userId="5b54ce5a-dc89-476f-af33-5abd75d5b1e8" providerId="ADAL" clId="{43B71669-8A80-4333-9349-B258A9296B49}" dt="2024-02-27T17:26:24.315" v="5178"/>
          <ac:spMkLst>
            <pc:docMk/>
            <pc:sldMk cId="4264639648" sldId="595"/>
            <ac:spMk id="49" creationId="{64015A5F-E615-D715-A7CE-27744F50EB54}"/>
          </ac:spMkLst>
        </pc:spChg>
        <pc:spChg chg="replST">
          <ac:chgData name="Bullinger, Marvin" userId="5b54ce5a-dc89-476f-af33-5abd75d5b1e8" providerId="ADAL" clId="{43B71669-8A80-4333-9349-B258A9296B49}" dt="2024-02-27T17:26:24.315" v="5182"/>
          <ac:spMkLst>
            <pc:docMk/>
            <pc:sldMk cId="4264639648" sldId="595"/>
            <ac:spMk id="51" creationId="{3FFFD535-E780-E7B4-A6D2-D32693A9E91F}"/>
          </ac:spMkLst>
        </pc:spChg>
        <pc:spChg chg="replST">
          <ac:chgData name="Bullinger, Marvin" userId="5b54ce5a-dc89-476f-af33-5abd75d5b1e8" providerId="ADAL" clId="{43B71669-8A80-4333-9349-B258A9296B49}" dt="2024-02-27T17:26:24.315" v="5185"/>
          <ac:spMkLst>
            <pc:docMk/>
            <pc:sldMk cId="4264639648" sldId="595"/>
            <ac:spMk id="52" creationId="{7C7EEE9B-887E-DBE1-85B4-7506369BF495}"/>
          </ac:spMkLst>
        </pc:spChg>
        <pc:spChg chg="del ord replST">
          <ac:chgData name="Bullinger, Marvin" userId="5b54ce5a-dc89-476f-af33-5abd75d5b1e8" providerId="ADAL" clId="{43B71669-8A80-4333-9349-B258A9296B49}" dt="2024-02-27T17:26:59.244" v="5926" actId="478"/>
          <ac:spMkLst>
            <pc:docMk/>
            <pc:sldMk cId="4264639648" sldId="595"/>
            <ac:spMk id="53" creationId="{96EEA3D6-1FF5-0A87-3448-4E0F43D658EC}"/>
          </ac:spMkLst>
        </pc:spChg>
        <pc:spChg chg="replST">
          <ac:chgData name="Bullinger, Marvin" userId="5b54ce5a-dc89-476f-af33-5abd75d5b1e8" providerId="ADAL" clId="{43B71669-8A80-4333-9349-B258A9296B49}" dt="2024-02-27T17:26:24.331" v="5189"/>
          <ac:spMkLst>
            <pc:docMk/>
            <pc:sldMk cId="4264639648" sldId="595"/>
            <ac:spMk id="54" creationId="{017D2139-6C3B-AAC6-02BB-C701FA5F080F}"/>
          </ac:spMkLst>
        </pc:spChg>
        <pc:spChg chg="replST">
          <ac:chgData name="Bullinger, Marvin" userId="5b54ce5a-dc89-476f-af33-5abd75d5b1e8" providerId="ADAL" clId="{43B71669-8A80-4333-9349-B258A9296B49}" dt="2024-02-27T17:26:24.331" v="5192"/>
          <ac:spMkLst>
            <pc:docMk/>
            <pc:sldMk cId="4264639648" sldId="595"/>
            <ac:spMk id="55" creationId="{20123C83-AA73-E8E0-C218-23D8B7420A91}"/>
          </ac:spMkLst>
        </pc:spChg>
        <pc:spChg chg="replST">
          <ac:chgData name="Bullinger, Marvin" userId="5b54ce5a-dc89-476f-af33-5abd75d5b1e8" providerId="ADAL" clId="{43B71669-8A80-4333-9349-B258A9296B49}" dt="2024-02-27T17:26:24.350" v="5196"/>
          <ac:spMkLst>
            <pc:docMk/>
            <pc:sldMk cId="4264639648" sldId="595"/>
            <ac:spMk id="57" creationId="{B2F9EFDF-0F4F-8096-DE06-73156117BD32}"/>
          </ac:spMkLst>
        </pc:spChg>
        <pc:spChg chg="replST">
          <ac:chgData name="Bullinger, Marvin" userId="5b54ce5a-dc89-476f-af33-5abd75d5b1e8" providerId="ADAL" clId="{43B71669-8A80-4333-9349-B258A9296B49}" dt="2024-02-27T17:26:24.350" v="5199"/>
          <ac:spMkLst>
            <pc:docMk/>
            <pc:sldMk cId="4264639648" sldId="595"/>
            <ac:spMk id="58" creationId="{95C63B87-7EEB-E7FA-05E3-04EA81E5DBEE}"/>
          </ac:spMkLst>
        </pc:spChg>
        <pc:spChg chg="replST">
          <ac:chgData name="Bullinger, Marvin" userId="5b54ce5a-dc89-476f-af33-5abd75d5b1e8" providerId="ADAL" clId="{43B71669-8A80-4333-9349-B258A9296B49}" dt="2024-02-27T17:26:24.350" v="5203"/>
          <ac:spMkLst>
            <pc:docMk/>
            <pc:sldMk cId="4264639648" sldId="595"/>
            <ac:spMk id="60" creationId="{86841955-89A3-DE04-BC7B-B6A4CB48D61A}"/>
          </ac:spMkLst>
        </pc:spChg>
        <pc:spChg chg="replST">
          <ac:chgData name="Bullinger, Marvin" userId="5b54ce5a-dc89-476f-af33-5abd75d5b1e8" providerId="ADAL" clId="{43B71669-8A80-4333-9349-B258A9296B49}" dt="2024-02-27T17:26:24.368" v="5206"/>
          <ac:spMkLst>
            <pc:docMk/>
            <pc:sldMk cId="4264639648" sldId="595"/>
            <ac:spMk id="61" creationId="{9B63E01E-D548-404C-6B18-AF1BF833D3FD}"/>
          </ac:spMkLst>
        </pc:spChg>
        <pc:spChg chg="replST">
          <ac:chgData name="Bullinger, Marvin" userId="5b54ce5a-dc89-476f-af33-5abd75d5b1e8" providerId="ADAL" clId="{43B71669-8A80-4333-9349-B258A9296B49}" dt="2024-02-27T17:26:24.370" v="5210"/>
          <ac:spMkLst>
            <pc:docMk/>
            <pc:sldMk cId="4264639648" sldId="595"/>
            <ac:spMk id="63" creationId="{685005BC-D652-239E-7FE3-F4209593F867}"/>
          </ac:spMkLst>
        </pc:spChg>
        <pc:spChg chg="replST">
          <ac:chgData name="Bullinger, Marvin" userId="5b54ce5a-dc89-476f-af33-5abd75d5b1e8" providerId="ADAL" clId="{43B71669-8A80-4333-9349-B258A9296B49}" dt="2024-02-27T17:26:24.378" v="5213"/>
          <ac:spMkLst>
            <pc:docMk/>
            <pc:sldMk cId="4264639648" sldId="595"/>
            <ac:spMk id="64" creationId="{24AECCBC-C2A5-7F70-B111-567829CC262D}"/>
          </ac:spMkLst>
        </pc:spChg>
        <pc:spChg chg="replST">
          <ac:chgData name="Bullinger, Marvin" userId="5b54ce5a-dc89-476f-af33-5abd75d5b1e8" providerId="ADAL" clId="{43B71669-8A80-4333-9349-B258A9296B49}" dt="2024-02-27T17:26:24.378" v="5217"/>
          <ac:spMkLst>
            <pc:docMk/>
            <pc:sldMk cId="4264639648" sldId="595"/>
            <ac:spMk id="66" creationId="{FBC595D3-93E4-8E84-1290-708DEB1C1D06}"/>
          </ac:spMkLst>
        </pc:spChg>
        <pc:spChg chg="replST">
          <ac:chgData name="Bullinger, Marvin" userId="5b54ce5a-dc89-476f-af33-5abd75d5b1e8" providerId="ADAL" clId="{43B71669-8A80-4333-9349-B258A9296B49}" dt="2024-02-27T17:26:24.378" v="5220"/>
          <ac:spMkLst>
            <pc:docMk/>
            <pc:sldMk cId="4264639648" sldId="595"/>
            <ac:spMk id="67" creationId="{E73B0CF3-2463-B64F-C2A2-FCD6CA6A8C83}"/>
          </ac:spMkLst>
        </pc:spChg>
        <pc:spChg chg="add mod">
          <ac:chgData name="Bullinger, Marvin" userId="5b54ce5a-dc89-476f-af33-5abd75d5b1e8" providerId="ADAL" clId="{43B71669-8A80-4333-9349-B258A9296B49}" dt="2024-02-27T17:26:59.234" v="5922" actId="478"/>
          <ac:spMkLst>
            <pc:docMk/>
            <pc:sldMk cId="4264639648" sldId="595"/>
            <ac:spMk id="108" creationId="{8D517E89-AA97-171A-35D1-E2578398ED11}"/>
          </ac:spMkLst>
        </pc:spChg>
        <pc:spChg chg="del mod ord replST">
          <ac:chgData name="Bullinger, Marvin" userId="5b54ce5a-dc89-476f-af33-5abd75d5b1e8" providerId="ADAL" clId="{43B71669-8A80-4333-9349-B258A9296B49}" dt="2024-02-27T17:27:36.931" v="7026" actId="478"/>
          <ac:spMkLst>
            <pc:docMk/>
            <pc:sldMk cId="4264639648" sldId="595"/>
            <ac:spMk id="109" creationId="{B9AAF988-BBDB-96EA-9E92-8E6E4D69B7EF}"/>
          </ac:spMkLst>
        </pc:spChg>
        <pc:spChg chg="del">
          <ac:chgData name="Bullinger, Marvin" userId="5b54ce5a-dc89-476f-af33-5abd75d5b1e8" providerId="ADAL" clId="{43B71669-8A80-4333-9349-B258A9296B49}" dt="2024-02-27T17:26:59.283" v="5961" actId="478"/>
          <ac:spMkLst>
            <pc:docMk/>
            <pc:sldMk cId="4264639648" sldId="595"/>
            <ac:spMk id="110" creationId="{3FB86112-B653-A776-B581-8FCB7AF68F90}"/>
          </ac:spMkLst>
        </pc:spChg>
        <pc:spChg chg="del">
          <ac:chgData name="Bullinger, Marvin" userId="5b54ce5a-dc89-476f-af33-5abd75d5b1e8" providerId="ADAL" clId="{43B71669-8A80-4333-9349-B258A9296B49}" dt="2024-02-27T17:26:59.275" v="5960" actId="478"/>
          <ac:spMkLst>
            <pc:docMk/>
            <pc:sldMk cId="4264639648" sldId="595"/>
            <ac:spMk id="111" creationId="{243B6798-DB4C-6735-A787-70447EBB3F2C}"/>
          </ac:spMkLst>
        </pc:spChg>
        <pc:spChg chg="del">
          <ac:chgData name="Bullinger, Marvin" userId="5b54ce5a-dc89-476f-af33-5abd75d5b1e8" providerId="ADAL" clId="{43B71669-8A80-4333-9349-B258A9296B49}" dt="2024-02-27T17:26:59.275" v="5959" actId="478"/>
          <ac:spMkLst>
            <pc:docMk/>
            <pc:sldMk cId="4264639648" sldId="595"/>
            <ac:spMk id="112" creationId="{F7395CB3-4E7D-80E2-F776-68AFCA97D00A}"/>
          </ac:spMkLst>
        </pc:spChg>
        <pc:spChg chg="del">
          <ac:chgData name="Bullinger, Marvin" userId="5b54ce5a-dc89-476f-af33-5abd75d5b1e8" providerId="ADAL" clId="{43B71669-8A80-4333-9349-B258A9296B49}" dt="2024-02-27T17:26:59.275" v="5958" actId="478"/>
          <ac:spMkLst>
            <pc:docMk/>
            <pc:sldMk cId="4264639648" sldId="595"/>
            <ac:spMk id="113" creationId="{FBD4B3A1-A3DF-B6CC-2326-CD1E20CA6214}"/>
          </ac:spMkLst>
        </pc:spChg>
        <pc:spChg chg="del">
          <ac:chgData name="Bullinger, Marvin" userId="5b54ce5a-dc89-476f-af33-5abd75d5b1e8" providerId="ADAL" clId="{43B71669-8A80-4333-9349-B258A9296B49}" dt="2024-02-27T17:26:59.275" v="5957" actId="478"/>
          <ac:spMkLst>
            <pc:docMk/>
            <pc:sldMk cId="4264639648" sldId="595"/>
            <ac:spMk id="114" creationId="{AFF51BCC-F05E-1CD4-8A32-7B5153C1704C}"/>
          </ac:spMkLst>
        </pc:spChg>
        <pc:spChg chg="del">
          <ac:chgData name="Bullinger, Marvin" userId="5b54ce5a-dc89-476f-af33-5abd75d5b1e8" providerId="ADAL" clId="{43B71669-8A80-4333-9349-B258A9296B49}" dt="2024-02-27T17:26:59.275" v="5956" actId="478"/>
          <ac:spMkLst>
            <pc:docMk/>
            <pc:sldMk cId="4264639648" sldId="595"/>
            <ac:spMk id="115" creationId="{16646C9B-D122-2791-AB87-492AFD865719}"/>
          </ac:spMkLst>
        </pc:spChg>
        <pc:spChg chg="del">
          <ac:chgData name="Bullinger, Marvin" userId="5b54ce5a-dc89-476f-af33-5abd75d5b1e8" providerId="ADAL" clId="{43B71669-8A80-4333-9349-B258A9296B49}" dt="2024-02-27T17:26:59.275" v="5953" actId="478"/>
          <ac:spMkLst>
            <pc:docMk/>
            <pc:sldMk cId="4264639648" sldId="595"/>
            <ac:spMk id="116" creationId="{F7979A7D-55BB-80BC-64C8-290872E2053C}"/>
          </ac:spMkLst>
        </pc:spChg>
        <pc:spChg chg="del">
          <ac:chgData name="Bullinger, Marvin" userId="5b54ce5a-dc89-476f-af33-5abd75d5b1e8" providerId="ADAL" clId="{43B71669-8A80-4333-9349-B258A9296B49}" dt="2024-02-27T17:26:59.275" v="5952" actId="478"/>
          <ac:spMkLst>
            <pc:docMk/>
            <pc:sldMk cId="4264639648" sldId="595"/>
            <ac:spMk id="117" creationId="{19867C40-69EA-A8CC-90DA-D5A9E4E34618}"/>
          </ac:spMkLst>
        </pc:spChg>
        <pc:spChg chg="del">
          <ac:chgData name="Bullinger, Marvin" userId="5b54ce5a-dc89-476f-af33-5abd75d5b1e8" providerId="ADAL" clId="{43B71669-8A80-4333-9349-B258A9296B49}" dt="2024-02-27T17:26:59.275" v="5951" actId="478"/>
          <ac:spMkLst>
            <pc:docMk/>
            <pc:sldMk cId="4264639648" sldId="595"/>
            <ac:spMk id="118" creationId="{D71F50D6-766B-BCD7-F0C1-00B37F64C917}"/>
          </ac:spMkLst>
        </pc:spChg>
        <pc:spChg chg="del">
          <ac:chgData name="Bullinger, Marvin" userId="5b54ce5a-dc89-476f-af33-5abd75d5b1e8" providerId="ADAL" clId="{43B71669-8A80-4333-9349-B258A9296B49}" dt="2024-02-27T17:26:59.275" v="5950" actId="478"/>
          <ac:spMkLst>
            <pc:docMk/>
            <pc:sldMk cId="4264639648" sldId="595"/>
            <ac:spMk id="119" creationId="{F73B04C9-EDD5-807F-43E1-909BAC5104E7}"/>
          </ac:spMkLst>
        </pc:spChg>
        <pc:spChg chg="del">
          <ac:chgData name="Bullinger, Marvin" userId="5b54ce5a-dc89-476f-af33-5abd75d5b1e8" providerId="ADAL" clId="{43B71669-8A80-4333-9349-B258A9296B49}" dt="2024-02-27T17:26:59.275" v="5949" actId="478"/>
          <ac:spMkLst>
            <pc:docMk/>
            <pc:sldMk cId="4264639648" sldId="595"/>
            <ac:spMk id="120" creationId="{233D8450-0664-FECC-F7D8-63DF59191517}"/>
          </ac:spMkLst>
        </pc:spChg>
        <pc:spChg chg="del">
          <ac:chgData name="Bullinger, Marvin" userId="5b54ce5a-dc89-476f-af33-5abd75d5b1e8" providerId="ADAL" clId="{43B71669-8A80-4333-9349-B258A9296B49}" dt="2024-02-27T17:26:59.275" v="5948" actId="478"/>
          <ac:spMkLst>
            <pc:docMk/>
            <pc:sldMk cId="4264639648" sldId="595"/>
            <ac:spMk id="121" creationId="{F1B517F1-7A00-BA2C-293C-905B4DB29A45}"/>
          </ac:spMkLst>
        </pc:spChg>
        <pc:spChg chg="del">
          <ac:chgData name="Bullinger, Marvin" userId="5b54ce5a-dc89-476f-af33-5abd75d5b1e8" providerId="ADAL" clId="{43B71669-8A80-4333-9349-B258A9296B49}" dt="2024-02-27T17:26:59.285" v="5969" actId="478"/>
          <ac:spMkLst>
            <pc:docMk/>
            <pc:sldMk cId="4264639648" sldId="595"/>
            <ac:spMk id="122" creationId="{EB0385B5-8A12-6708-7906-0B2C101B3773}"/>
          </ac:spMkLst>
        </pc:spChg>
        <pc:spChg chg="del">
          <ac:chgData name="Bullinger, Marvin" userId="5b54ce5a-dc89-476f-af33-5abd75d5b1e8" providerId="ADAL" clId="{43B71669-8A80-4333-9349-B258A9296B49}" dt="2024-02-27T17:26:59.285" v="5968" actId="478"/>
          <ac:spMkLst>
            <pc:docMk/>
            <pc:sldMk cId="4264639648" sldId="595"/>
            <ac:spMk id="123" creationId="{63BFD975-0CAB-5C0E-FD03-50B0012084B2}"/>
          </ac:spMkLst>
        </pc:spChg>
        <pc:spChg chg="del">
          <ac:chgData name="Bullinger, Marvin" userId="5b54ce5a-dc89-476f-af33-5abd75d5b1e8" providerId="ADAL" clId="{43B71669-8A80-4333-9349-B258A9296B49}" dt="2024-02-27T17:26:59.285" v="5967" actId="478"/>
          <ac:spMkLst>
            <pc:docMk/>
            <pc:sldMk cId="4264639648" sldId="595"/>
            <ac:spMk id="124" creationId="{6B72FF94-D2D1-DDD7-819D-70D23F68E558}"/>
          </ac:spMkLst>
        </pc:spChg>
        <pc:spChg chg="del">
          <ac:chgData name="Bullinger, Marvin" userId="5b54ce5a-dc89-476f-af33-5abd75d5b1e8" providerId="ADAL" clId="{43B71669-8A80-4333-9349-B258A9296B49}" dt="2024-02-27T17:26:59.285" v="5966" actId="478"/>
          <ac:spMkLst>
            <pc:docMk/>
            <pc:sldMk cId="4264639648" sldId="595"/>
            <ac:spMk id="125" creationId="{CC17CECF-19A8-B93E-4296-C3CC7068E548}"/>
          </ac:spMkLst>
        </pc:spChg>
        <pc:spChg chg="del">
          <ac:chgData name="Bullinger, Marvin" userId="5b54ce5a-dc89-476f-af33-5abd75d5b1e8" providerId="ADAL" clId="{43B71669-8A80-4333-9349-B258A9296B49}" dt="2024-02-27T17:26:59.285" v="5965" actId="478"/>
          <ac:spMkLst>
            <pc:docMk/>
            <pc:sldMk cId="4264639648" sldId="595"/>
            <ac:spMk id="126" creationId="{20F5446F-E596-A981-4886-6CACC7E13D0C}"/>
          </ac:spMkLst>
        </pc:spChg>
        <pc:spChg chg="del">
          <ac:chgData name="Bullinger, Marvin" userId="5b54ce5a-dc89-476f-af33-5abd75d5b1e8" providerId="ADAL" clId="{43B71669-8A80-4333-9349-B258A9296B49}" dt="2024-02-27T17:26:59.283" v="5964" actId="478"/>
          <ac:spMkLst>
            <pc:docMk/>
            <pc:sldMk cId="4264639648" sldId="595"/>
            <ac:spMk id="127" creationId="{697AD5AB-C009-7B07-7127-16FDF26FB2F4}"/>
          </ac:spMkLst>
        </pc:spChg>
        <pc:spChg chg="del">
          <ac:chgData name="Bullinger, Marvin" userId="5b54ce5a-dc89-476f-af33-5abd75d5b1e8" providerId="ADAL" clId="{43B71669-8A80-4333-9349-B258A9296B49}" dt="2024-02-27T17:26:59.283" v="5963" actId="478"/>
          <ac:spMkLst>
            <pc:docMk/>
            <pc:sldMk cId="4264639648" sldId="595"/>
            <ac:spMk id="128" creationId="{47C1224A-62EB-364C-E3EE-376EF4EF72C9}"/>
          </ac:spMkLst>
        </pc:spChg>
        <pc:spChg chg="del">
          <ac:chgData name="Bullinger, Marvin" userId="5b54ce5a-dc89-476f-af33-5abd75d5b1e8" providerId="ADAL" clId="{43B71669-8A80-4333-9349-B258A9296B49}" dt="2024-02-27T17:26:59.283" v="5962" actId="478"/>
          <ac:spMkLst>
            <pc:docMk/>
            <pc:sldMk cId="4264639648" sldId="595"/>
            <ac:spMk id="129" creationId="{3B46AC0D-4B17-B399-816E-426CD52830E9}"/>
          </ac:spMkLst>
        </pc:spChg>
        <pc:spChg chg="del">
          <ac:chgData name="Bullinger, Marvin" userId="5b54ce5a-dc89-476f-af33-5abd75d5b1e8" providerId="ADAL" clId="{43B71669-8A80-4333-9349-B258A9296B49}" dt="2024-02-27T17:26:59.275" v="5954" actId="478"/>
          <ac:spMkLst>
            <pc:docMk/>
            <pc:sldMk cId="4264639648" sldId="595"/>
            <ac:spMk id="130" creationId="{3FC6F887-DB0B-E74C-BFF6-4E821673945A}"/>
          </ac:spMkLst>
        </pc:spChg>
        <pc:spChg chg="del">
          <ac:chgData name="Bullinger, Marvin" userId="5b54ce5a-dc89-476f-af33-5abd75d5b1e8" providerId="ADAL" clId="{43B71669-8A80-4333-9349-B258A9296B49}" dt="2024-02-27T17:26:59.273" v="5947" actId="478"/>
          <ac:spMkLst>
            <pc:docMk/>
            <pc:sldMk cId="4264639648" sldId="595"/>
            <ac:spMk id="131" creationId="{1F85C74C-00DB-04CF-1DBD-17293688A311}"/>
          </ac:spMkLst>
        </pc:spChg>
        <pc:spChg chg="del">
          <ac:chgData name="Bullinger, Marvin" userId="5b54ce5a-dc89-476f-af33-5abd75d5b1e8" providerId="ADAL" clId="{43B71669-8A80-4333-9349-B258A9296B49}" dt="2024-02-27T17:26:59.275" v="5955" actId="478"/>
          <ac:spMkLst>
            <pc:docMk/>
            <pc:sldMk cId="4264639648" sldId="595"/>
            <ac:spMk id="132" creationId="{8C2F1AAC-0974-6211-A9A4-6C6E8E7CA19D}"/>
          </ac:spMkLst>
        </pc:spChg>
        <pc:spChg chg="del">
          <ac:chgData name="Bullinger, Marvin" userId="5b54ce5a-dc89-476f-af33-5abd75d5b1e8" providerId="ADAL" clId="{43B71669-8A80-4333-9349-B258A9296B49}" dt="2024-02-27T17:26:59.273" v="5946" actId="478"/>
          <ac:spMkLst>
            <pc:docMk/>
            <pc:sldMk cId="4264639648" sldId="595"/>
            <ac:spMk id="133" creationId="{DCE175C4-C6E7-F7BE-7BA8-A86F4B788FD5}"/>
          </ac:spMkLst>
        </pc:spChg>
        <pc:spChg chg="del">
          <ac:chgData name="Bullinger, Marvin" userId="5b54ce5a-dc89-476f-af33-5abd75d5b1e8" providerId="ADAL" clId="{43B71669-8A80-4333-9349-B258A9296B49}" dt="2024-02-27T17:26:59.273" v="5945" actId="478"/>
          <ac:spMkLst>
            <pc:docMk/>
            <pc:sldMk cId="4264639648" sldId="595"/>
            <ac:spMk id="134" creationId="{38D6D4B0-5367-FE76-8856-3402C3132BF7}"/>
          </ac:spMkLst>
        </pc:spChg>
        <pc:spChg chg="del">
          <ac:chgData name="Bullinger, Marvin" userId="5b54ce5a-dc89-476f-af33-5abd75d5b1e8" providerId="ADAL" clId="{43B71669-8A80-4333-9349-B258A9296B49}" dt="2024-02-27T17:26:59.273" v="5944" actId="478"/>
          <ac:spMkLst>
            <pc:docMk/>
            <pc:sldMk cId="4264639648" sldId="595"/>
            <ac:spMk id="135" creationId="{87006610-D203-60EA-72B1-2C22FBED57C2}"/>
          </ac:spMkLst>
        </pc:spChg>
        <pc:spChg chg="del">
          <ac:chgData name="Bullinger, Marvin" userId="5b54ce5a-dc89-476f-af33-5abd75d5b1e8" providerId="ADAL" clId="{43B71669-8A80-4333-9349-B258A9296B49}" dt="2024-02-27T17:26:59.264" v="5943" actId="478"/>
          <ac:spMkLst>
            <pc:docMk/>
            <pc:sldMk cId="4264639648" sldId="595"/>
            <ac:spMk id="136" creationId="{7F822ED2-721A-FBE3-305D-E457355A5494}"/>
          </ac:spMkLst>
        </pc:spChg>
        <pc:spChg chg="del">
          <ac:chgData name="Bullinger, Marvin" userId="5b54ce5a-dc89-476f-af33-5abd75d5b1e8" providerId="ADAL" clId="{43B71669-8A80-4333-9349-B258A9296B49}" dt="2024-02-27T17:26:59.264" v="5942" actId="478"/>
          <ac:spMkLst>
            <pc:docMk/>
            <pc:sldMk cId="4264639648" sldId="595"/>
            <ac:spMk id="137" creationId="{CB3E569D-2817-50F1-74FF-8E0A9A715695}"/>
          </ac:spMkLst>
        </pc:spChg>
        <pc:spChg chg="del">
          <ac:chgData name="Bullinger, Marvin" userId="5b54ce5a-dc89-476f-af33-5abd75d5b1e8" providerId="ADAL" clId="{43B71669-8A80-4333-9349-B258A9296B49}" dt="2024-02-27T17:26:59.264" v="5941" actId="478"/>
          <ac:spMkLst>
            <pc:docMk/>
            <pc:sldMk cId="4264639648" sldId="595"/>
            <ac:spMk id="138" creationId="{9D2E48F6-5626-9A4F-D7E3-B64D37BF7A65}"/>
          </ac:spMkLst>
        </pc:spChg>
        <pc:spChg chg="del">
          <ac:chgData name="Bullinger, Marvin" userId="5b54ce5a-dc89-476f-af33-5abd75d5b1e8" providerId="ADAL" clId="{43B71669-8A80-4333-9349-B258A9296B49}" dt="2024-02-27T17:26:59.264" v="5940" actId="478"/>
          <ac:spMkLst>
            <pc:docMk/>
            <pc:sldMk cId="4264639648" sldId="595"/>
            <ac:spMk id="139" creationId="{1F457EDD-F7F7-383E-3165-7B07F94B28BD}"/>
          </ac:spMkLst>
        </pc:spChg>
        <pc:spChg chg="del">
          <ac:chgData name="Bullinger, Marvin" userId="5b54ce5a-dc89-476f-af33-5abd75d5b1e8" providerId="ADAL" clId="{43B71669-8A80-4333-9349-B258A9296B49}" dt="2024-02-27T17:26:59.264" v="5939" actId="478"/>
          <ac:spMkLst>
            <pc:docMk/>
            <pc:sldMk cId="4264639648" sldId="595"/>
            <ac:spMk id="140" creationId="{CC3FDF81-271E-4220-3BDB-7BAE65DF1AD2}"/>
          </ac:spMkLst>
        </pc:spChg>
        <pc:spChg chg="del">
          <ac:chgData name="Bullinger, Marvin" userId="5b54ce5a-dc89-476f-af33-5abd75d5b1e8" providerId="ADAL" clId="{43B71669-8A80-4333-9349-B258A9296B49}" dt="2024-02-27T17:26:59.264" v="5938" actId="478"/>
          <ac:spMkLst>
            <pc:docMk/>
            <pc:sldMk cId="4264639648" sldId="595"/>
            <ac:spMk id="141" creationId="{5F2C253E-6EBA-586B-4FE0-15F0CB8907FD}"/>
          </ac:spMkLst>
        </pc:spChg>
        <pc:spChg chg="del">
          <ac:chgData name="Bullinger, Marvin" userId="5b54ce5a-dc89-476f-af33-5abd75d5b1e8" providerId="ADAL" clId="{43B71669-8A80-4333-9349-B258A9296B49}" dt="2024-02-27T17:26:59.264" v="5937" actId="478"/>
          <ac:spMkLst>
            <pc:docMk/>
            <pc:sldMk cId="4264639648" sldId="595"/>
            <ac:spMk id="142" creationId="{204F3C75-31C7-20D1-E539-D6A9C99055EC}"/>
          </ac:spMkLst>
        </pc:spChg>
        <pc:spChg chg="del">
          <ac:chgData name="Bullinger, Marvin" userId="5b54ce5a-dc89-476f-af33-5abd75d5b1e8" providerId="ADAL" clId="{43B71669-8A80-4333-9349-B258A9296B49}" dt="2024-02-27T17:26:59.264" v="5936" actId="478"/>
          <ac:spMkLst>
            <pc:docMk/>
            <pc:sldMk cId="4264639648" sldId="595"/>
            <ac:spMk id="143" creationId="{BB8D1C92-074D-55DF-964B-1EEA4B59D28A}"/>
          </ac:spMkLst>
        </pc:spChg>
        <pc:spChg chg="del">
          <ac:chgData name="Bullinger, Marvin" userId="5b54ce5a-dc89-476f-af33-5abd75d5b1e8" providerId="ADAL" clId="{43B71669-8A80-4333-9349-B258A9296B49}" dt="2024-02-27T17:26:59.264" v="5935" actId="478"/>
          <ac:spMkLst>
            <pc:docMk/>
            <pc:sldMk cId="4264639648" sldId="595"/>
            <ac:spMk id="144" creationId="{7C9F4A98-1B5C-B6CA-2ECD-1AAA7491AC0B}"/>
          </ac:spMkLst>
        </pc:spChg>
        <pc:spChg chg="del">
          <ac:chgData name="Bullinger, Marvin" userId="5b54ce5a-dc89-476f-af33-5abd75d5b1e8" providerId="ADAL" clId="{43B71669-8A80-4333-9349-B258A9296B49}" dt="2024-02-27T17:26:59.264" v="5934" actId="478"/>
          <ac:spMkLst>
            <pc:docMk/>
            <pc:sldMk cId="4264639648" sldId="595"/>
            <ac:spMk id="145" creationId="{56C5C575-D4AD-3CB0-8EC9-43F686B59342}"/>
          </ac:spMkLst>
        </pc:spChg>
        <pc:spChg chg="del">
          <ac:chgData name="Bullinger, Marvin" userId="5b54ce5a-dc89-476f-af33-5abd75d5b1e8" providerId="ADAL" clId="{43B71669-8A80-4333-9349-B258A9296B49}" dt="2024-02-27T17:26:59.264" v="5933" actId="478"/>
          <ac:spMkLst>
            <pc:docMk/>
            <pc:sldMk cId="4264639648" sldId="595"/>
            <ac:spMk id="146" creationId="{A08AA670-982C-6B0F-575C-C0185AAC1272}"/>
          </ac:spMkLst>
        </pc:spChg>
        <pc:spChg chg="replST">
          <ac:chgData name="Bullinger, Marvin" userId="5b54ce5a-dc89-476f-af33-5abd75d5b1e8" providerId="ADAL" clId="{43B71669-8A80-4333-9349-B258A9296B49}" dt="2024-02-27T17:27:00.225" v="6441"/>
          <ac:spMkLst>
            <pc:docMk/>
            <pc:sldMk cId="4264639648" sldId="595"/>
            <ac:spMk id="147" creationId="{AD67A523-3E7D-7AF5-6B3C-6F96C5CD189E}"/>
          </ac:spMkLst>
        </pc:spChg>
        <pc:spChg chg="replST">
          <ac:chgData name="Bullinger, Marvin" userId="5b54ce5a-dc89-476f-af33-5abd75d5b1e8" providerId="ADAL" clId="{43B71669-8A80-4333-9349-B258A9296B49}" dt="2024-02-27T17:27:00.242" v="6444"/>
          <ac:spMkLst>
            <pc:docMk/>
            <pc:sldMk cId="4264639648" sldId="595"/>
            <ac:spMk id="148" creationId="{B734F5F0-BBAD-62B9-CAF2-3922282922FE}"/>
          </ac:spMkLst>
        </pc:spChg>
        <pc:spChg chg="replST">
          <ac:chgData name="Bullinger, Marvin" userId="5b54ce5a-dc89-476f-af33-5abd75d5b1e8" providerId="ADAL" clId="{43B71669-8A80-4333-9349-B258A9296B49}" dt="2024-02-27T17:27:00.242" v="6448"/>
          <ac:spMkLst>
            <pc:docMk/>
            <pc:sldMk cId="4264639648" sldId="595"/>
            <ac:spMk id="150" creationId="{8C379A0C-384A-722E-C1E6-6AFF97A5EDE7}"/>
          </ac:spMkLst>
        </pc:spChg>
        <pc:spChg chg="replST">
          <ac:chgData name="Bullinger, Marvin" userId="5b54ce5a-dc89-476f-af33-5abd75d5b1e8" providerId="ADAL" clId="{43B71669-8A80-4333-9349-B258A9296B49}" dt="2024-02-27T17:27:00.258" v="6451"/>
          <ac:spMkLst>
            <pc:docMk/>
            <pc:sldMk cId="4264639648" sldId="595"/>
            <ac:spMk id="151" creationId="{6BB6A8BA-E549-5142-A725-844C2D40FEAF}"/>
          </ac:spMkLst>
        </pc:spChg>
        <pc:spChg chg="replST">
          <ac:chgData name="Bullinger, Marvin" userId="5b54ce5a-dc89-476f-af33-5abd75d5b1e8" providerId="ADAL" clId="{43B71669-8A80-4333-9349-B258A9296B49}" dt="2024-02-27T17:27:00.259" v="6455"/>
          <ac:spMkLst>
            <pc:docMk/>
            <pc:sldMk cId="4264639648" sldId="595"/>
            <ac:spMk id="153" creationId="{3BDB1B45-10E8-67D8-5674-8BA65239F68A}"/>
          </ac:spMkLst>
        </pc:spChg>
        <pc:spChg chg="replST">
          <ac:chgData name="Bullinger, Marvin" userId="5b54ce5a-dc89-476f-af33-5abd75d5b1e8" providerId="ADAL" clId="{43B71669-8A80-4333-9349-B258A9296B49}" dt="2024-02-27T17:27:00.267" v="6458"/>
          <ac:spMkLst>
            <pc:docMk/>
            <pc:sldMk cId="4264639648" sldId="595"/>
            <ac:spMk id="154" creationId="{6195BF99-31D0-75F8-2FCA-D7A6F66D5839}"/>
          </ac:spMkLst>
        </pc:spChg>
        <pc:spChg chg="replST">
          <ac:chgData name="Bullinger, Marvin" userId="5b54ce5a-dc89-476f-af33-5abd75d5b1e8" providerId="ADAL" clId="{43B71669-8A80-4333-9349-B258A9296B49}" dt="2024-02-27T17:27:00.275" v="6462"/>
          <ac:spMkLst>
            <pc:docMk/>
            <pc:sldMk cId="4264639648" sldId="595"/>
            <ac:spMk id="156" creationId="{AEF0B0B7-B9E2-C0EF-62C3-4DA1619AF988}"/>
          </ac:spMkLst>
        </pc:spChg>
        <pc:spChg chg="replST">
          <ac:chgData name="Bullinger, Marvin" userId="5b54ce5a-dc89-476f-af33-5abd75d5b1e8" providerId="ADAL" clId="{43B71669-8A80-4333-9349-B258A9296B49}" dt="2024-02-27T17:27:00.275" v="6465"/>
          <ac:spMkLst>
            <pc:docMk/>
            <pc:sldMk cId="4264639648" sldId="595"/>
            <ac:spMk id="157" creationId="{44D28EA9-7109-0B51-7857-F9868377C586}"/>
          </ac:spMkLst>
        </pc:spChg>
        <pc:spChg chg="del ord replST">
          <ac:chgData name="Bullinger, Marvin" userId="5b54ce5a-dc89-476f-af33-5abd75d5b1e8" providerId="ADAL" clId="{43B71669-8A80-4333-9349-B258A9296B49}" dt="2024-02-27T17:27:36.931" v="7030" actId="478"/>
          <ac:spMkLst>
            <pc:docMk/>
            <pc:sldMk cId="4264639648" sldId="595"/>
            <ac:spMk id="158" creationId="{77CBA753-73EF-F7C6-2631-00D650BD3448}"/>
          </ac:spMkLst>
        </pc:spChg>
        <pc:spChg chg="replST">
          <ac:chgData name="Bullinger, Marvin" userId="5b54ce5a-dc89-476f-af33-5abd75d5b1e8" providerId="ADAL" clId="{43B71669-8A80-4333-9349-B258A9296B49}" dt="2024-02-27T17:27:00.291" v="6469"/>
          <ac:spMkLst>
            <pc:docMk/>
            <pc:sldMk cId="4264639648" sldId="595"/>
            <ac:spMk id="159" creationId="{D4417440-7A23-7784-13F8-2F51D01B7281}"/>
          </ac:spMkLst>
        </pc:spChg>
        <pc:spChg chg="replST">
          <ac:chgData name="Bullinger, Marvin" userId="5b54ce5a-dc89-476f-af33-5abd75d5b1e8" providerId="ADAL" clId="{43B71669-8A80-4333-9349-B258A9296B49}" dt="2024-02-27T17:27:00.291" v="6472"/>
          <ac:spMkLst>
            <pc:docMk/>
            <pc:sldMk cId="4264639648" sldId="595"/>
            <ac:spMk id="160" creationId="{A5570426-892C-F260-57B3-B2BDCCB4CCA1}"/>
          </ac:spMkLst>
        </pc:spChg>
        <pc:spChg chg="replST">
          <ac:chgData name="Bullinger, Marvin" userId="5b54ce5a-dc89-476f-af33-5abd75d5b1e8" providerId="ADAL" clId="{43B71669-8A80-4333-9349-B258A9296B49}" dt="2024-02-27T17:27:00.291" v="6476"/>
          <ac:spMkLst>
            <pc:docMk/>
            <pc:sldMk cId="4264639648" sldId="595"/>
            <ac:spMk id="162" creationId="{AF64C123-4569-D4AF-B7E5-E3138D6F254D}"/>
          </ac:spMkLst>
        </pc:spChg>
        <pc:spChg chg="replST">
          <ac:chgData name="Bullinger, Marvin" userId="5b54ce5a-dc89-476f-af33-5abd75d5b1e8" providerId="ADAL" clId="{43B71669-8A80-4333-9349-B258A9296B49}" dt="2024-02-27T17:27:00.307" v="6479"/>
          <ac:spMkLst>
            <pc:docMk/>
            <pc:sldMk cId="4264639648" sldId="595"/>
            <ac:spMk id="163" creationId="{4C9679AD-99AE-C0F4-71C1-2DD865F4CA67}"/>
          </ac:spMkLst>
        </pc:spChg>
        <pc:spChg chg="replST">
          <ac:chgData name="Bullinger, Marvin" userId="5b54ce5a-dc89-476f-af33-5abd75d5b1e8" providerId="ADAL" clId="{43B71669-8A80-4333-9349-B258A9296B49}" dt="2024-02-27T17:27:00.307" v="6483"/>
          <ac:spMkLst>
            <pc:docMk/>
            <pc:sldMk cId="4264639648" sldId="595"/>
            <ac:spMk id="165" creationId="{F43CB538-A546-031E-1156-97427903A7A1}"/>
          </ac:spMkLst>
        </pc:spChg>
        <pc:spChg chg="replST">
          <ac:chgData name="Bullinger, Marvin" userId="5b54ce5a-dc89-476f-af33-5abd75d5b1e8" providerId="ADAL" clId="{43B71669-8A80-4333-9349-B258A9296B49}" dt="2024-02-27T17:27:00.307" v="6486"/>
          <ac:spMkLst>
            <pc:docMk/>
            <pc:sldMk cId="4264639648" sldId="595"/>
            <ac:spMk id="166" creationId="{6C6C0AAA-4D9A-172E-6D70-BFC3140ACF77}"/>
          </ac:spMkLst>
        </pc:spChg>
        <pc:spChg chg="replST">
          <ac:chgData name="Bullinger, Marvin" userId="5b54ce5a-dc89-476f-af33-5abd75d5b1e8" providerId="ADAL" clId="{43B71669-8A80-4333-9349-B258A9296B49}" dt="2024-02-27T17:27:00.325" v="6490"/>
          <ac:spMkLst>
            <pc:docMk/>
            <pc:sldMk cId="4264639648" sldId="595"/>
            <ac:spMk id="168" creationId="{1659A26C-6DC1-4B00-2B3F-AC6D3A0EF111}"/>
          </ac:spMkLst>
        </pc:spChg>
        <pc:spChg chg="replST">
          <ac:chgData name="Bullinger, Marvin" userId="5b54ce5a-dc89-476f-af33-5abd75d5b1e8" providerId="ADAL" clId="{43B71669-8A80-4333-9349-B258A9296B49}" dt="2024-02-27T17:27:00.325" v="6493"/>
          <ac:spMkLst>
            <pc:docMk/>
            <pc:sldMk cId="4264639648" sldId="595"/>
            <ac:spMk id="169" creationId="{CF922B1C-FE0E-D2E4-F7E3-7FF71F5C60CE}"/>
          </ac:spMkLst>
        </pc:spChg>
        <pc:spChg chg="add mod">
          <ac:chgData name="Bullinger, Marvin" userId="5b54ce5a-dc89-476f-af33-5abd75d5b1e8" providerId="ADAL" clId="{43B71669-8A80-4333-9349-B258A9296B49}" dt="2024-02-27T17:27:36.931" v="7026" actId="478"/>
          <ac:spMkLst>
            <pc:docMk/>
            <pc:sldMk cId="4264639648" sldId="595"/>
            <ac:spMk id="210" creationId="{B1B4EAEA-A0CA-1709-E2D7-02DA518F4FB3}"/>
          </ac:spMkLst>
        </pc:spChg>
        <pc:spChg chg="mod ord replST">
          <ac:chgData name="Bullinger, Marvin" userId="5b54ce5a-dc89-476f-af33-5abd75d5b1e8" providerId="ADAL" clId="{43B71669-8A80-4333-9349-B258A9296B49}" dt="2024-02-27T17:27:37.818" v="7495"/>
          <ac:spMkLst>
            <pc:docMk/>
            <pc:sldMk cId="4264639648" sldId="595"/>
            <ac:spMk id="211" creationId="{26434492-0421-738E-406B-76CD169B3B87}"/>
          </ac:spMkLst>
        </pc:spChg>
        <pc:spChg chg="del">
          <ac:chgData name="Bullinger, Marvin" userId="5b54ce5a-dc89-476f-af33-5abd75d5b1e8" providerId="ADAL" clId="{43B71669-8A80-4333-9349-B258A9296B49}" dt="2024-02-27T17:27:36.973" v="7064" actId="478"/>
          <ac:spMkLst>
            <pc:docMk/>
            <pc:sldMk cId="4264639648" sldId="595"/>
            <ac:spMk id="212" creationId="{0BF846CE-CF2B-A300-DB9A-9247C8003C02}"/>
          </ac:spMkLst>
        </pc:spChg>
        <pc:spChg chg="del">
          <ac:chgData name="Bullinger, Marvin" userId="5b54ce5a-dc89-476f-af33-5abd75d5b1e8" providerId="ADAL" clId="{43B71669-8A80-4333-9349-B258A9296B49}" dt="2024-02-27T17:27:36.973" v="7063" actId="478"/>
          <ac:spMkLst>
            <pc:docMk/>
            <pc:sldMk cId="4264639648" sldId="595"/>
            <ac:spMk id="213" creationId="{4964DC6D-B3C8-EC3C-9E10-6968659015EB}"/>
          </ac:spMkLst>
        </pc:spChg>
        <pc:spChg chg="del">
          <ac:chgData name="Bullinger, Marvin" userId="5b54ce5a-dc89-476f-af33-5abd75d5b1e8" providerId="ADAL" clId="{43B71669-8A80-4333-9349-B258A9296B49}" dt="2024-02-27T17:27:36.973" v="7062" actId="478"/>
          <ac:spMkLst>
            <pc:docMk/>
            <pc:sldMk cId="4264639648" sldId="595"/>
            <ac:spMk id="214" creationId="{E790AADD-D28E-6E5E-55D2-0A10D910E546}"/>
          </ac:spMkLst>
        </pc:spChg>
        <pc:spChg chg="del">
          <ac:chgData name="Bullinger, Marvin" userId="5b54ce5a-dc89-476f-af33-5abd75d5b1e8" providerId="ADAL" clId="{43B71669-8A80-4333-9349-B258A9296B49}" dt="2024-02-27T17:27:36.973" v="7061" actId="478"/>
          <ac:spMkLst>
            <pc:docMk/>
            <pc:sldMk cId="4264639648" sldId="595"/>
            <ac:spMk id="215" creationId="{8ADDD387-1C21-1192-CB20-0E8AC65A10B9}"/>
          </ac:spMkLst>
        </pc:spChg>
        <pc:spChg chg="del">
          <ac:chgData name="Bullinger, Marvin" userId="5b54ce5a-dc89-476f-af33-5abd75d5b1e8" providerId="ADAL" clId="{43B71669-8A80-4333-9349-B258A9296B49}" dt="2024-02-27T17:27:36.971" v="7060" actId="478"/>
          <ac:spMkLst>
            <pc:docMk/>
            <pc:sldMk cId="4264639648" sldId="595"/>
            <ac:spMk id="216" creationId="{BF8D1EB0-2D81-9CAB-98E0-7B9B86AC3A2C}"/>
          </ac:spMkLst>
        </pc:spChg>
        <pc:spChg chg="del">
          <ac:chgData name="Bullinger, Marvin" userId="5b54ce5a-dc89-476f-af33-5abd75d5b1e8" providerId="ADAL" clId="{43B71669-8A80-4333-9349-B258A9296B49}" dt="2024-02-27T17:27:36.971" v="7059" actId="478"/>
          <ac:spMkLst>
            <pc:docMk/>
            <pc:sldMk cId="4264639648" sldId="595"/>
            <ac:spMk id="217" creationId="{E166774D-71E1-D28C-3456-8FA47B35C882}"/>
          </ac:spMkLst>
        </pc:spChg>
        <pc:spChg chg="del">
          <ac:chgData name="Bullinger, Marvin" userId="5b54ce5a-dc89-476f-af33-5abd75d5b1e8" providerId="ADAL" clId="{43B71669-8A80-4333-9349-B258A9296B49}" dt="2024-02-27T17:27:36.971" v="7056" actId="478"/>
          <ac:spMkLst>
            <pc:docMk/>
            <pc:sldMk cId="4264639648" sldId="595"/>
            <ac:spMk id="218" creationId="{DFC86AC3-4E38-049F-6B4B-7CB265C6CF46}"/>
          </ac:spMkLst>
        </pc:spChg>
        <pc:spChg chg="del">
          <ac:chgData name="Bullinger, Marvin" userId="5b54ce5a-dc89-476f-af33-5abd75d5b1e8" providerId="ADAL" clId="{43B71669-8A80-4333-9349-B258A9296B49}" dt="2024-02-27T17:27:36.964" v="7055" actId="478"/>
          <ac:spMkLst>
            <pc:docMk/>
            <pc:sldMk cId="4264639648" sldId="595"/>
            <ac:spMk id="219" creationId="{313E1305-B054-25C8-AA97-2517ADF1AABB}"/>
          </ac:spMkLst>
        </pc:spChg>
        <pc:spChg chg="del">
          <ac:chgData name="Bullinger, Marvin" userId="5b54ce5a-dc89-476f-af33-5abd75d5b1e8" providerId="ADAL" clId="{43B71669-8A80-4333-9349-B258A9296B49}" dt="2024-02-27T17:27:36.964" v="7054" actId="478"/>
          <ac:spMkLst>
            <pc:docMk/>
            <pc:sldMk cId="4264639648" sldId="595"/>
            <ac:spMk id="220" creationId="{BB905E0E-EDDD-52AE-5317-3BE18E067A31}"/>
          </ac:spMkLst>
        </pc:spChg>
        <pc:spChg chg="del">
          <ac:chgData name="Bullinger, Marvin" userId="5b54ce5a-dc89-476f-af33-5abd75d5b1e8" providerId="ADAL" clId="{43B71669-8A80-4333-9349-B258A9296B49}" dt="2024-02-27T17:27:36.964" v="7053" actId="478"/>
          <ac:spMkLst>
            <pc:docMk/>
            <pc:sldMk cId="4264639648" sldId="595"/>
            <ac:spMk id="221" creationId="{351A7A9C-B504-D55A-20AF-9C14C8DF5757}"/>
          </ac:spMkLst>
        </pc:spChg>
        <pc:spChg chg="del">
          <ac:chgData name="Bullinger, Marvin" userId="5b54ce5a-dc89-476f-af33-5abd75d5b1e8" providerId="ADAL" clId="{43B71669-8A80-4333-9349-B258A9296B49}" dt="2024-02-27T17:27:36.964" v="7052" actId="478"/>
          <ac:spMkLst>
            <pc:docMk/>
            <pc:sldMk cId="4264639648" sldId="595"/>
            <ac:spMk id="222" creationId="{7BBFE31A-5E0C-C5A8-357D-4278E1362E6A}"/>
          </ac:spMkLst>
        </pc:spChg>
        <pc:spChg chg="del">
          <ac:chgData name="Bullinger, Marvin" userId="5b54ce5a-dc89-476f-af33-5abd75d5b1e8" providerId="ADAL" clId="{43B71669-8A80-4333-9349-B258A9296B49}" dt="2024-02-27T17:27:36.964" v="7051" actId="478"/>
          <ac:spMkLst>
            <pc:docMk/>
            <pc:sldMk cId="4264639648" sldId="595"/>
            <ac:spMk id="223" creationId="{AC69191B-68D0-619F-4395-026D666F1F2A}"/>
          </ac:spMkLst>
        </pc:spChg>
        <pc:spChg chg="del">
          <ac:chgData name="Bullinger, Marvin" userId="5b54ce5a-dc89-476f-af33-5abd75d5b1e8" providerId="ADAL" clId="{43B71669-8A80-4333-9349-B258A9296B49}" dt="2024-02-27T17:27:36.973" v="7072" actId="478"/>
          <ac:spMkLst>
            <pc:docMk/>
            <pc:sldMk cId="4264639648" sldId="595"/>
            <ac:spMk id="224" creationId="{02B2E2DD-CDCF-CE93-6833-3A2CCDDDF8FD}"/>
          </ac:spMkLst>
        </pc:spChg>
        <pc:spChg chg="del">
          <ac:chgData name="Bullinger, Marvin" userId="5b54ce5a-dc89-476f-af33-5abd75d5b1e8" providerId="ADAL" clId="{43B71669-8A80-4333-9349-B258A9296B49}" dt="2024-02-27T17:27:36.973" v="7071" actId="478"/>
          <ac:spMkLst>
            <pc:docMk/>
            <pc:sldMk cId="4264639648" sldId="595"/>
            <ac:spMk id="225" creationId="{82FA56A3-E7C6-A046-79FD-B8776B0D6322}"/>
          </ac:spMkLst>
        </pc:spChg>
        <pc:spChg chg="del">
          <ac:chgData name="Bullinger, Marvin" userId="5b54ce5a-dc89-476f-af33-5abd75d5b1e8" providerId="ADAL" clId="{43B71669-8A80-4333-9349-B258A9296B49}" dt="2024-02-27T17:27:36.973" v="7070" actId="478"/>
          <ac:spMkLst>
            <pc:docMk/>
            <pc:sldMk cId="4264639648" sldId="595"/>
            <ac:spMk id="226" creationId="{7770D96A-EB00-81FE-876A-2F82551FE127}"/>
          </ac:spMkLst>
        </pc:spChg>
        <pc:spChg chg="del">
          <ac:chgData name="Bullinger, Marvin" userId="5b54ce5a-dc89-476f-af33-5abd75d5b1e8" providerId="ADAL" clId="{43B71669-8A80-4333-9349-B258A9296B49}" dt="2024-02-27T17:27:36.973" v="7069" actId="478"/>
          <ac:spMkLst>
            <pc:docMk/>
            <pc:sldMk cId="4264639648" sldId="595"/>
            <ac:spMk id="227" creationId="{E63174E9-453D-5788-D216-CAF83D4AE533}"/>
          </ac:spMkLst>
        </pc:spChg>
        <pc:spChg chg="del">
          <ac:chgData name="Bullinger, Marvin" userId="5b54ce5a-dc89-476f-af33-5abd75d5b1e8" providerId="ADAL" clId="{43B71669-8A80-4333-9349-B258A9296B49}" dt="2024-02-27T17:27:36.973" v="7068" actId="478"/>
          <ac:spMkLst>
            <pc:docMk/>
            <pc:sldMk cId="4264639648" sldId="595"/>
            <ac:spMk id="228" creationId="{04C15457-A516-42A1-31A9-9ADAD1D2EF1D}"/>
          </ac:spMkLst>
        </pc:spChg>
        <pc:spChg chg="del">
          <ac:chgData name="Bullinger, Marvin" userId="5b54ce5a-dc89-476f-af33-5abd75d5b1e8" providerId="ADAL" clId="{43B71669-8A80-4333-9349-B258A9296B49}" dt="2024-02-27T17:27:36.973" v="7067" actId="478"/>
          <ac:spMkLst>
            <pc:docMk/>
            <pc:sldMk cId="4264639648" sldId="595"/>
            <ac:spMk id="229" creationId="{9BBF8315-4A9B-2E99-044D-6BA9715CA165}"/>
          </ac:spMkLst>
        </pc:spChg>
        <pc:spChg chg="del">
          <ac:chgData name="Bullinger, Marvin" userId="5b54ce5a-dc89-476f-af33-5abd75d5b1e8" providerId="ADAL" clId="{43B71669-8A80-4333-9349-B258A9296B49}" dt="2024-02-27T17:27:36.973" v="7066" actId="478"/>
          <ac:spMkLst>
            <pc:docMk/>
            <pc:sldMk cId="4264639648" sldId="595"/>
            <ac:spMk id="230" creationId="{5C2A0938-9580-28C2-F82D-93883089895A}"/>
          </ac:spMkLst>
        </pc:spChg>
        <pc:spChg chg="del">
          <ac:chgData name="Bullinger, Marvin" userId="5b54ce5a-dc89-476f-af33-5abd75d5b1e8" providerId="ADAL" clId="{43B71669-8A80-4333-9349-B258A9296B49}" dt="2024-02-27T17:27:36.973" v="7065" actId="478"/>
          <ac:spMkLst>
            <pc:docMk/>
            <pc:sldMk cId="4264639648" sldId="595"/>
            <ac:spMk id="231" creationId="{775B15A4-E90F-ABC7-7B3F-76723898DCB5}"/>
          </ac:spMkLst>
        </pc:spChg>
        <pc:spChg chg="del">
          <ac:chgData name="Bullinger, Marvin" userId="5b54ce5a-dc89-476f-af33-5abd75d5b1e8" providerId="ADAL" clId="{43B71669-8A80-4333-9349-B258A9296B49}" dt="2024-02-27T17:27:36.971" v="7057" actId="478"/>
          <ac:spMkLst>
            <pc:docMk/>
            <pc:sldMk cId="4264639648" sldId="595"/>
            <ac:spMk id="232" creationId="{690E9DD6-65F2-7956-ABA1-0848AAE82619}"/>
          </ac:spMkLst>
        </pc:spChg>
        <pc:spChg chg="del">
          <ac:chgData name="Bullinger, Marvin" userId="5b54ce5a-dc89-476f-af33-5abd75d5b1e8" providerId="ADAL" clId="{43B71669-8A80-4333-9349-B258A9296B49}" dt="2024-02-27T17:27:36.964" v="7050" actId="478"/>
          <ac:spMkLst>
            <pc:docMk/>
            <pc:sldMk cId="4264639648" sldId="595"/>
            <ac:spMk id="233" creationId="{4CF611E2-2098-A50A-F6A5-3BF195E7538E}"/>
          </ac:spMkLst>
        </pc:spChg>
        <pc:spChg chg="del">
          <ac:chgData name="Bullinger, Marvin" userId="5b54ce5a-dc89-476f-af33-5abd75d5b1e8" providerId="ADAL" clId="{43B71669-8A80-4333-9349-B258A9296B49}" dt="2024-02-27T17:27:36.971" v="7058" actId="478"/>
          <ac:spMkLst>
            <pc:docMk/>
            <pc:sldMk cId="4264639648" sldId="595"/>
            <ac:spMk id="234" creationId="{347F0D2A-9076-B965-BA99-2D40D7AF836A}"/>
          </ac:spMkLst>
        </pc:spChg>
        <pc:spChg chg="del">
          <ac:chgData name="Bullinger, Marvin" userId="5b54ce5a-dc89-476f-af33-5abd75d5b1e8" providerId="ADAL" clId="{43B71669-8A80-4333-9349-B258A9296B49}" dt="2024-02-27T17:27:36.964" v="7049" actId="478"/>
          <ac:spMkLst>
            <pc:docMk/>
            <pc:sldMk cId="4264639648" sldId="595"/>
            <ac:spMk id="235" creationId="{0B7A77D6-0735-7129-7755-1BCB27D6F4A0}"/>
          </ac:spMkLst>
        </pc:spChg>
        <pc:spChg chg="del">
          <ac:chgData name="Bullinger, Marvin" userId="5b54ce5a-dc89-476f-af33-5abd75d5b1e8" providerId="ADAL" clId="{43B71669-8A80-4333-9349-B258A9296B49}" dt="2024-02-27T17:27:36.964" v="7048" actId="478"/>
          <ac:spMkLst>
            <pc:docMk/>
            <pc:sldMk cId="4264639648" sldId="595"/>
            <ac:spMk id="236" creationId="{63B270C6-CC66-3B9A-9DB9-694A220A0489}"/>
          </ac:spMkLst>
        </pc:spChg>
        <pc:spChg chg="del">
          <ac:chgData name="Bullinger, Marvin" userId="5b54ce5a-dc89-476f-af33-5abd75d5b1e8" providerId="ADAL" clId="{43B71669-8A80-4333-9349-B258A9296B49}" dt="2024-02-27T17:27:36.964" v="7047" actId="478"/>
          <ac:spMkLst>
            <pc:docMk/>
            <pc:sldMk cId="4264639648" sldId="595"/>
            <ac:spMk id="237" creationId="{1E9494D1-8769-DDB4-0335-FA0AAE6799C9}"/>
          </ac:spMkLst>
        </pc:spChg>
        <pc:spChg chg="del">
          <ac:chgData name="Bullinger, Marvin" userId="5b54ce5a-dc89-476f-af33-5abd75d5b1e8" providerId="ADAL" clId="{43B71669-8A80-4333-9349-B258A9296B49}" dt="2024-02-27T17:27:36.964" v="7046" actId="478"/>
          <ac:spMkLst>
            <pc:docMk/>
            <pc:sldMk cId="4264639648" sldId="595"/>
            <ac:spMk id="238" creationId="{ACC0140A-8794-1BDE-DCF5-E47BF9254887}"/>
          </ac:spMkLst>
        </pc:spChg>
        <pc:spChg chg="del">
          <ac:chgData name="Bullinger, Marvin" userId="5b54ce5a-dc89-476f-af33-5abd75d5b1e8" providerId="ADAL" clId="{43B71669-8A80-4333-9349-B258A9296B49}" dt="2024-02-27T17:27:36.964" v="7045" actId="478"/>
          <ac:spMkLst>
            <pc:docMk/>
            <pc:sldMk cId="4264639648" sldId="595"/>
            <ac:spMk id="239" creationId="{642D372C-3569-80E1-5988-D3E1DAC7E32B}"/>
          </ac:spMkLst>
        </pc:spChg>
        <pc:spChg chg="del">
          <ac:chgData name="Bullinger, Marvin" userId="5b54ce5a-dc89-476f-af33-5abd75d5b1e8" providerId="ADAL" clId="{43B71669-8A80-4333-9349-B258A9296B49}" dt="2024-02-27T17:27:36.964" v="7044" actId="478"/>
          <ac:spMkLst>
            <pc:docMk/>
            <pc:sldMk cId="4264639648" sldId="595"/>
            <ac:spMk id="240" creationId="{035B7AB4-96E0-F92D-FCB2-CC5064B91DD4}"/>
          </ac:spMkLst>
        </pc:spChg>
        <pc:spChg chg="del">
          <ac:chgData name="Bullinger, Marvin" userId="5b54ce5a-dc89-476f-af33-5abd75d5b1e8" providerId="ADAL" clId="{43B71669-8A80-4333-9349-B258A9296B49}" dt="2024-02-27T17:27:36.964" v="7043" actId="478"/>
          <ac:spMkLst>
            <pc:docMk/>
            <pc:sldMk cId="4264639648" sldId="595"/>
            <ac:spMk id="241" creationId="{32727D5A-ABDE-4BE7-E50B-5EB37DDE1201}"/>
          </ac:spMkLst>
        </pc:spChg>
        <pc:spChg chg="del">
          <ac:chgData name="Bullinger, Marvin" userId="5b54ce5a-dc89-476f-af33-5abd75d5b1e8" providerId="ADAL" clId="{43B71669-8A80-4333-9349-B258A9296B49}" dt="2024-02-27T17:27:36.964" v="7042" actId="478"/>
          <ac:spMkLst>
            <pc:docMk/>
            <pc:sldMk cId="4264639648" sldId="595"/>
            <ac:spMk id="242" creationId="{61C0AE4C-2407-E0DF-5180-AE834E55ABDA}"/>
          </ac:spMkLst>
        </pc:spChg>
        <pc:spChg chg="del">
          <ac:chgData name="Bullinger, Marvin" userId="5b54ce5a-dc89-476f-af33-5abd75d5b1e8" providerId="ADAL" clId="{43B71669-8A80-4333-9349-B258A9296B49}" dt="2024-02-27T17:27:36.963" v="7041" actId="478"/>
          <ac:spMkLst>
            <pc:docMk/>
            <pc:sldMk cId="4264639648" sldId="595"/>
            <ac:spMk id="243" creationId="{B312FEE5-439D-C897-A7DC-8BC5056DE0C9}"/>
          </ac:spMkLst>
        </pc:spChg>
        <pc:spChg chg="del">
          <ac:chgData name="Bullinger, Marvin" userId="5b54ce5a-dc89-476f-af33-5abd75d5b1e8" providerId="ADAL" clId="{43B71669-8A80-4333-9349-B258A9296B49}" dt="2024-02-27T17:27:36.962" v="7040" actId="478"/>
          <ac:spMkLst>
            <pc:docMk/>
            <pc:sldMk cId="4264639648" sldId="595"/>
            <ac:spMk id="244" creationId="{85EEC5D0-19A5-24A1-94AC-8C8D5BBBEEAC}"/>
          </ac:spMkLst>
        </pc:spChg>
        <pc:spChg chg="del">
          <ac:chgData name="Bullinger, Marvin" userId="5b54ce5a-dc89-476f-af33-5abd75d5b1e8" providerId="ADAL" clId="{43B71669-8A80-4333-9349-B258A9296B49}" dt="2024-02-27T17:27:36.960" v="7039" actId="478"/>
          <ac:spMkLst>
            <pc:docMk/>
            <pc:sldMk cId="4264639648" sldId="595"/>
            <ac:spMk id="245" creationId="{D85F2D6D-B425-03A7-3155-1D0A58E432D5}"/>
          </ac:spMkLst>
        </pc:spChg>
        <pc:spChg chg="del">
          <ac:chgData name="Bullinger, Marvin" userId="5b54ce5a-dc89-476f-af33-5abd75d5b1e8" providerId="ADAL" clId="{43B71669-8A80-4333-9349-B258A9296B49}" dt="2024-02-27T17:27:36.960" v="7038" actId="478"/>
          <ac:spMkLst>
            <pc:docMk/>
            <pc:sldMk cId="4264639648" sldId="595"/>
            <ac:spMk id="246" creationId="{F5A71D50-06EE-4555-5715-2F5084998B08}"/>
          </ac:spMkLst>
        </pc:spChg>
        <pc:spChg chg="del">
          <ac:chgData name="Bullinger, Marvin" userId="5b54ce5a-dc89-476f-af33-5abd75d5b1e8" providerId="ADAL" clId="{43B71669-8A80-4333-9349-B258A9296B49}" dt="2024-02-27T17:27:36.960" v="7037" actId="478"/>
          <ac:spMkLst>
            <pc:docMk/>
            <pc:sldMk cId="4264639648" sldId="595"/>
            <ac:spMk id="247" creationId="{A53C2A13-4E38-BFD4-F5AC-7EC2372587DC}"/>
          </ac:spMkLst>
        </pc:spChg>
        <pc:spChg chg="del">
          <ac:chgData name="Bullinger, Marvin" userId="5b54ce5a-dc89-476f-af33-5abd75d5b1e8" providerId="ADAL" clId="{43B71669-8A80-4333-9349-B258A9296B49}" dt="2024-02-27T17:27:36.960" v="7036" actId="478"/>
          <ac:spMkLst>
            <pc:docMk/>
            <pc:sldMk cId="4264639648" sldId="595"/>
            <ac:spMk id="248" creationId="{8A129559-0119-E444-F980-F6D8C7441B14}"/>
          </ac:spMkLst>
        </pc:spChg>
        <pc:spChg chg="replST">
          <ac:chgData name="Bullinger, Marvin" userId="5b54ce5a-dc89-476f-af33-5abd75d5b1e8" providerId="ADAL" clId="{43B71669-8A80-4333-9349-B258A9296B49}" dt="2024-02-27T17:27:37.716" v="7447"/>
          <ac:spMkLst>
            <pc:docMk/>
            <pc:sldMk cId="4264639648" sldId="595"/>
            <ac:spMk id="249" creationId="{CD57AAF1-EC29-7AEE-BB25-9151FC6A06B7}"/>
          </ac:spMkLst>
        </pc:spChg>
        <pc:spChg chg="replST">
          <ac:chgData name="Bullinger, Marvin" userId="5b54ce5a-dc89-476f-af33-5abd75d5b1e8" providerId="ADAL" clId="{43B71669-8A80-4333-9349-B258A9296B49}" dt="2024-02-27T17:27:37.724" v="7450"/>
          <ac:spMkLst>
            <pc:docMk/>
            <pc:sldMk cId="4264639648" sldId="595"/>
            <ac:spMk id="250" creationId="{0BD1F779-315A-3289-01E2-3BC7EC017F7F}"/>
          </ac:spMkLst>
        </pc:spChg>
        <pc:spChg chg="replST">
          <ac:chgData name="Bullinger, Marvin" userId="5b54ce5a-dc89-476f-af33-5abd75d5b1e8" providerId="ADAL" clId="{43B71669-8A80-4333-9349-B258A9296B49}" dt="2024-02-27T17:27:37.732" v="7454"/>
          <ac:spMkLst>
            <pc:docMk/>
            <pc:sldMk cId="4264639648" sldId="595"/>
            <ac:spMk id="252" creationId="{14CC0781-E5C7-1CE2-01FB-CB1F087B07F4}"/>
          </ac:spMkLst>
        </pc:spChg>
        <pc:spChg chg="replST">
          <ac:chgData name="Bullinger, Marvin" userId="5b54ce5a-dc89-476f-af33-5abd75d5b1e8" providerId="ADAL" clId="{43B71669-8A80-4333-9349-B258A9296B49}" dt="2024-02-27T17:27:37.740" v="7457"/>
          <ac:spMkLst>
            <pc:docMk/>
            <pc:sldMk cId="4264639648" sldId="595"/>
            <ac:spMk id="253" creationId="{A19A462A-1741-9515-22AB-B4096ECCB0C6}"/>
          </ac:spMkLst>
        </pc:spChg>
        <pc:spChg chg="replST">
          <ac:chgData name="Bullinger, Marvin" userId="5b54ce5a-dc89-476f-af33-5abd75d5b1e8" providerId="ADAL" clId="{43B71669-8A80-4333-9349-B258A9296B49}" dt="2024-02-27T17:27:37.749" v="7461"/>
          <ac:spMkLst>
            <pc:docMk/>
            <pc:sldMk cId="4264639648" sldId="595"/>
            <ac:spMk id="255" creationId="{FD986187-D53B-0DDA-0B50-CACCBD840D9D}"/>
          </ac:spMkLst>
        </pc:spChg>
        <pc:spChg chg="replST">
          <ac:chgData name="Bullinger, Marvin" userId="5b54ce5a-dc89-476f-af33-5abd75d5b1e8" providerId="ADAL" clId="{43B71669-8A80-4333-9349-B258A9296B49}" dt="2024-02-27T17:27:37.757" v="7464"/>
          <ac:spMkLst>
            <pc:docMk/>
            <pc:sldMk cId="4264639648" sldId="595"/>
            <ac:spMk id="256" creationId="{8CEF6DFE-830B-BBE2-CE19-0B920E7E0657}"/>
          </ac:spMkLst>
        </pc:spChg>
        <pc:spChg chg="ord replST">
          <ac:chgData name="Bullinger, Marvin" userId="5b54ce5a-dc89-476f-af33-5abd75d5b1e8" providerId="ADAL" clId="{43B71669-8A80-4333-9349-B258A9296B49}" dt="2024-02-27T17:27:37.818" v="7498"/>
          <ac:spMkLst>
            <pc:docMk/>
            <pc:sldMk cId="4264639648" sldId="595"/>
            <ac:spMk id="257" creationId="{6EECA0BE-7CF9-A6BD-E32D-797DF04C9EA6}"/>
          </ac:spMkLst>
        </pc:spChg>
        <pc:spChg chg="replST">
          <ac:chgData name="Bullinger, Marvin" userId="5b54ce5a-dc89-476f-af33-5abd75d5b1e8" providerId="ADAL" clId="{43B71669-8A80-4333-9349-B258A9296B49}" dt="2024-02-27T17:27:37.765" v="7468"/>
          <ac:spMkLst>
            <pc:docMk/>
            <pc:sldMk cId="4264639648" sldId="595"/>
            <ac:spMk id="258" creationId="{130D666F-D2FC-B2C2-D72A-C5913E9956D0}"/>
          </ac:spMkLst>
        </pc:spChg>
        <pc:spChg chg="replST">
          <ac:chgData name="Bullinger, Marvin" userId="5b54ce5a-dc89-476f-af33-5abd75d5b1e8" providerId="ADAL" clId="{43B71669-8A80-4333-9349-B258A9296B49}" dt="2024-02-27T17:27:37.782" v="7471"/>
          <ac:spMkLst>
            <pc:docMk/>
            <pc:sldMk cId="4264639648" sldId="595"/>
            <ac:spMk id="259" creationId="{1B942985-60D6-4C4B-A30B-6AB6E0050EBA}"/>
          </ac:spMkLst>
        </pc:spChg>
        <pc:spChg chg="replST">
          <ac:chgData name="Bullinger, Marvin" userId="5b54ce5a-dc89-476f-af33-5abd75d5b1e8" providerId="ADAL" clId="{43B71669-8A80-4333-9349-B258A9296B49}" dt="2024-02-27T17:27:37.782" v="7475"/>
          <ac:spMkLst>
            <pc:docMk/>
            <pc:sldMk cId="4264639648" sldId="595"/>
            <ac:spMk id="261" creationId="{9E0853EC-7FFA-8235-5EE9-651C15C8358C}"/>
          </ac:spMkLst>
        </pc:spChg>
        <pc:spChg chg="replST">
          <ac:chgData name="Bullinger, Marvin" userId="5b54ce5a-dc89-476f-af33-5abd75d5b1e8" providerId="ADAL" clId="{43B71669-8A80-4333-9349-B258A9296B49}" dt="2024-02-27T17:27:37.782" v="7478"/>
          <ac:spMkLst>
            <pc:docMk/>
            <pc:sldMk cId="4264639648" sldId="595"/>
            <ac:spMk id="262" creationId="{B259635D-B8B5-6C92-685B-AA9C4F6D5F33}"/>
          </ac:spMkLst>
        </pc:spChg>
        <pc:spChg chg="replST">
          <ac:chgData name="Bullinger, Marvin" userId="5b54ce5a-dc89-476f-af33-5abd75d5b1e8" providerId="ADAL" clId="{43B71669-8A80-4333-9349-B258A9296B49}" dt="2024-02-27T17:27:37.799" v="7482"/>
          <ac:spMkLst>
            <pc:docMk/>
            <pc:sldMk cId="4264639648" sldId="595"/>
            <ac:spMk id="264" creationId="{3BEA4311-BE03-E625-5A81-93A8BD81E195}"/>
          </ac:spMkLst>
        </pc:spChg>
        <pc:spChg chg="replST">
          <ac:chgData name="Bullinger, Marvin" userId="5b54ce5a-dc89-476f-af33-5abd75d5b1e8" providerId="ADAL" clId="{43B71669-8A80-4333-9349-B258A9296B49}" dt="2024-02-27T17:27:37.799" v="7485"/>
          <ac:spMkLst>
            <pc:docMk/>
            <pc:sldMk cId="4264639648" sldId="595"/>
            <ac:spMk id="265" creationId="{F61C6B09-BD9E-3265-D8D7-F97E0BCD7968}"/>
          </ac:spMkLst>
        </pc:spChg>
        <pc:spChg chg="replST">
          <ac:chgData name="Bullinger, Marvin" userId="5b54ce5a-dc89-476f-af33-5abd75d5b1e8" providerId="ADAL" clId="{43B71669-8A80-4333-9349-B258A9296B49}" dt="2024-02-27T17:27:37.799" v="7489"/>
          <ac:spMkLst>
            <pc:docMk/>
            <pc:sldMk cId="4264639648" sldId="595"/>
            <ac:spMk id="267" creationId="{CCC5E4C0-8A02-C572-BE68-D94AC6BECFF6}"/>
          </ac:spMkLst>
        </pc:spChg>
        <pc:spChg chg="replST">
          <ac:chgData name="Bullinger, Marvin" userId="5b54ce5a-dc89-476f-af33-5abd75d5b1e8" providerId="ADAL" clId="{43B71669-8A80-4333-9349-B258A9296B49}" dt="2024-02-27T17:27:37.818" v="7492"/>
          <ac:spMkLst>
            <pc:docMk/>
            <pc:sldMk cId="4264639648" sldId="595"/>
            <ac:spMk id="268" creationId="{3B12BD40-BF8B-354C-49AA-2B9C565A2640}"/>
          </ac:spMkLst>
        </pc:spChg>
        <pc:cxnChg chg="del ord replST">
          <ac:chgData name="Bullinger, Marvin" userId="5b54ce5a-dc89-476f-af33-5abd75d5b1e8" providerId="ADAL" clId="{43B71669-8A80-4333-9349-B258A9296B49}" dt="2024-02-27T17:26:59.242" v="5923" actId="478"/>
          <ac:cxnSpMkLst>
            <pc:docMk/>
            <pc:sldMk cId="4264639648" sldId="595"/>
            <ac:cxnSpMk id="44" creationId="{C28746E1-7289-7978-3E8C-E632245A9B3E}"/>
          </ac:cxnSpMkLst>
        </pc:cxnChg>
        <pc:cxnChg chg="del ord replST">
          <ac:chgData name="Bullinger, Marvin" userId="5b54ce5a-dc89-476f-af33-5abd75d5b1e8" providerId="ADAL" clId="{43B71669-8A80-4333-9349-B258A9296B49}" dt="2024-02-27T17:26:59.244" v="5924" actId="478"/>
          <ac:cxnSpMkLst>
            <pc:docMk/>
            <pc:sldMk cId="4264639648" sldId="595"/>
            <ac:cxnSpMk id="47" creationId="{FF5E43EE-CC3B-7B5B-22E3-A65F8A6791AC}"/>
          </ac:cxnSpMkLst>
        </pc:cxnChg>
        <pc:cxnChg chg="del ord replST">
          <ac:chgData name="Bullinger, Marvin" userId="5b54ce5a-dc89-476f-af33-5abd75d5b1e8" providerId="ADAL" clId="{43B71669-8A80-4333-9349-B258A9296B49}" dt="2024-02-27T17:26:59.244" v="5925" actId="478"/>
          <ac:cxnSpMkLst>
            <pc:docMk/>
            <pc:sldMk cId="4264639648" sldId="595"/>
            <ac:cxnSpMk id="50" creationId="{4919A877-C111-1451-2A7D-95C7D2634AF0}"/>
          </ac:cxnSpMkLst>
        </pc:cxnChg>
        <pc:cxnChg chg="del ord replST">
          <ac:chgData name="Bullinger, Marvin" userId="5b54ce5a-dc89-476f-af33-5abd75d5b1e8" providerId="ADAL" clId="{43B71669-8A80-4333-9349-B258A9296B49}" dt="2024-02-27T17:26:59.244" v="5927" actId="478"/>
          <ac:cxnSpMkLst>
            <pc:docMk/>
            <pc:sldMk cId="4264639648" sldId="595"/>
            <ac:cxnSpMk id="56" creationId="{B556A72D-F422-3323-B274-58264CFEB63E}"/>
          </ac:cxnSpMkLst>
        </pc:cxnChg>
        <pc:cxnChg chg="del ord replST">
          <ac:chgData name="Bullinger, Marvin" userId="5b54ce5a-dc89-476f-af33-5abd75d5b1e8" providerId="ADAL" clId="{43B71669-8A80-4333-9349-B258A9296B49}" dt="2024-02-27T17:26:59.244" v="5928" actId="478"/>
          <ac:cxnSpMkLst>
            <pc:docMk/>
            <pc:sldMk cId="4264639648" sldId="595"/>
            <ac:cxnSpMk id="59" creationId="{27EFF704-C62A-763E-F57E-F7328F9C5918}"/>
          </ac:cxnSpMkLst>
        </pc:cxnChg>
        <pc:cxnChg chg="del ord replST">
          <ac:chgData name="Bullinger, Marvin" userId="5b54ce5a-dc89-476f-af33-5abd75d5b1e8" providerId="ADAL" clId="{43B71669-8A80-4333-9349-B258A9296B49}" dt="2024-02-27T17:26:59.244" v="5929" actId="478"/>
          <ac:cxnSpMkLst>
            <pc:docMk/>
            <pc:sldMk cId="4264639648" sldId="595"/>
            <ac:cxnSpMk id="62" creationId="{D191CD5F-5F41-975D-5517-50D96C6A390C}"/>
          </ac:cxnSpMkLst>
        </pc:cxnChg>
        <pc:cxnChg chg="del ord replST">
          <ac:chgData name="Bullinger, Marvin" userId="5b54ce5a-dc89-476f-af33-5abd75d5b1e8" providerId="ADAL" clId="{43B71669-8A80-4333-9349-B258A9296B49}" dt="2024-02-27T17:26:59.244" v="5930" actId="478"/>
          <ac:cxnSpMkLst>
            <pc:docMk/>
            <pc:sldMk cId="4264639648" sldId="595"/>
            <ac:cxnSpMk id="65" creationId="{B37423B0-523C-FB06-4C43-4371D2D4F386}"/>
          </ac:cxnSpMkLst>
        </pc:cxnChg>
        <pc:cxnChg chg="del ord replST">
          <ac:chgData name="Bullinger, Marvin" userId="5b54ce5a-dc89-476f-af33-5abd75d5b1e8" providerId="ADAL" clId="{43B71669-8A80-4333-9349-B258A9296B49}" dt="2024-02-27T17:26:59.253" v="5931" actId="478"/>
          <ac:cxnSpMkLst>
            <pc:docMk/>
            <pc:sldMk cId="4264639648" sldId="595"/>
            <ac:cxnSpMk id="68" creationId="{845704FE-C1CA-74EA-BE56-54C5E1820E35}"/>
          </ac:cxnSpMkLst>
        </pc:cxnChg>
        <pc:cxnChg chg="del ord replST">
          <ac:chgData name="Bullinger, Marvin" userId="5b54ce5a-dc89-476f-af33-5abd75d5b1e8" providerId="ADAL" clId="{43B71669-8A80-4333-9349-B258A9296B49}" dt="2024-02-27T17:26:59.253" v="5932" actId="478"/>
          <ac:cxnSpMkLst>
            <pc:docMk/>
            <pc:sldMk cId="4264639648" sldId="595"/>
            <ac:cxnSpMk id="69" creationId="{D9D110E6-121E-F28B-3776-18413DD26313}"/>
          </ac:cxnSpMkLst>
        </pc:cxnChg>
        <pc:cxnChg chg="del ord replST">
          <ac:chgData name="Bullinger, Marvin" userId="5b54ce5a-dc89-476f-af33-5abd75d5b1e8" providerId="ADAL" clId="{43B71669-8A80-4333-9349-B258A9296B49}" dt="2024-02-27T17:27:36.931" v="7027" actId="478"/>
          <ac:cxnSpMkLst>
            <pc:docMk/>
            <pc:sldMk cId="4264639648" sldId="595"/>
            <ac:cxnSpMk id="149" creationId="{70CB3286-7063-F080-2D25-A3D0EAE6AB98}"/>
          </ac:cxnSpMkLst>
        </pc:cxnChg>
        <pc:cxnChg chg="del ord replST">
          <ac:chgData name="Bullinger, Marvin" userId="5b54ce5a-dc89-476f-af33-5abd75d5b1e8" providerId="ADAL" clId="{43B71669-8A80-4333-9349-B258A9296B49}" dt="2024-02-27T17:27:36.931" v="7028" actId="478"/>
          <ac:cxnSpMkLst>
            <pc:docMk/>
            <pc:sldMk cId="4264639648" sldId="595"/>
            <ac:cxnSpMk id="152" creationId="{E0B38DD3-D786-7CEB-C93F-184709B622C2}"/>
          </ac:cxnSpMkLst>
        </pc:cxnChg>
        <pc:cxnChg chg="del ord replST">
          <ac:chgData name="Bullinger, Marvin" userId="5b54ce5a-dc89-476f-af33-5abd75d5b1e8" providerId="ADAL" clId="{43B71669-8A80-4333-9349-B258A9296B49}" dt="2024-02-27T17:27:36.931" v="7029" actId="478"/>
          <ac:cxnSpMkLst>
            <pc:docMk/>
            <pc:sldMk cId="4264639648" sldId="595"/>
            <ac:cxnSpMk id="155" creationId="{8CCF4C5B-4326-3E00-9305-FE710D149309}"/>
          </ac:cxnSpMkLst>
        </pc:cxnChg>
        <pc:cxnChg chg="del ord replST">
          <ac:chgData name="Bullinger, Marvin" userId="5b54ce5a-dc89-476f-af33-5abd75d5b1e8" providerId="ADAL" clId="{43B71669-8A80-4333-9349-B258A9296B49}" dt="2024-02-27T17:27:36.931" v="7031" actId="478"/>
          <ac:cxnSpMkLst>
            <pc:docMk/>
            <pc:sldMk cId="4264639648" sldId="595"/>
            <ac:cxnSpMk id="161" creationId="{B1D1BF03-68DE-FFA0-6D8D-29D097550A41}"/>
          </ac:cxnSpMkLst>
        </pc:cxnChg>
        <pc:cxnChg chg="del ord replST">
          <ac:chgData name="Bullinger, Marvin" userId="5b54ce5a-dc89-476f-af33-5abd75d5b1e8" providerId="ADAL" clId="{43B71669-8A80-4333-9349-B258A9296B49}" dt="2024-02-27T17:27:36.946" v="7032" actId="478"/>
          <ac:cxnSpMkLst>
            <pc:docMk/>
            <pc:sldMk cId="4264639648" sldId="595"/>
            <ac:cxnSpMk id="164" creationId="{CED662D5-F406-45AA-2DB2-5B5B7E640291}"/>
          </ac:cxnSpMkLst>
        </pc:cxnChg>
        <pc:cxnChg chg="del ord replST">
          <ac:chgData name="Bullinger, Marvin" userId="5b54ce5a-dc89-476f-af33-5abd75d5b1e8" providerId="ADAL" clId="{43B71669-8A80-4333-9349-B258A9296B49}" dt="2024-02-27T17:27:36.946" v="7033" actId="478"/>
          <ac:cxnSpMkLst>
            <pc:docMk/>
            <pc:sldMk cId="4264639648" sldId="595"/>
            <ac:cxnSpMk id="167" creationId="{07CE0C3C-1AB8-3415-242C-802894A155A8}"/>
          </ac:cxnSpMkLst>
        </pc:cxnChg>
        <pc:cxnChg chg="del ord replST">
          <ac:chgData name="Bullinger, Marvin" userId="5b54ce5a-dc89-476f-af33-5abd75d5b1e8" providerId="ADAL" clId="{43B71669-8A80-4333-9349-B258A9296B49}" dt="2024-02-27T17:27:36.946" v="7034" actId="478"/>
          <ac:cxnSpMkLst>
            <pc:docMk/>
            <pc:sldMk cId="4264639648" sldId="595"/>
            <ac:cxnSpMk id="170" creationId="{5DFADAC8-A193-A046-7438-1516F0E8BF86}"/>
          </ac:cxnSpMkLst>
        </pc:cxnChg>
        <pc:cxnChg chg="del ord replST">
          <ac:chgData name="Bullinger, Marvin" userId="5b54ce5a-dc89-476f-af33-5abd75d5b1e8" providerId="ADAL" clId="{43B71669-8A80-4333-9349-B258A9296B49}" dt="2024-02-27T17:27:36.946" v="7035" actId="478"/>
          <ac:cxnSpMkLst>
            <pc:docMk/>
            <pc:sldMk cId="4264639648" sldId="595"/>
            <ac:cxnSpMk id="171" creationId="{99F535BC-804C-FA36-2BDD-E0C862DAA92B}"/>
          </ac:cxnSpMkLst>
        </pc:cxnChg>
        <pc:cxnChg chg="ord replST">
          <ac:chgData name="Bullinger, Marvin" userId="5b54ce5a-dc89-476f-af33-5abd75d5b1e8" providerId="ADAL" clId="{43B71669-8A80-4333-9349-B258A9296B49}" dt="2024-02-27T17:27:37.818" v="7496"/>
          <ac:cxnSpMkLst>
            <pc:docMk/>
            <pc:sldMk cId="4264639648" sldId="595"/>
            <ac:cxnSpMk id="251" creationId="{A2C0DA8F-AE68-FF2C-873F-AE1373199EC8}"/>
          </ac:cxnSpMkLst>
        </pc:cxnChg>
        <pc:cxnChg chg="ord replST">
          <ac:chgData name="Bullinger, Marvin" userId="5b54ce5a-dc89-476f-af33-5abd75d5b1e8" providerId="ADAL" clId="{43B71669-8A80-4333-9349-B258A9296B49}" dt="2024-02-27T17:27:37.818" v="7497"/>
          <ac:cxnSpMkLst>
            <pc:docMk/>
            <pc:sldMk cId="4264639648" sldId="595"/>
            <ac:cxnSpMk id="254" creationId="{7A978714-4638-BF89-0E4B-1E718065A18D}"/>
          </ac:cxnSpMkLst>
        </pc:cxnChg>
        <pc:cxnChg chg="ord replST">
          <ac:chgData name="Bullinger, Marvin" userId="5b54ce5a-dc89-476f-af33-5abd75d5b1e8" providerId="ADAL" clId="{43B71669-8A80-4333-9349-B258A9296B49}" dt="2024-02-27T17:27:37.818" v="7499"/>
          <ac:cxnSpMkLst>
            <pc:docMk/>
            <pc:sldMk cId="4264639648" sldId="595"/>
            <ac:cxnSpMk id="260" creationId="{04877379-96EB-13E5-F44C-B6E7837541CB}"/>
          </ac:cxnSpMkLst>
        </pc:cxnChg>
        <pc:cxnChg chg="ord replST">
          <ac:chgData name="Bullinger, Marvin" userId="5b54ce5a-dc89-476f-af33-5abd75d5b1e8" providerId="ADAL" clId="{43B71669-8A80-4333-9349-B258A9296B49}" dt="2024-02-27T17:27:37.834" v="7500"/>
          <ac:cxnSpMkLst>
            <pc:docMk/>
            <pc:sldMk cId="4264639648" sldId="595"/>
            <ac:cxnSpMk id="263" creationId="{BD3A82A3-0D08-E969-7C85-D71B9CC28C70}"/>
          </ac:cxnSpMkLst>
        </pc:cxnChg>
        <pc:cxnChg chg="ord replST">
          <ac:chgData name="Bullinger, Marvin" userId="5b54ce5a-dc89-476f-af33-5abd75d5b1e8" providerId="ADAL" clId="{43B71669-8A80-4333-9349-B258A9296B49}" dt="2024-02-27T17:27:37.834" v="7501"/>
          <ac:cxnSpMkLst>
            <pc:docMk/>
            <pc:sldMk cId="4264639648" sldId="595"/>
            <ac:cxnSpMk id="266" creationId="{0284C1C9-E9B5-D7EE-21D6-56453E315EBD}"/>
          </ac:cxnSpMkLst>
        </pc:cxnChg>
        <pc:cxnChg chg="ord replST">
          <ac:chgData name="Bullinger, Marvin" userId="5b54ce5a-dc89-476f-af33-5abd75d5b1e8" providerId="ADAL" clId="{43B71669-8A80-4333-9349-B258A9296B49}" dt="2024-02-27T17:27:37.834" v="7502"/>
          <ac:cxnSpMkLst>
            <pc:docMk/>
            <pc:sldMk cId="4264639648" sldId="595"/>
            <ac:cxnSpMk id="269" creationId="{CA767726-C3C5-87A2-5F86-F99854A0C3E9}"/>
          </ac:cxnSpMkLst>
        </pc:cxnChg>
        <pc:cxnChg chg="ord replST">
          <ac:chgData name="Bullinger, Marvin" userId="5b54ce5a-dc89-476f-af33-5abd75d5b1e8" providerId="ADAL" clId="{43B71669-8A80-4333-9349-B258A9296B49}" dt="2024-02-27T17:27:37.834" v="7503"/>
          <ac:cxnSpMkLst>
            <pc:docMk/>
            <pc:sldMk cId="4264639648" sldId="595"/>
            <ac:cxnSpMk id="270" creationId="{CD50FBE1-DFEB-4F7A-1F36-659027F7F77A}"/>
          </ac:cxnSpMkLst>
        </pc:cxnChg>
      </pc:sldChg>
      <pc:sldChg chg="delSp modSp del mod replTag">
        <pc:chgData name="Bullinger, Marvin" userId="5b54ce5a-dc89-476f-af33-5abd75d5b1e8" providerId="ADAL" clId="{43B71669-8A80-4333-9349-B258A9296B49}" dt="2024-02-27T17:26:58.329" v="5663" actId="2696"/>
        <pc:sldMkLst>
          <pc:docMk/>
          <pc:sldMk cId="3200844942" sldId="596"/>
        </pc:sldMkLst>
        <pc:spChg chg="del">
          <ac:chgData name="Bullinger, Marvin" userId="5b54ce5a-dc89-476f-af33-5abd75d5b1e8" providerId="ADAL" clId="{43B71669-8A80-4333-9349-B258A9296B49}" dt="2024-02-27T17:26:23.297" v="4665" actId="478"/>
          <ac:spMkLst>
            <pc:docMk/>
            <pc:sldMk cId="3200844942" sldId="596"/>
            <ac:spMk id="2" creationId="{F43EEDDF-F364-E1D4-1815-688A6C149B8B}"/>
          </ac:spMkLst>
        </pc:spChg>
        <pc:spChg chg="del">
          <ac:chgData name="Bullinger, Marvin" userId="5b54ce5a-dc89-476f-af33-5abd75d5b1e8" providerId="ADAL" clId="{43B71669-8A80-4333-9349-B258A9296B49}" dt="2024-02-27T17:26:23.297" v="4664" actId="478"/>
          <ac:spMkLst>
            <pc:docMk/>
            <pc:sldMk cId="3200844942" sldId="596"/>
            <ac:spMk id="3" creationId="{BE903A12-B390-6F3D-8277-5D5927EE5DD2}"/>
          </ac:spMkLst>
        </pc:spChg>
        <pc:spChg chg="del">
          <ac:chgData name="Bullinger, Marvin" userId="5b54ce5a-dc89-476f-af33-5abd75d5b1e8" providerId="ADAL" clId="{43B71669-8A80-4333-9349-B258A9296B49}" dt="2024-02-27T17:26:23.297" v="4663" actId="478"/>
          <ac:spMkLst>
            <pc:docMk/>
            <pc:sldMk cId="3200844942" sldId="596"/>
            <ac:spMk id="4" creationId="{467BB534-29AC-E25A-A4ED-8B18CA4D0580}"/>
          </ac:spMkLst>
        </pc:spChg>
        <pc:spChg chg="del">
          <ac:chgData name="Bullinger, Marvin" userId="5b54ce5a-dc89-476f-af33-5abd75d5b1e8" providerId="ADAL" clId="{43B71669-8A80-4333-9349-B258A9296B49}" dt="2024-02-27T17:26:23.297" v="4662" actId="478"/>
          <ac:spMkLst>
            <pc:docMk/>
            <pc:sldMk cId="3200844942" sldId="596"/>
            <ac:spMk id="5" creationId="{704CCBBB-C0B0-5F6F-E2D6-67516C2FB686}"/>
          </ac:spMkLst>
        </pc:spChg>
        <pc:spChg chg="del">
          <ac:chgData name="Bullinger, Marvin" userId="5b54ce5a-dc89-476f-af33-5abd75d5b1e8" providerId="ADAL" clId="{43B71669-8A80-4333-9349-B258A9296B49}" dt="2024-02-27T17:26:23.297" v="4661" actId="478"/>
          <ac:spMkLst>
            <pc:docMk/>
            <pc:sldMk cId="3200844942" sldId="596"/>
            <ac:spMk id="6" creationId="{637B813A-F889-7211-E104-3EC97B8CE67A}"/>
          </ac:spMkLst>
        </pc:spChg>
        <pc:spChg chg="del">
          <ac:chgData name="Bullinger, Marvin" userId="5b54ce5a-dc89-476f-af33-5abd75d5b1e8" providerId="ADAL" clId="{43B71669-8A80-4333-9349-B258A9296B49}" dt="2024-02-27T17:26:23.297" v="4660" actId="478"/>
          <ac:spMkLst>
            <pc:docMk/>
            <pc:sldMk cId="3200844942" sldId="596"/>
            <ac:spMk id="7" creationId="{B5829234-5D30-36D1-90A5-C20293F79082}"/>
          </ac:spMkLst>
        </pc:spChg>
        <pc:spChg chg="del">
          <ac:chgData name="Bullinger, Marvin" userId="5b54ce5a-dc89-476f-af33-5abd75d5b1e8" providerId="ADAL" clId="{43B71669-8A80-4333-9349-B258A9296B49}" dt="2024-02-27T17:26:23.297" v="4659" actId="478"/>
          <ac:spMkLst>
            <pc:docMk/>
            <pc:sldMk cId="3200844942" sldId="596"/>
            <ac:spMk id="8" creationId="{61AAE2EA-0B7E-7A6B-64D1-86B95F1B9F65}"/>
          </ac:spMkLst>
        </pc:spChg>
        <pc:spChg chg="del">
          <ac:chgData name="Bullinger, Marvin" userId="5b54ce5a-dc89-476f-af33-5abd75d5b1e8" providerId="ADAL" clId="{43B71669-8A80-4333-9349-B258A9296B49}" dt="2024-02-27T17:26:23.297" v="4658" actId="478"/>
          <ac:spMkLst>
            <pc:docMk/>
            <pc:sldMk cId="3200844942" sldId="596"/>
            <ac:spMk id="9" creationId="{29AF782D-8A30-BB19-C359-D930205BB622}"/>
          </ac:spMkLst>
        </pc:spChg>
        <pc:spChg chg="del">
          <ac:chgData name="Bullinger, Marvin" userId="5b54ce5a-dc89-476f-af33-5abd75d5b1e8" providerId="ADAL" clId="{43B71669-8A80-4333-9349-B258A9296B49}" dt="2024-02-27T17:26:23.297" v="4657" actId="478"/>
          <ac:spMkLst>
            <pc:docMk/>
            <pc:sldMk cId="3200844942" sldId="596"/>
            <ac:spMk id="10" creationId="{B7E06A03-1321-F89B-FEF1-81D2A2B6B25B}"/>
          </ac:spMkLst>
        </pc:spChg>
        <pc:spChg chg="del">
          <ac:chgData name="Bullinger, Marvin" userId="5b54ce5a-dc89-476f-af33-5abd75d5b1e8" providerId="ADAL" clId="{43B71669-8A80-4333-9349-B258A9296B49}" dt="2024-02-27T17:26:23.297" v="4656" actId="478"/>
          <ac:spMkLst>
            <pc:docMk/>
            <pc:sldMk cId="3200844942" sldId="596"/>
            <ac:spMk id="11" creationId="{8027C133-4E23-057B-ECFC-2C5CB45E4166}"/>
          </ac:spMkLst>
        </pc:spChg>
        <pc:spChg chg="del">
          <ac:chgData name="Bullinger, Marvin" userId="5b54ce5a-dc89-476f-af33-5abd75d5b1e8" providerId="ADAL" clId="{43B71669-8A80-4333-9349-B258A9296B49}" dt="2024-02-27T17:26:23.297" v="4655" actId="478"/>
          <ac:spMkLst>
            <pc:docMk/>
            <pc:sldMk cId="3200844942" sldId="596"/>
            <ac:spMk id="12" creationId="{C8825A07-AC6A-BA61-3862-06C2BD19272B}"/>
          </ac:spMkLst>
        </pc:spChg>
        <pc:spChg chg="del">
          <ac:chgData name="Bullinger, Marvin" userId="5b54ce5a-dc89-476f-af33-5abd75d5b1e8" providerId="ADAL" clId="{43B71669-8A80-4333-9349-B258A9296B49}" dt="2024-02-27T17:26:23.297" v="4654" actId="478"/>
          <ac:spMkLst>
            <pc:docMk/>
            <pc:sldMk cId="3200844942" sldId="596"/>
            <ac:spMk id="13" creationId="{ADA40BC9-B5E9-B4A1-9986-36019317108F}"/>
          </ac:spMkLst>
        </pc:spChg>
        <pc:spChg chg="del">
          <ac:chgData name="Bullinger, Marvin" userId="5b54ce5a-dc89-476f-af33-5abd75d5b1e8" providerId="ADAL" clId="{43B71669-8A80-4333-9349-B258A9296B49}" dt="2024-02-27T17:26:23.297" v="4653" actId="478"/>
          <ac:spMkLst>
            <pc:docMk/>
            <pc:sldMk cId="3200844942" sldId="596"/>
            <ac:spMk id="14" creationId="{7B8FD520-213C-5BEA-83C2-2CDF50A641F1}"/>
          </ac:spMkLst>
        </pc:spChg>
        <pc:spChg chg="del">
          <ac:chgData name="Bullinger, Marvin" userId="5b54ce5a-dc89-476f-af33-5abd75d5b1e8" providerId="ADAL" clId="{43B71669-8A80-4333-9349-B258A9296B49}" dt="2024-02-27T17:26:23.297" v="4652" actId="478"/>
          <ac:spMkLst>
            <pc:docMk/>
            <pc:sldMk cId="3200844942" sldId="596"/>
            <ac:spMk id="15" creationId="{66AAFA39-59D3-65E6-21E4-5ABDEE9F9374}"/>
          </ac:spMkLst>
        </pc:spChg>
        <pc:spChg chg="del">
          <ac:chgData name="Bullinger, Marvin" userId="5b54ce5a-dc89-476f-af33-5abd75d5b1e8" providerId="ADAL" clId="{43B71669-8A80-4333-9349-B258A9296B49}" dt="2024-02-27T17:26:23.295" v="4651" actId="478"/>
          <ac:spMkLst>
            <pc:docMk/>
            <pc:sldMk cId="3200844942" sldId="596"/>
            <ac:spMk id="16" creationId="{93603895-91A2-0DE7-42A0-CF97B78A2265}"/>
          </ac:spMkLst>
        </pc:spChg>
        <pc:spChg chg="mod ord replST">
          <ac:chgData name="Bullinger, Marvin" userId="5b54ce5a-dc89-476f-af33-5abd75d5b1e8" providerId="ADAL" clId="{43B71669-8A80-4333-9349-B258A9296B49}" dt="2024-02-27T17:26:24.605" v="5300"/>
          <ac:spMkLst>
            <pc:docMk/>
            <pc:sldMk cId="3200844942" sldId="596"/>
            <ac:spMk id="17" creationId="{1993B0BA-53EC-7BEF-7D05-29F5A824A84A}"/>
          </ac:spMkLst>
        </pc:spChg>
        <pc:spChg chg="del">
          <ac:chgData name="Bullinger, Marvin" userId="5b54ce5a-dc89-476f-af33-5abd75d5b1e8" providerId="ADAL" clId="{43B71669-8A80-4333-9349-B258A9296B49}" dt="2024-02-27T17:26:23.295" v="4650" actId="478"/>
          <ac:spMkLst>
            <pc:docMk/>
            <pc:sldMk cId="3200844942" sldId="596"/>
            <ac:spMk id="18" creationId="{3032CC36-E7E7-1A1A-C948-527C4EA6F861}"/>
          </ac:spMkLst>
        </pc:spChg>
        <pc:spChg chg="del">
          <ac:chgData name="Bullinger, Marvin" userId="5b54ce5a-dc89-476f-af33-5abd75d5b1e8" providerId="ADAL" clId="{43B71669-8A80-4333-9349-B258A9296B49}" dt="2024-02-27T17:26:23.295" v="4649" actId="478"/>
          <ac:spMkLst>
            <pc:docMk/>
            <pc:sldMk cId="3200844942" sldId="596"/>
            <ac:spMk id="19" creationId="{DFB3086F-4CEF-BC28-DEE5-ECEB10AF8164}"/>
          </ac:spMkLst>
        </pc:spChg>
        <pc:spChg chg="del">
          <ac:chgData name="Bullinger, Marvin" userId="5b54ce5a-dc89-476f-af33-5abd75d5b1e8" providerId="ADAL" clId="{43B71669-8A80-4333-9349-B258A9296B49}" dt="2024-02-27T17:26:23.286" v="4648" actId="478"/>
          <ac:spMkLst>
            <pc:docMk/>
            <pc:sldMk cId="3200844942" sldId="596"/>
            <ac:spMk id="20" creationId="{9C09AD07-A079-184C-7929-78D333DA58B2}"/>
          </ac:spMkLst>
        </pc:spChg>
        <pc:spChg chg="del">
          <ac:chgData name="Bullinger, Marvin" userId="5b54ce5a-dc89-476f-af33-5abd75d5b1e8" providerId="ADAL" clId="{43B71669-8A80-4333-9349-B258A9296B49}" dt="2024-02-27T17:26:23.286" v="4647" actId="478"/>
          <ac:spMkLst>
            <pc:docMk/>
            <pc:sldMk cId="3200844942" sldId="596"/>
            <ac:spMk id="21" creationId="{AA0E0EE4-54D4-E8E6-66DA-9ED2EF1C4C36}"/>
          </ac:spMkLst>
        </pc:spChg>
        <pc:spChg chg="del">
          <ac:chgData name="Bullinger, Marvin" userId="5b54ce5a-dc89-476f-af33-5abd75d5b1e8" providerId="ADAL" clId="{43B71669-8A80-4333-9349-B258A9296B49}" dt="2024-02-27T17:26:23.286" v="4646" actId="478"/>
          <ac:spMkLst>
            <pc:docMk/>
            <pc:sldMk cId="3200844942" sldId="596"/>
            <ac:spMk id="22" creationId="{67845DE4-9F29-27CF-6895-29B9B77AF25D}"/>
          </ac:spMkLst>
        </pc:spChg>
        <pc:spChg chg="del">
          <ac:chgData name="Bullinger, Marvin" userId="5b54ce5a-dc89-476f-af33-5abd75d5b1e8" providerId="ADAL" clId="{43B71669-8A80-4333-9349-B258A9296B49}" dt="2024-02-27T17:26:23.286" v="4645" actId="478"/>
          <ac:spMkLst>
            <pc:docMk/>
            <pc:sldMk cId="3200844942" sldId="596"/>
            <ac:spMk id="23" creationId="{0E173B7D-D1A3-A6AD-804C-679B30C54037}"/>
          </ac:spMkLst>
        </pc:spChg>
        <pc:spChg chg="del">
          <ac:chgData name="Bullinger, Marvin" userId="5b54ce5a-dc89-476f-af33-5abd75d5b1e8" providerId="ADAL" clId="{43B71669-8A80-4333-9349-B258A9296B49}" dt="2024-02-27T17:26:23.286" v="4644" actId="478"/>
          <ac:spMkLst>
            <pc:docMk/>
            <pc:sldMk cId="3200844942" sldId="596"/>
            <ac:spMk id="24" creationId="{9936089D-AFE5-7FF1-8F59-66CB1244077D}"/>
          </ac:spMkLst>
        </pc:spChg>
        <pc:spChg chg="del">
          <ac:chgData name="Bullinger, Marvin" userId="5b54ce5a-dc89-476f-af33-5abd75d5b1e8" providerId="ADAL" clId="{43B71669-8A80-4333-9349-B258A9296B49}" dt="2024-02-27T17:26:23.286" v="4643" actId="478"/>
          <ac:spMkLst>
            <pc:docMk/>
            <pc:sldMk cId="3200844942" sldId="596"/>
            <ac:spMk id="25" creationId="{8385DB84-BA18-72E0-A951-3FDA7DA3195D}"/>
          </ac:spMkLst>
        </pc:spChg>
        <pc:spChg chg="del">
          <ac:chgData name="Bullinger, Marvin" userId="5b54ce5a-dc89-476f-af33-5abd75d5b1e8" providerId="ADAL" clId="{43B71669-8A80-4333-9349-B258A9296B49}" dt="2024-02-27T17:26:23.286" v="4642" actId="478"/>
          <ac:spMkLst>
            <pc:docMk/>
            <pc:sldMk cId="3200844942" sldId="596"/>
            <ac:spMk id="28" creationId="{619CCC80-FA7A-5F77-1443-50C1B7092F36}"/>
          </ac:spMkLst>
        </pc:spChg>
        <pc:spChg chg="del">
          <ac:chgData name="Bullinger, Marvin" userId="5b54ce5a-dc89-476f-af33-5abd75d5b1e8" providerId="ADAL" clId="{43B71669-8A80-4333-9349-B258A9296B49}" dt="2024-02-27T17:26:23.286" v="4641" actId="478"/>
          <ac:spMkLst>
            <pc:docMk/>
            <pc:sldMk cId="3200844942" sldId="596"/>
            <ac:spMk id="29" creationId="{05B3CE8D-690E-8C3E-F833-DDBF70226758}"/>
          </ac:spMkLst>
        </pc:spChg>
        <pc:spChg chg="del">
          <ac:chgData name="Bullinger, Marvin" userId="5b54ce5a-dc89-476f-af33-5abd75d5b1e8" providerId="ADAL" clId="{43B71669-8A80-4333-9349-B258A9296B49}" dt="2024-02-27T17:26:23.286" v="4640" actId="478"/>
          <ac:spMkLst>
            <pc:docMk/>
            <pc:sldMk cId="3200844942" sldId="596"/>
            <ac:spMk id="30" creationId="{81C51F2E-98B4-3343-FD7D-F03F4FCDC19D}"/>
          </ac:spMkLst>
        </pc:spChg>
        <pc:spChg chg="del">
          <ac:chgData name="Bullinger, Marvin" userId="5b54ce5a-dc89-476f-af33-5abd75d5b1e8" providerId="ADAL" clId="{43B71669-8A80-4333-9349-B258A9296B49}" dt="2024-02-27T17:26:23.286" v="4639" actId="478"/>
          <ac:spMkLst>
            <pc:docMk/>
            <pc:sldMk cId="3200844942" sldId="596"/>
            <ac:spMk id="31" creationId="{C91A0EDE-0F77-3C9B-788D-1491456D02DD}"/>
          </ac:spMkLst>
        </pc:spChg>
        <pc:spChg chg="del">
          <ac:chgData name="Bullinger, Marvin" userId="5b54ce5a-dc89-476f-af33-5abd75d5b1e8" providerId="ADAL" clId="{43B71669-8A80-4333-9349-B258A9296B49}" dt="2024-02-27T17:26:23.286" v="4638" actId="478"/>
          <ac:spMkLst>
            <pc:docMk/>
            <pc:sldMk cId="3200844942" sldId="596"/>
            <ac:spMk id="32" creationId="{BF4C8880-3BB5-8123-A731-2FB20DDCC428}"/>
          </ac:spMkLst>
        </pc:spChg>
        <pc:spChg chg="del">
          <ac:chgData name="Bullinger, Marvin" userId="5b54ce5a-dc89-476f-af33-5abd75d5b1e8" providerId="ADAL" clId="{43B71669-8A80-4333-9349-B258A9296B49}" dt="2024-02-27T17:26:23.286" v="4637" actId="478"/>
          <ac:spMkLst>
            <pc:docMk/>
            <pc:sldMk cId="3200844942" sldId="596"/>
            <ac:spMk id="33" creationId="{036F3AF5-C35E-2F59-E98E-30C97FF19E49}"/>
          </ac:spMkLst>
        </pc:spChg>
        <pc:spChg chg="del">
          <ac:chgData name="Bullinger, Marvin" userId="5b54ce5a-dc89-476f-af33-5abd75d5b1e8" providerId="ADAL" clId="{43B71669-8A80-4333-9349-B258A9296B49}" dt="2024-02-27T17:26:23.286" v="4636" actId="478"/>
          <ac:spMkLst>
            <pc:docMk/>
            <pc:sldMk cId="3200844942" sldId="596"/>
            <ac:spMk id="34" creationId="{716D5D31-E0A4-946C-744D-C271BB43501C}"/>
          </ac:spMkLst>
        </pc:spChg>
        <pc:spChg chg="del">
          <ac:chgData name="Bullinger, Marvin" userId="5b54ce5a-dc89-476f-af33-5abd75d5b1e8" providerId="ADAL" clId="{43B71669-8A80-4333-9349-B258A9296B49}" dt="2024-02-27T17:26:23.286" v="4635" actId="478"/>
          <ac:spMkLst>
            <pc:docMk/>
            <pc:sldMk cId="3200844942" sldId="596"/>
            <ac:spMk id="35" creationId="{BA9CB2C1-4379-099B-16DE-06B395691249}"/>
          </ac:spMkLst>
        </pc:spChg>
        <pc:spChg chg="del">
          <ac:chgData name="Bullinger, Marvin" userId="5b54ce5a-dc89-476f-af33-5abd75d5b1e8" providerId="ADAL" clId="{43B71669-8A80-4333-9349-B258A9296B49}" dt="2024-02-27T17:26:23.286" v="4634" actId="478"/>
          <ac:spMkLst>
            <pc:docMk/>
            <pc:sldMk cId="3200844942" sldId="596"/>
            <ac:spMk id="36" creationId="{253E0658-78CD-BB4F-FCE0-1BAACC463329}"/>
          </ac:spMkLst>
        </pc:spChg>
        <pc:spChg chg="del">
          <ac:chgData name="Bullinger, Marvin" userId="5b54ce5a-dc89-476f-af33-5abd75d5b1e8" providerId="ADAL" clId="{43B71669-8A80-4333-9349-B258A9296B49}" dt="2024-02-27T17:26:23.284" v="4633" actId="478"/>
          <ac:spMkLst>
            <pc:docMk/>
            <pc:sldMk cId="3200844942" sldId="596"/>
            <ac:spMk id="37" creationId="{CE14B081-5BC6-5E56-2ACF-77E693B162B5}"/>
          </ac:spMkLst>
        </pc:spChg>
        <pc:spChg chg="del">
          <ac:chgData name="Bullinger, Marvin" userId="5b54ce5a-dc89-476f-af33-5abd75d5b1e8" providerId="ADAL" clId="{43B71669-8A80-4333-9349-B258A9296B49}" dt="2024-02-27T17:26:23.284" v="4632" actId="478"/>
          <ac:spMkLst>
            <pc:docMk/>
            <pc:sldMk cId="3200844942" sldId="596"/>
            <ac:spMk id="38" creationId="{C5E06FC9-FB53-731E-CE3E-BBFD592CD8B1}"/>
          </ac:spMkLst>
        </pc:spChg>
        <pc:spChg chg="del">
          <ac:chgData name="Bullinger, Marvin" userId="5b54ce5a-dc89-476f-af33-5abd75d5b1e8" providerId="ADAL" clId="{43B71669-8A80-4333-9349-B258A9296B49}" dt="2024-02-27T17:26:23.284" v="4631" actId="478"/>
          <ac:spMkLst>
            <pc:docMk/>
            <pc:sldMk cId="3200844942" sldId="596"/>
            <ac:spMk id="39" creationId="{2FA2A8AA-67BE-1346-733B-0B1C8CCBA682}"/>
          </ac:spMkLst>
        </pc:spChg>
        <pc:spChg chg="del">
          <ac:chgData name="Bullinger, Marvin" userId="5b54ce5a-dc89-476f-af33-5abd75d5b1e8" providerId="ADAL" clId="{43B71669-8A80-4333-9349-B258A9296B49}" dt="2024-02-27T17:26:23.276" v="4630" actId="478"/>
          <ac:spMkLst>
            <pc:docMk/>
            <pc:sldMk cId="3200844942" sldId="596"/>
            <ac:spMk id="40" creationId="{FA6ED270-E432-71B3-B749-AC0466E0AED5}"/>
          </ac:spMkLst>
        </pc:spChg>
        <pc:spChg chg="del">
          <ac:chgData name="Bullinger, Marvin" userId="5b54ce5a-dc89-476f-af33-5abd75d5b1e8" providerId="ADAL" clId="{43B71669-8A80-4333-9349-B258A9296B49}" dt="2024-02-27T17:26:23.276" v="4629" actId="478"/>
          <ac:spMkLst>
            <pc:docMk/>
            <pc:sldMk cId="3200844942" sldId="596"/>
            <ac:spMk id="41" creationId="{A16F8D2D-95D1-2870-AE63-84DC9B967E45}"/>
          </ac:spMkLst>
        </pc:spChg>
        <pc:spChg chg="replST">
          <ac:chgData name="Bullinger, Marvin" userId="5b54ce5a-dc89-476f-af33-5abd75d5b1e8" providerId="ADAL" clId="{43B71669-8A80-4333-9349-B258A9296B49}" dt="2024-02-27T17:26:24.418" v="5238"/>
          <ac:spMkLst>
            <pc:docMk/>
            <pc:sldMk cId="3200844942" sldId="596"/>
            <ac:spMk id="42" creationId="{968EC4C4-3A22-2618-E5FA-50E883F0ACB2}"/>
          </ac:spMkLst>
        </pc:spChg>
        <pc:spChg chg="replST">
          <ac:chgData name="Bullinger, Marvin" userId="5b54ce5a-dc89-476f-af33-5abd75d5b1e8" providerId="ADAL" clId="{43B71669-8A80-4333-9349-B258A9296B49}" dt="2024-02-27T17:26:24.418" v="5241"/>
          <ac:spMkLst>
            <pc:docMk/>
            <pc:sldMk cId="3200844942" sldId="596"/>
            <ac:spMk id="43" creationId="{97D2261F-2E02-C16B-3F71-DD6D89B2CE0A}"/>
          </ac:spMkLst>
        </pc:spChg>
        <pc:spChg chg="replST">
          <ac:chgData name="Bullinger, Marvin" userId="5b54ce5a-dc89-476f-af33-5abd75d5b1e8" providerId="ADAL" clId="{43B71669-8A80-4333-9349-B258A9296B49}" dt="2024-02-27T17:26:24.433" v="5245"/>
          <ac:spMkLst>
            <pc:docMk/>
            <pc:sldMk cId="3200844942" sldId="596"/>
            <ac:spMk id="45" creationId="{9C530F2A-CA30-0971-B151-316480D1B597}"/>
          </ac:spMkLst>
        </pc:spChg>
        <pc:spChg chg="replST">
          <ac:chgData name="Bullinger, Marvin" userId="5b54ce5a-dc89-476f-af33-5abd75d5b1e8" providerId="ADAL" clId="{43B71669-8A80-4333-9349-B258A9296B49}" dt="2024-02-27T17:26:24.433" v="5248"/>
          <ac:spMkLst>
            <pc:docMk/>
            <pc:sldMk cId="3200844942" sldId="596"/>
            <ac:spMk id="46" creationId="{69028F0F-A8FA-F7BE-BF3C-518464171E5C}"/>
          </ac:spMkLst>
        </pc:spChg>
        <pc:spChg chg="replST">
          <ac:chgData name="Bullinger, Marvin" userId="5b54ce5a-dc89-476f-af33-5abd75d5b1e8" providerId="ADAL" clId="{43B71669-8A80-4333-9349-B258A9296B49}" dt="2024-02-27T17:26:24.465" v="5252"/>
          <ac:spMkLst>
            <pc:docMk/>
            <pc:sldMk cId="3200844942" sldId="596"/>
            <ac:spMk id="48" creationId="{CA85BF7C-DDD5-9DBA-0DA9-AC1D866DC371}"/>
          </ac:spMkLst>
        </pc:spChg>
        <pc:spChg chg="replST">
          <ac:chgData name="Bullinger, Marvin" userId="5b54ce5a-dc89-476f-af33-5abd75d5b1e8" providerId="ADAL" clId="{43B71669-8A80-4333-9349-B258A9296B49}" dt="2024-02-27T17:26:24.481" v="5255"/>
          <ac:spMkLst>
            <pc:docMk/>
            <pc:sldMk cId="3200844942" sldId="596"/>
            <ac:spMk id="49" creationId="{2D324813-389B-8428-A36F-FA7094C128FA}"/>
          </ac:spMkLst>
        </pc:spChg>
        <pc:spChg chg="replST">
          <ac:chgData name="Bullinger, Marvin" userId="5b54ce5a-dc89-476f-af33-5abd75d5b1e8" providerId="ADAL" clId="{43B71669-8A80-4333-9349-B258A9296B49}" dt="2024-02-27T17:26:24.497" v="5259"/>
          <ac:spMkLst>
            <pc:docMk/>
            <pc:sldMk cId="3200844942" sldId="596"/>
            <ac:spMk id="51" creationId="{69E5DB8C-94EC-5568-6120-8D9A5C7E0835}"/>
          </ac:spMkLst>
        </pc:spChg>
        <pc:spChg chg="replST">
          <ac:chgData name="Bullinger, Marvin" userId="5b54ce5a-dc89-476f-af33-5abd75d5b1e8" providerId="ADAL" clId="{43B71669-8A80-4333-9349-B258A9296B49}" dt="2024-02-27T17:26:24.497" v="5262"/>
          <ac:spMkLst>
            <pc:docMk/>
            <pc:sldMk cId="3200844942" sldId="596"/>
            <ac:spMk id="52" creationId="{4BCAD11F-A69E-3A7D-8E1B-A1D0C58F1AFF}"/>
          </ac:spMkLst>
        </pc:spChg>
        <pc:spChg chg="replST">
          <ac:chgData name="Bullinger, Marvin" userId="5b54ce5a-dc89-476f-af33-5abd75d5b1e8" providerId="ADAL" clId="{43B71669-8A80-4333-9349-B258A9296B49}" dt="2024-02-27T17:26:24.521" v="5266"/>
          <ac:spMkLst>
            <pc:docMk/>
            <pc:sldMk cId="3200844942" sldId="596"/>
            <ac:spMk id="54" creationId="{7DEA0D18-1DEB-7B99-0C82-A3F2CB7B1371}"/>
          </ac:spMkLst>
        </pc:spChg>
        <pc:spChg chg="replST">
          <ac:chgData name="Bullinger, Marvin" userId="5b54ce5a-dc89-476f-af33-5abd75d5b1e8" providerId="ADAL" clId="{43B71669-8A80-4333-9349-B258A9296B49}" dt="2024-02-27T17:26:24.529" v="5269"/>
          <ac:spMkLst>
            <pc:docMk/>
            <pc:sldMk cId="3200844942" sldId="596"/>
            <ac:spMk id="55" creationId="{52DB9B36-3983-6604-E3EE-ED3EDF9FA6E8}"/>
          </ac:spMkLst>
        </pc:spChg>
        <pc:spChg chg="ord replST">
          <ac:chgData name="Bullinger, Marvin" userId="5b54ce5a-dc89-476f-af33-5abd75d5b1e8" providerId="ADAL" clId="{43B71669-8A80-4333-9349-B258A9296B49}" dt="2024-02-27T17:26:24.605" v="5305"/>
          <ac:spMkLst>
            <pc:docMk/>
            <pc:sldMk cId="3200844942" sldId="596"/>
            <ac:spMk id="56" creationId="{7F407B64-DE66-AD58-05CD-B25F15678148}"/>
          </ac:spMkLst>
        </pc:spChg>
        <pc:spChg chg="replST">
          <ac:chgData name="Bullinger, Marvin" userId="5b54ce5a-dc89-476f-af33-5abd75d5b1e8" providerId="ADAL" clId="{43B71669-8A80-4333-9349-B258A9296B49}" dt="2024-02-27T17:26:24.546" v="5273"/>
          <ac:spMkLst>
            <pc:docMk/>
            <pc:sldMk cId="3200844942" sldId="596"/>
            <ac:spMk id="57" creationId="{ACFF5E07-0961-DF3D-24BD-FF24E29163E8}"/>
          </ac:spMkLst>
        </pc:spChg>
        <pc:spChg chg="replST">
          <ac:chgData name="Bullinger, Marvin" userId="5b54ce5a-dc89-476f-af33-5abd75d5b1e8" providerId="ADAL" clId="{43B71669-8A80-4333-9349-B258A9296B49}" dt="2024-02-27T17:26:24.558" v="5276"/>
          <ac:spMkLst>
            <pc:docMk/>
            <pc:sldMk cId="3200844942" sldId="596"/>
            <ac:spMk id="58" creationId="{5E57D538-C551-EB52-7B04-AA9F3BA050EC}"/>
          </ac:spMkLst>
        </pc:spChg>
        <pc:spChg chg="replST">
          <ac:chgData name="Bullinger, Marvin" userId="5b54ce5a-dc89-476f-af33-5abd75d5b1e8" providerId="ADAL" clId="{43B71669-8A80-4333-9349-B258A9296B49}" dt="2024-02-27T17:26:24.558" v="5280"/>
          <ac:spMkLst>
            <pc:docMk/>
            <pc:sldMk cId="3200844942" sldId="596"/>
            <ac:spMk id="60" creationId="{AAD7AB5E-2318-D63F-14AB-79C0A92EE050}"/>
          </ac:spMkLst>
        </pc:spChg>
        <pc:spChg chg="replST">
          <ac:chgData name="Bullinger, Marvin" userId="5b54ce5a-dc89-476f-af33-5abd75d5b1e8" providerId="ADAL" clId="{43B71669-8A80-4333-9349-B258A9296B49}" dt="2024-02-27T17:26:24.574" v="5283"/>
          <ac:spMkLst>
            <pc:docMk/>
            <pc:sldMk cId="3200844942" sldId="596"/>
            <ac:spMk id="61" creationId="{12AF1123-5823-014D-BD20-F25886680F7C}"/>
          </ac:spMkLst>
        </pc:spChg>
        <pc:spChg chg="replST">
          <ac:chgData name="Bullinger, Marvin" userId="5b54ce5a-dc89-476f-af33-5abd75d5b1e8" providerId="ADAL" clId="{43B71669-8A80-4333-9349-B258A9296B49}" dt="2024-02-27T17:26:24.574" v="5287"/>
          <ac:spMkLst>
            <pc:docMk/>
            <pc:sldMk cId="3200844942" sldId="596"/>
            <ac:spMk id="63" creationId="{076052FA-002D-F30C-3C5B-1EFC82D983DA}"/>
          </ac:spMkLst>
        </pc:spChg>
        <pc:spChg chg="replST">
          <ac:chgData name="Bullinger, Marvin" userId="5b54ce5a-dc89-476f-af33-5abd75d5b1e8" providerId="ADAL" clId="{43B71669-8A80-4333-9349-B258A9296B49}" dt="2024-02-27T17:26:24.589" v="5290"/>
          <ac:spMkLst>
            <pc:docMk/>
            <pc:sldMk cId="3200844942" sldId="596"/>
            <ac:spMk id="64" creationId="{CFF90953-FE0C-85EA-5BCA-82D59449EAC9}"/>
          </ac:spMkLst>
        </pc:spChg>
        <pc:spChg chg="replST">
          <ac:chgData name="Bullinger, Marvin" userId="5b54ce5a-dc89-476f-af33-5abd75d5b1e8" providerId="ADAL" clId="{43B71669-8A80-4333-9349-B258A9296B49}" dt="2024-02-27T17:26:24.589" v="5294"/>
          <ac:spMkLst>
            <pc:docMk/>
            <pc:sldMk cId="3200844942" sldId="596"/>
            <ac:spMk id="66" creationId="{AB4B44DE-146D-01BC-CD0D-4CC6D6573325}"/>
          </ac:spMkLst>
        </pc:spChg>
        <pc:spChg chg="replST">
          <ac:chgData name="Bullinger, Marvin" userId="5b54ce5a-dc89-476f-af33-5abd75d5b1e8" providerId="ADAL" clId="{43B71669-8A80-4333-9349-B258A9296B49}" dt="2024-02-27T17:26:24.589" v="5297"/>
          <ac:spMkLst>
            <pc:docMk/>
            <pc:sldMk cId="3200844942" sldId="596"/>
            <ac:spMk id="67" creationId="{DF83C8EB-32EB-3B2C-90C8-84340018CAF7}"/>
          </ac:spMkLst>
        </pc:spChg>
        <pc:cxnChg chg="ord replST">
          <ac:chgData name="Bullinger, Marvin" userId="5b54ce5a-dc89-476f-af33-5abd75d5b1e8" providerId="ADAL" clId="{43B71669-8A80-4333-9349-B258A9296B49}" dt="2024-02-27T17:26:24.605" v="5301"/>
          <ac:cxnSpMkLst>
            <pc:docMk/>
            <pc:sldMk cId="3200844942" sldId="596"/>
            <ac:cxnSpMk id="44" creationId="{E9BC4164-E88C-07B6-A566-77673796D19B}"/>
          </ac:cxnSpMkLst>
        </pc:cxnChg>
        <pc:cxnChg chg="ord replST">
          <ac:chgData name="Bullinger, Marvin" userId="5b54ce5a-dc89-476f-af33-5abd75d5b1e8" providerId="ADAL" clId="{43B71669-8A80-4333-9349-B258A9296B49}" dt="2024-02-27T17:26:24.605" v="5302"/>
          <ac:cxnSpMkLst>
            <pc:docMk/>
            <pc:sldMk cId="3200844942" sldId="596"/>
            <ac:cxnSpMk id="47" creationId="{820F0B1A-3B8C-EC66-C83C-36276CB833DF}"/>
          </ac:cxnSpMkLst>
        </pc:cxnChg>
        <pc:cxnChg chg="ord replST">
          <ac:chgData name="Bullinger, Marvin" userId="5b54ce5a-dc89-476f-af33-5abd75d5b1e8" providerId="ADAL" clId="{43B71669-8A80-4333-9349-B258A9296B49}" dt="2024-02-27T17:26:24.605" v="5303"/>
          <ac:cxnSpMkLst>
            <pc:docMk/>
            <pc:sldMk cId="3200844942" sldId="596"/>
            <ac:cxnSpMk id="50" creationId="{C9D5E26F-F754-3346-AAFB-7C11EB57B13A}"/>
          </ac:cxnSpMkLst>
        </pc:cxnChg>
        <pc:cxnChg chg="ord replST">
          <ac:chgData name="Bullinger, Marvin" userId="5b54ce5a-dc89-476f-af33-5abd75d5b1e8" providerId="ADAL" clId="{43B71669-8A80-4333-9349-B258A9296B49}" dt="2024-02-27T17:26:24.605" v="5304"/>
          <ac:cxnSpMkLst>
            <pc:docMk/>
            <pc:sldMk cId="3200844942" sldId="596"/>
            <ac:cxnSpMk id="53" creationId="{273B3F2A-1E18-6715-0E0A-A19B32F1130C}"/>
          </ac:cxnSpMkLst>
        </pc:cxnChg>
        <pc:cxnChg chg="ord replST">
          <ac:chgData name="Bullinger, Marvin" userId="5b54ce5a-dc89-476f-af33-5abd75d5b1e8" providerId="ADAL" clId="{43B71669-8A80-4333-9349-B258A9296B49}" dt="2024-02-27T17:26:24.621" v="5306"/>
          <ac:cxnSpMkLst>
            <pc:docMk/>
            <pc:sldMk cId="3200844942" sldId="596"/>
            <ac:cxnSpMk id="59" creationId="{547B856D-D77F-CEE9-0E07-6B7B6F4540E0}"/>
          </ac:cxnSpMkLst>
        </pc:cxnChg>
        <pc:cxnChg chg="ord replST">
          <ac:chgData name="Bullinger, Marvin" userId="5b54ce5a-dc89-476f-af33-5abd75d5b1e8" providerId="ADAL" clId="{43B71669-8A80-4333-9349-B258A9296B49}" dt="2024-02-27T17:26:24.621" v="5307"/>
          <ac:cxnSpMkLst>
            <pc:docMk/>
            <pc:sldMk cId="3200844942" sldId="596"/>
            <ac:cxnSpMk id="62" creationId="{DA6AFA4F-E4BB-D667-B9BD-3757087CA78E}"/>
          </ac:cxnSpMkLst>
        </pc:cxnChg>
        <pc:cxnChg chg="ord replST">
          <ac:chgData name="Bullinger, Marvin" userId="5b54ce5a-dc89-476f-af33-5abd75d5b1e8" providerId="ADAL" clId="{43B71669-8A80-4333-9349-B258A9296B49}" dt="2024-02-27T17:26:24.621" v="5308"/>
          <ac:cxnSpMkLst>
            <pc:docMk/>
            <pc:sldMk cId="3200844942" sldId="596"/>
            <ac:cxnSpMk id="65" creationId="{38CECE9C-D057-F91C-1948-CBB2E6ECAE59}"/>
          </ac:cxnSpMkLst>
        </pc:cxnChg>
        <pc:cxnChg chg="ord replST">
          <ac:chgData name="Bullinger, Marvin" userId="5b54ce5a-dc89-476f-af33-5abd75d5b1e8" providerId="ADAL" clId="{43B71669-8A80-4333-9349-B258A9296B49}" dt="2024-02-27T17:26:24.621" v="5309"/>
          <ac:cxnSpMkLst>
            <pc:docMk/>
            <pc:sldMk cId="3200844942" sldId="596"/>
            <ac:cxnSpMk id="68" creationId="{89644C8D-E07D-DD2B-3012-913E73EFD220}"/>
          </ac:cxnSpMkLst>
        </pc:cxnChg>
        <pc:cxnChg chg="ord replST">
          <ac:chgData name="Bullinger, Marvin" userId="5b54ce5a-dc89-476f-af33-5abd75d5b1e8" providerId="ADAL" clId="{43B71669-8A80-4333-9349-B258A9296B49}" dt="2024-02-27T17:26:24.621" v="5310"/>
          <ac:cxnSpMkLst>
            <pc:docMk/>
            <pc:sldMk cId="3200844942" sldId="596"/>
            <ac:cxnSpMk id="69" creationId="{91436CBF-5CF2-84D3-DDD9-0578ABAB1D42}"/>
          </ac:cxnSpMkLst>
        </pc:cxnChg>
      </pc:sldChg>
      <pc:sldChg chg="delSp modSp del mod">
        <pc:chgData name="Bullinger, Marvin" userId="5b54ce5a-dc89-476f-af33-5abd75d5b1e8" providerId="ADAL" clId="{43B71669-8A80-4333-9349-B258A9296B49}" dt="2024-02-27T17:27:01.081" v="6824" actId="2696"/>
        <pc:sldMkLst>
          <pc:docMk/>
          <pc:sldMk cId="3908895894" sldId="596"/>
        </pc:sldMkLst>
        <pc:spChg chg="del">
          <ac:chgData name="Bullinger, Marvin" userId="5b54ce5a-dc89-476f-af33-5abd75d5b1e8" providerId="ADAL" clId="{43B71669-8A80-4333-9349-B258A9296B49}" dt="2024-02-27T17:27:01.081" v="6822" actId="478"/>
          <ac:spMkLst>
            <pc:docMk/>
            <pc:sldMk cId="3908895894" sldId="596"/>
            <ac:spMk id="42" creationId="{5B982762-9074-C49C-580D-D8C0328A2BE7}"/>
          </ac:spMkLst>
        </pc:spChg>
        <pc:spChg chg="mod">
          <ac:chgData name="Bullinger, Marvin" userId="5b54ce5a-dc89-476f-af33-5abd75d5b1e8" providerId="ADAL" clId="{43B71669-8A80-4333-9349-B258A9296B49}" dt="2024-02-27T17:26:58.344" v="5665" actId="207"/>
          <ac:spMkLst>
            <pc:docMk/>
            <pc:sldMk cId="3908895894" sldId="596"/>
            <ac:spMk id="44" creationId="{567425FD-C2DA-3DCE-1BEE-5F5580DD7296}"/>
          </ac:spMkLst>
        </pc:spChg>
        <pc:spChg chg="mod modVis">
          <ac:chgData name="Bullinger, Marvin" userId="5b54ce5a-dc89-476f-af33-5abd75d5b1e8" providerId="ADAL" clId="{43B71669-8A80-4333-9349-B258A9296B49}" dt="2024-02-27T17:26:58.379" v="5666" actId="962"/>
          <ac:spMkLst>
            <pc:docMk/>
            <pc:sldMk cId="3908895894" sldId="596"/>
            <ac:spMk id="46" creationId="{C45DB175-8880-E584-E4BA-58897B7B521A}"/>
          </ac:spMkLst>
        </pc:spChg>
        <pc:spChg chg="mod modVis">
          <ac:chgData name="Bullinger, Marvin" userId="5b54ce5a-dc89-476f-af33-5abd75d5b1e8" providerId="ADAL" clId="{43B71669-8A80-4333-9349-B258A9296B49}" dt="2024-02-27T17:26:58.379" v="5667" actId="962"/>
          <ac:spMkLst>
            <pc:docMk/>
            <pc:sldMk cId="3908895894" sldId="596"/>
            <ac:spMk id="47" creationId="{1FA00FB3-DBE9-86B9-8F27-83B3DE739581}"/>
          </ac:spMkLst>
        </pc:spChg>
        <pc:spChg chg="mod modVis">
          <ac:chgData name="Bullinger, Marvin" userId="5b54ce5a-dc89-476f-af33-5abd75d5b1e8" providerId="ADAL" clId="{43B71669-8A80-4333-9349-B258A9296B49}" dt="2024-02-27T17:26:58.394" v="5668" actId="962"/>
          <ac:spMkLst>
            <pc:docMk/>
            <pc:sldMk cId="3908895894" sldId="596"/>
            <ac:spMk id="48" creationId="{37AE0F9B-C3E9-A413-7C56-0ADB66246234}"/>
          </ac:spMkLst>
        </pc:spChg>
        <pc:spChg chg="mod modVis">
          <ac:chgData name="Bullinger, Marvin" userId="5b54ce5a-dc89-476f-af33-5abd75d5b1e8" providerId="ADAL" clId="{43B71669-8A80-4333-9349-B258A9296B49}" dt="2024-02-27T17:26:58.394" v="5669" actId="962"/>
          <ac:spMkLst>
            <pc:docMk/>
            <pc:sldMk cId="3908895894" sldId="596"/>
            <ac:spMk id="49" creationId="{F60F0EAD-17F5-4546-FB65-5BFFC2BF0EDD}"/>
          </ac:spMkLst>
        </pc:spChg>
        <pc:spChg chg="mod modVis">
          <ac:chgData name="Bullinger, Marvin" userId="5b54ce5a-dc89-476f-af33-5abd75d5b1e8" providerId="ADAL" clId="{43B71669-8A80-4333-9349-B258A9296B49}" dt="2024-02-27T17:26:58.410" v="5670" actId="962"/>
          <ac:spMkLst>
            <pc:docMk/>
            <pc:sldMk cId="3908895894" sldId="596"/>
            <ac:spMk id="50" creationId="{708E231C-E94A-BCE4-FDF3-C5039309DD77}"/>
          </ac:spMkLst>
        </pc:spChg>
        <pc:spChg chg="mod modVis">
          <ac:chgData name="Bullinger, Marvin" userId="5b54ce5a-dc89-476f-af33-5abd75d5b1e8" providerId="ADAL" clId="{43B71669-8A80-4333-9349-B258A9296B49}" dt="2024-02-27T17:26:58.421" v="5671" actId="962"/>
          <ac:spMkLst>
            <pc:docMk/>
            <pc:sldMk cId="3908895894" sldId="596"/>
            <ac:spMk id="51" creationId="{C4A2341B-D3A0-95BC-1B66-BF926564A555}"/>
          </ac:spMkLst>
        </pc:spChg>
        <pc:spChg chg="mod modVis">
          <ac:chgData name="Bullinger, Marvin" userId="5b54ce5a-dc89-476f-af33-5abd75d5b1e8" providerId="ADAL" clId="{43B71669-8A80-4333-9349-B258A9296B49}" dt="2024-02-27T17:26:58.421" v="5672" actId="962"/>
          <ac:spMkLst>
            <pc:docMk/>
            <pc:sldMk cId="3908895894" sldId="596"/>
            <ac:spMk id="52" creationId="{61CEE5C1-7379-1FEF-7719-1424A18B88B8}"/>
          </ac:spMkLst>
        </pc:spChg>
        <pc:spChg chg="mod modVis">
          <ac:chgData name="Bullinger, Marvin" userId="5b54ce5a-dc89-476f-af33-5abd75d5b1e8" providerId="ADAL" clId="{43B71669-8A80-4333-9349-B258A9296B49}" dt="2024-02-27T17:26:58.421" v="5673" actId="962"/>
          <ac:spMkLst>
            <pc:docMk/>
            <pc:sldMk cId="3908895894" sldId="596"/>
            <ac:spMk id="53" creationId="{FB7C2A7B-D553-D156-DD51-9BE9A581245D}"/>
          </ac:spMkLst>
        </pc:spChg>
        <pc:spChg chg="mod modVis">
          <ac:chgData name="Bullinger, Marvin" userId="5b54ce5a-dc89-476f-af33-5abd75d5b1e8" providerId="ADAL" clId="{43B71669-8A80-4333-9349-B258A9296B49}" dt="2024-02-27T17:26:58.437" v="5674" actId="962"/>
          <ac:spMkLst>
            <pc:docMk/>
            <pc:sldMk cId="3908895894" sldId="596"/>
            <ac:spMk id="54" creationId="{3AD2BFB5-5C7E-6E52-D606-74A1DF79F464}"/>
          </ac:spMkLst>
        </pc:spChg>
        <pc:spChg chg="mod modVis">
          <ac:chgData name="Bullinger, Marvin" userId="5b54ce5a-dc89-476f-af33-5abd75d5b1e8" providerId="ADAL" clId="{43B71669-8A80-4333-9349-B258A9296B49}" dt="2024-02-27T17:26:58.446" v="5675" actId="962"/>
          <ac:spMkLst>
            <pc:docMk/>
            <pc:sldMk cId="3908895894" sldId="596"/>
            <ac:spMk id="55" creationId="{E01F3B13-AE73-E9B3-424B-98673F7C6B57}"/>
          </ac:spMkLst>
        </pc:spChg>
        <pc:spChg chg="mod modVis">
          <ac:chgData name="Bullinger, Marvin" userId="5b54ce5a-dc89-476f-af33-5abd75d5b1e8" providerId="ADAL" clId="{43B71669-8A80-4333-9349-B258A9296B49}" dt="2024-02-27T17:26:58.446" v="5676" actId="962"/>
          <ac:spMkLst>
            <pc:docMk/>
            <pc:sldMk cId="3908895894" sldId="596"/>
            <ac:spMk id="56" creationId="{C1893541-6F34-B31C-821C-3C888480A568}"/>
          </ac:spMkLst>
        </pc:spChg>
        <pc:spChg chg="mod modVis">
          <ac:chgData name="Bullinger, Marvin" userId="5b54ce5a-dc89-476f-af33-5abd75d5b1e8" providerId="ADAL" clId="{43B71669-8A80-4333-9349-B258A9296B49}" dt="2024-02-27T17:26:58.461" v="5677" actId="962"/>
          <ac:spMkLst>
            <pc:docMk/>
            <pc:sldMk cId="3908895894" sldId="596"/>
            <ac:spMk id="57" creationId="{505BFEE3-1DA8-149F-8B9B-24E0301E56B6}"/>
          </ac:spMkLst>
        </pc:spChg>
        <pc:spChg chg="mod modVis">
          <ac:chgData name="Bullinger, Marvin" userId="5b54ce5a-dc89-476f-af33-5abd75d5b1e8" providerId="ADAL" clId="{43B71669-8A80-4333-9349-B258A9296B49}" dt="2024-02-27T17:26:58.461" v="5678" actId="962"/>
          <ac:spMkLst>
            <pc:docMk/>
            <pc:sldMk cId="3908895894" sldId="596"/>
            <ac:spMk id="58" creationId="{26F0FD6E-3CA1-4F22-66EE-24220DE64BA3}"/>
          </ac:spMkLst>
        </pc:spChg>
        <pc:spChg chg="mod modVis">
          <ac:chgData name="Bullinger, Marvin" userId="5b54ce5a-dc89-476f-af33-5abd75d5b1e8" providerId="ADAL" clId="{43B71669-8A80-4333-9349-B258A9296B49}" dt="2024-02-27T17:26:58.461" v="5679" actId="962"/>
          <ac:spMkLst>
            <pc:docMk/>
            <pc:sldMk cId="3908895894" sldId="596"/>
            <ac:spMk id="59" creationId="{3C0BB78E-5D89-0C62-2294-55761545DBC1}"/>
          </ac:spMkLst>
        </pc:spChg>
        <pc:spChg chg="mod modVis">
          <ac:chgData name="Bullinger, Marvin" userId="5b54ce5a-dc89-476f-af33-5abd75d5b1e8" providerId="ADAL" clId="{43B71669-8A80-4333-9349-B258A9296B49}" dt="2024-02-27T17:26:58.477" v="5680" actId="962"/>
          <ac:spMkLst>
            <pc:docMk/>
            <pc:sldMk cId="3908895894" sldId="596"/>
            <ac:spMk id="60" creationId="{229C8E4D-177A-87A1-CF73-2ED0D3586BF7}"/>
          </ac:spMkLst>
        </pc:spChg>
        <pc:spChg chg="mod modVis">
          <ac:chgData name="Bullinger, Marvin" userId="5b54ce5a-dc89-476f-af33-5abd75d5b1e8" providerId="ADAL" clId="{43B71669-8A80-4333-9349-B258A9296B49}" dt="2024-02-27T17:26:58.477" v="5681" actId="962"/>
          <ac:spMkLst>
            <pc:docMk/>
            <pc:sldMk cId="3908895894" sldId="596"/>
            <ac:spMk id="61" creationId="{9913D68A-16C2-5876-6196-7477D2E654A7}"/>
          </ac:spMkLst>
        </pc:spChg>
        <pc:spChg chg="mod modVis">
          <ac:chgData name="Bullinger, Marvin" userId="5b54ce5a-dc89-476f-af33-5abd75d5b1e8" providerId="ADAL" clId="{43B71669-8A80-4333-9349-B258A9296B49}" dt="2024-02-27T17:26:58.495" v="5682" actId="962"/>
          <ac:spMkLst>
            <pc:docMk/>
            <pc:sldMk cId="3908895894" sldId="596"/>
            <ac:spMk id="62" creationId="{8B91147D-DFE6-0A19-C6D3-9C032FC85456}"/>
          </ac:spMkLst>
        </pc:spChg>
        <pc:spChg chg="mod modVis">
          <ac:chgData name="Bullinger, Marvin" userId="5b54ce5a-dc89-476f-af33-5abd75d5b1e8" providerId="ADAL" clId="{43B71669-8A80-4333-9349-B258A9296B49}" dt="2024-02-27T17:26:58.502" v="5683" actId="962"/>
          <ac:spMkLst>
            <pc:docMk/>
            <pc:sldMk cId="3908895894" sldId="596"/>
            <ac:spMk id="63" creationId="{EC9D39BB-E39E-57FF-E04C-1B26D67895CC}"/>
          </ac:spMkLst>
        </pc:spChg>
        <pc:spChg chg="mod modVis">
          <ac:chgData name="Bullinger, Marvin" userId="5b54ce5a-dc89-476f-af33-5abd75d5b1e8" providerId="ADAL" clId="{43B71669-8A80-4333-9349-B258A9296B49}" dt="2024-02-27T17:26:58.502" v="5684" actId="962"/>
          <ac:spMkLst>
            <pc:docMk/>
            <pc:sldMk cId="3908895894" sldId="596"/>
            <ac:spMk id="64" creationId="{8E4DC627-4A8A-2E16-B262-EE09B8013BF9}"/>
          </ac:spMkLst>
        </pc:spChg>
        <pc:spChg chg="mod modVis">
          <ac:chgData name="Bullinger, Marvin" userId="5b54ce5a-dc89-476f-af33-5abd75d5b1e8" providerId="ADAL" clId="{43B71669-8A80-4333-9349-B258A9296B49}" dt="2024-02-27T17:26:58.518" v="5685" actId="962"/>
          <ac:spMkLst>
            <pc:docMk/>
            <pc:sldMk cId="3908895894" sldId="596"/>
            <ac:spMk id="65" creationId="{457E5A96-54DC-5D1F-FAA6-E5C30A31C719}"/>
          </ac:spMkLst>
        </pc:spChg>
        <pc:spChg chg="mod modVis">
          <ac:chgData name="Bullinger, Marvin" userId="5b54ce5a-dc89-476f-af33-5abd75d5b1e8" providerId="ADAL" clId="{43B71669-8A80-4333-9349-B258A9296B49}" dt="2024-02-27T17:26:58.521" v="5686" actId="962"/>
          <ac:spMkLst>
            <pc:docMk/>
            <pc:sldMk cId="3908895894" sldId="596"/>
            <ac:spMk id="66" creationId="{13B06F96-8389-A9DA-CB60-0E19E66246F1}"/>
          </ac:spMkLst>
        </pc:spChg>
        <pc:spChg chg="mod modVis">
          <ac:chgData name="Bullinger, Marvin" userId="5b54ce5a-dc89-476f-af33-5abd75d5b1e8" providerId="ADAL" clId="{43B71669-8A80-4333-9349-B258A9296B49}" dt="2024-02-27T17:26:58.521" v="5687" actId="962"/>
          <ac:spMkLst>
            <pc:docMk/>
            <pc:sldMk cId="3908895894" sldId="596"/>
            <ac:spMk id="67" creationId="{F88DFE1B-1B49-80CA-A6E6-F8156BF35CDE}"/>
          </ac:spMkLst>
        </pc:spChg>
        <pc:spChg chg="mod modVis">
          <ac:chgData name="Bullinger, Marvin" userId="5b54ce5a-dc89-476f-af33-5abd75d5b1e8" providerId="ADAL" clId="{43B71669-8A80-4333-9349-B258A9296B49}" dt="2024-02-27T17:26:58.537" v="5688" actId="962"/>
          <ac:spMkLst>
            <pc:docMk/>
            <pc:sldMk cId="3908895894" sldId="596"/>
            <ac:spMk id="68" creationId="{72F5D7EC-8060-3E4B-BA87-BD5D5580CC52}"/>
          </ac:spMkLst>
        </pc:spChg>
        <pc:spChg chg="mod modVis">
          <ac:chgData name="Bullinger, Marvin" userId="5b54ce5a-dc89-476f-af33-5abd75d5b1e8" providerId="ADAL" clId="{43B71669-8A80-4333-9349-B258A9296B49}" dt="2024-02-27T17:26:58.537" v="5689" actId="962"/>
          <ac:spMkLst>
            <pc:docMk/>
            <pc:sldMk cId="3908895894" sldId="596"/>
            <ac:spMk id="69" creationId="{C13A5700-CD2D-5CF9-2855-2AB864FB7B41}"/>
          </ac:spMkLst>
        </pc:spChg>
        <pc:spChg chg="mod modVis">
          <ac:chgData name="Bullinger, Marvin" userId="5b54ce5a-dc89-476f-af33-5abd75d5b1e8" providerId="ADAL" clId="{43B71669-8A80-4333-9349-B258A9296B49}" dt="2024-02-27T17:26:58.537" v="5690" actId="962"/>
          <ac:spMkLst>
            <pc:docMk/>
            <pc:sldMk cId="3908895894" sldId="596"/>
            <ac:spMk id="70" creationId="{409C948F-E630-2DCA-39A9-963D32543D3A}"/>
          </ac:spMkLst>
        </pc:spChg>
        <pc:spChg chg="mod modVis">
          <ac:chgData name="Bullinger, Marvin" userId="5b54ce5a-dc89-476f-af33-5abd75d5b1e8" providerId="ADAL" clId="{43B71669-8A80-4333-9349-B258A9296B49}" dt="2024-02-27T17:26:58.554" v="5691" actId="962"/>
          <ac:spMkLst>
            <pc:docMk/>
            <pc:sldMk cId="3908895894" sldId="596"/>
            <ac:spMk id="71" creationId="{23A93C4F-0A06-1FC9-6F7D-655F9FBDABF8}"/>
          </ac:spMkLst>
        </pc:spChg>
        <pc:spChg chg="mod modVis">
          <ac:chgData name="Bullinger, Marvin" userId="5b54ce5a-dc89-476f-af33-5abd75d5b1e8" providerId="ADAL" clId="{43B71669-8A80-4333-9349-B258A9296B49}" dt="2024-02-27T17:26:58.554" v="5692" actId="962"/>
          <ac:spMkLst>
            <pc:docMk/>
            <pc:sldMk cId="3908895894" sldId="596"/>
            <ac:spMk id="72" creationId="{06A47A41-2C49-065D-E56E-A852914E775B}"/>
          </ac:spMkLst>
        </pc:spChg>
        <pc:spChg chg="mod modVis">
          <ac:chgData name="Bullinger, Marvin" userId="5b54ce5a-dc89-476f-af33-5abd75d5b1e8" providerId="ADAL" clId="{43B71669-8A80-4333-9349-B258A9296B49}" dt="2024-02-27T17:26:58.570" v="5693" actId="962"/>
          <ac:spMkLst>
            <pc:docMk/>
            <pc:sldMk cId="3908895894" sldId="596"/>
            <ac:spMk id="73" creationId="{5C68FCA0-1BE8-D157-21C6-A3CBA4ED0194}"/>
          </ac:spMkLst>
        </pc:spChg>
        <pc:spChg chg="mod modVis">
          <ac:chgData name="Bullinger, Marvin" userId="5b54ce5a-dc89-476f-af33-5abd75d5b1e8" providerId="ADAL" clId="{43B71669-8A80-4333-9349-B258A9296B49}" dt="2024-02-27T17:26:58.586" v="5694" actId="962"/>
          <ac:spMkLst>
            <pc:docMk/>
            <pc:sldMk cId="3908895894" sldId="596"/>
            <ac:spMk id="74" creationId="{E4E2C92F-E08D-F9CC-656F-38596A2AE06D}"/>
          </ac:spMkLst>
        </pc:spChg>
        <pc:spChg chg="mod modVis">
          <ac:chgData name="Bullinger, Marvin" userId="5b54ce5a-dc89-476f-af33-5abd75d5b1e8" providerId="ADAL" clId="{43B71669-8A80-4333-9349-B258A9296B49}" dt="2024-02-27T17:26:58.596" v="5695" actId="962"/>
          <ac:spMkLst>
            <pc:docMk/>
            <pc:sldMk cId="3908895894" sldId="596"/>
            <ac:spMk id="75" creationId="{5C88DFC3-123D-0B51-DB12-C5FDE33B6723}"/>
          </ac:spMkLst>
        </pc:spChg>
        <pc:spChg chg="mod modVis">
          <ac:chgData name="Bullinger, Marvin" userId="5b54ce5a-dc89-476f-af33-5abd75d5b1e8" providerId="ADAL" clId="{43B71669-8A80-4333-9349-B258A9296B49}" dt="2024-02-27T17:26:58.612" v="5696" actId="962"/>
          <ac:spMkLst>
            <pc:docMk/>
            <pc:sldMk cId="3908895894" sldId="596"/>
            <ac:spMk id="76" creationId="{53502CD4-404B-AB3C-4D60-2C6C229DF754}"/>
          </ac:spMkLst>
        </pc:spChg>
        <pc:spChg chg="mod modVis">
          <ac:chgData name="Bullinger, Marvin" userId="5b54ce5a-dc89-476f-af33-5abd75d5b1e8" providerId="ADAL" clId="{43B71669-8A80-4333-9349-B258A9296B49}" dt="2024-02-27T17:26:58.622" v="5697" actId="962"/>
          <ac:spMkLst>
            <pc:docMk/>
            <pc:sldMk cId="3908895894" sldId="596"/>
            <ac:spMk id="77" creationId="{63123DD5-139F-A27D-DE48-8FCDF91C2305}"/>
          </ac:spMkLst>
        </pc:spChg>
        <pc:spChg chg="mod modVis">
          <ac:chgData name="Bullinger, Marvin" userId="5b54ce5a-dc89-476f-af33-5abd75d5b1e8" providerId="ADAL" clId="{43B71669-8A80-4333-9349-B258A9296B49}" dt="2024-02-27T17:26:58.637" v="5698" actId="962"/>
          <ac:spMkLst>
            <pc:docMk/>
            <pc:sldMk cId="3908895894" sldId="596"/>
            <ac:spMk id="78" creationId="{487E98FA-CFA7-A30C-1932-55AB68ECC2DB}"/>
          </ac:spMkLst>
        </pc:spChg>
        <pc:spChg chg="mod modVis">
          <ac:chgData name="Bullinger, Marvin" userId="5b54ce5a-dc89-476f-af33-5abd75d5b1e8" providerId="ADAL" clId="{43B71669-8A80-4333-9349-B258A9296B49}" dt="2024-02-27T17:26:58.654" v="5699" actId="962"/>
          <ac:spMkLst>
            <pc:docMk/>
            <pc:sldMk cId="3908895894" sldId="596"/>
            <ac:spMk id="79" creationId="{0A92D077-15DC-DA14-F306-5A4627E0882B}"/>
          </ac:spMkLst>
        </pc:spChg>
        <pc:spChg chg="mod modVis">
          <ac:chgData name="Bullinger, Marvin" userId="5b54ce5a-dc89-476f-af33-5abd75d5b1e8" providerId="ADAL" clId="{43B71669-8A80-4333-9349-B258A9296B49}" dt="2024-02-27T17:26:58.670" v="5700" actId="962"/>
          <ac:spMkLst>
            <pc:docMk/>
            <pc:sldMk cId="3908895894" sldId="596"/>
            <ac:spMk id="80" creationId="{1AC10EB1-B03A-14E3-947B-43A5E2F2EB44}"/>
          </ac:spMkLst>
        </pc:spChg>
        <pc:spChg chg="mod modVis">
          <ac:chgData name="Bullinger, Marvin" userId="5b54ce5a-dc89-476f-af33-5abd75d5b1e8" providerId="ADAL" clId="{43B71669-8A80-4333-9349-B258A9296B49}" dt="2024-02-27T17:26:58.678" v="5701" actId="962"/>
          <ac:spMkLst>
            <pc:docMk/>
            <pc:sldMk cId="3908895894" sldId="596"/>
            <ac:spMk id="81" creationId="{2F14BB63-9AD4-E336-842A-28B79CE625F7}"/>
          </ac:spMkLst>
        </pc:spChg>
        <pc:spChg chg="mod modVis">
          <ac:chgData name="Bullinger, Marvin" userId="5b54ce5a-dc89-476f-af33-5abd75d5b1e8" providerId="ADAL" clId="{43B71669-8A80-4333-9349-B258A9296B49}" dt="2024-02-27T17:26:58.678" v="5702" actId="962"/>
          <ac:spMkLst>
            <pc:docMk/>
            <pc:sldMk cId="3908895894" sldId="596"/>
            <ac:spMk id="82" creationId="{B38F8196-B0E1-2EBD-2B9B-0C3CBB5D8B25}"/>
          </ac:spMkLst>
        </pc:spChg>
        <pc:spChg chg="mod modVis">
          <ac:chgData name="Bullinger, Marvin" userId="5b54ce5a-dc89-476f-af33-5abd75d5b1e8" providerId="ADAL" clId="{43B71669-8A80-4333-9349-B258A9296B49}" dt="2024-02-27T17:26:58.695" v="5703" actId="962"/>
          <ac:spMkLst>
            <pc:docMk/>
            <pc:sldMk cId="3908895894" sldId="596"/>
            <ac:spMk id="83" creationId="{4C9E31BC-0E19-4C5A-0211-20A7BC65FBD1}"/>
          </ac:spMkLst>
        </pc:spChg>
        <pc:spChg chg="mod modVis">
          <ac:chgData name="Bullinger, Marvin" userId="5b54ce5a-dc89-476f-af33-5abd75d5b1e8" providerId="ADAL" clId="{43B71669-8A80-4333-9349-B258A9296B49}" dt="2024-02-27T17:26:58.695" v="5704" actId="962"/>
          <ac:spMkLst>
            <pc:docMk/>
            <pc:sldMk cId="3908895894" sldId="596"/>
            <ac:spMk id="84" creationId="{593A0411-C23B-5E08-3E0F-CAAB0D7586BD}"/>
          </ac:spMkLst>
        </pc:spChg>
        <pc:spChg chg="mod modVis">
          <ac:chgData name="Bullinger, Marvin" userId="5b54ce5a-dc89-476f-af33-5abd75d5b1e8" providerId="ADAL" clId="{43B71669-8A80-4333-9349-B258A9296B49}" dt="2024-02-27T17:26:58.705" v="5705" actId="962"/>
          <ac:spMkLst>
            <pc:docMk/>
            <pc:sldMk cId="3908895894" sldId="596"/>
            <ac:spMk id="85" creationId="{C5307DBD-E540-9828-6672-B2C0CB15A2A7}"/>
          </ac:spMkLst>
        </pc:spChg>
        <pc:spChg chg="mod modVis">
          <ac:chgData name="Bullinger, Marvin" userId="5b54ce5a-dc89-476f-af33-5abd75d5b1e8" providerId="ADAL" clId="{43B71669-8A80-4333-9349-B258A9296B49}" dt="2024-02-27T17:26:58.705" v="5706" actId="962"/>
          <ac:spMkLst>
            <pc:docMk/>
            <pc:sldMk cId="3908895894" sldId="596"/>
            <ac:spMk id="86" creationId="{9B51D9B2-90DE-A482-D7C8-BFC787551872}"/>
          </ac:spMkLst>
        </pc:spChg>
        <pc:spChg chg="mod modVis">
          <ac:chgData name="Bullinger, Marvin" userId="5b54ce5a-dc89-476f-af33-5abd75d5b1e8" providerId="ADAL" clId="{43B71669-8A80-4333-9349-B258A9296B49}" dt="2024-02-27T17:26:58.705" v="5707" actId="962"/>
          <ac:spMkLst>
            <pc:docMk/>
            <pc:sldMk cId="3908895894" sldId="596"/>
            <ac:spMk id="87" creationId="{31FD66A7-4BF7-98D7-6BC8-997D7445BB6D}"/>
          </ac:spMkLst>
        </pc:spChg>
        <pc:spChg chg="mod modVis">
          <ac:chgData name="Bullinger, Marvin" userId="5b54ce5a-dc89-476f-af33-5abd75d5b1e8" providerId="ADAL" clId="{43B71669-8A80-4333-9349-B258A9296B49}" dt="2024-02-27T17:26:58.722" v="5708" actId="962"/>
          <ac:spMkLst>
            <pc:docMk/>
            <pc:sldMk cId="3908895894" sldId="596"/>
            <ac:spMk id="88" creationId="{EDF2FCA5-DFC3-8E82-D2D4-699443E08522}"/>
          </ac:spMkLst>
        </pc:spChg>
        <pc:spChg chg="mod modVis">
          <ac:chgData name="Bullinger, Marvin" userId="5b54ce5a-dc89-476f-af33-5abd75d5b1e8" providerId="ADAL" clId="{43B71669-8A80-4333-9349-B258A9296B49}" dt="2024-02-27T17:26:58.722" v="5709" actId="962"/>
          <ac:spMkLst>
            <pc:docMk/>
            <pc:sldMk cId="3908895894" sldId="596"/>
            <ac:spMk id="89" creationId="{6591B68C-90B4-6028-83D8-ADCD6E35354D}"/>
          </ac:spMkLst>
        </pc:spChg>
        <pc:spChg chg="mod modVis">
          <ac:chgData name="Bullinger, Marvin" userId="5b54ce5a-dc89-476f-af33-5abd75d5b1e8" providerId="ADAL" clId="{43B71669-8A80-4333-9349-B258A9296B49}" dt="2024-02-27T17:26:58.738" v="5710" actId="962"/>
          <ac:spMkLst>
            <pc:docMk/>
            <pc:sldMk cId="3908895894" sldId="596"/>
            <ac:spMk id="90" creationId="{4D2D9778-F2D8-EE8E-0B70-7BDB614C176C}"/>
          </ac:spMkLst>
        </pc:spChg>
        <pc:spChg chg="mod modVis">
          <ac:chgData name="Bullinger, Marvin" userId="5b54ce5a-dc89-476f-af33-5abd75d5b1e8" providerId="ADAL" clId="{43B71669-8A80-4333-9349-B258A9296B49}" dt="2024-02-27T17:26:58.738" v="5711" actId="962"/>
          <ac:spMkLst>
            <pc:docMk/>
            <pc:sldMk cId="3908895894" sldId="596"/>
            <ac:spMk id="91" creationId="{876C754C-3270-3549-7D79-06E8DE7D38BA}"/>
          </ac:spMkLst>
        </pc:spChg>
        <pc:spChg chg="mod modVis">
          <ac:chgData name="Bullinger, Marvin" userId="5b54ce5a-dc89-476f-af33-5abd75d5b1e8" providerId="ADAL" clId="{43B71669-8A80-4333-9349-B258A9296B49}" dt="2024-02-27T17:26:58.753" v="5712" actId="962"/>
          <ac:spMkLst>
            <pc:docMk/>
            <pc:sldMk cId="3908895894" sldId="596"/>
            <ac:spMk id="92" creationId="{420340E3-26DD-10AF-786D-27CD7545B72C}"/>
          </ac:spMkLst>
        </pc:spChg>
        <pc:spChg chg="mod modVis">
          <ac:chgData name="Bullinger, Marvin" userId="5b54ce5a-dc89-476f-af33-5abd75d5b1e8" providerId="ADAL" clId="{43B71669-8A80-4333-9349-B258A9296B49}" dt="2024-02-27T17:26:58.761" v="5713" actId="962"/>
          <ac:spMkLst>
            <pc:docMk/>
            <pc:sldMk cId="3908895894" sldId="596"/>
            <ac:spMk id="93" creationId="{AD8927CD-0E52-07D2-3688-40595A013096}"/>
          </ac:spMkLst>
        </pc:spChg>
        <pc:spChg chg="mod modVis">
          <ac:chgData name="Bullinger, Marvin" userId="5b54ce5a-dc89-476f-af33-5abd75d5b1e8" providerId="ADAL" clId="{43B71669-8A80-4333-9349-B258A9296B49}" dt="2024-02-27T17:26:58.763" v="5714" actId="962"/>
          <ac:spMkLst>
            <pc:docMk/>
            <pc:sldMk cId="3908895894" sldId="596"/>
            <ac:spMk id="94" creationId="{B5FCE78D-2CFD-7077-7603-3B12EC547A4F}"/>
          </ac:spMkLst>
        </pc:spChg>
        <pc:spChg chg="mod modVis">
          <ac:chgData name="Bullinger, Marvin" userId="5b54ce5a-dc89-476f-af33-5abd75d5b1e8" providerId="ADAL" clId="{43B71669-8A80-4333-9349-B258A9296B49}" dt="2024-02-27T17:26:58.763" v="5715" actId="962"/>
          <ac:spMkLst>
            <pc:docMk/>
            <pc:sldMk cId="3908895894" sldId="596"/>
            <ac:spMk id="95" creationId="{BF830D49-4260-98DC-E695-CBC03C470EBF}"/>
          </ac:spMkLst>
        </pc:spChg>
        <pc:spChg chg="mod modVis">
          <ac:chgData name="Bullinger, Marvin" userId="5b54ce5a-dc89-476f-af33-5abd75d5b1e8" providerId="ADAL" clId="{43B71669-8A80-4333-9349-B258A9296B49}" dt="2024-02-27T17:26:58.778" v="5716" actId="962"/>
          <ac:spMkLst>
            <pc:docMk/>
            <pc:sldMk cId="3908895894" sldId="596"/>
            <ac:spMk id="96" creationId="{DCEA6474-7D42-CFD3-F957-A32166249CCA}"/>
          </ac:spMkLst>
        </pc:spChg>
        <pc:spChg chg="mod modVis">
          <ac:chgData name="Bullinger, Marvin" userId="5b54ce5a-dc89-476f-af33-5abd75d5b1e8" providerId="ADAL" clId="{43B71669-8A80-4333-9349-B258A9296B49}" dt="2024-02-27T17:26:58.778" v="5717" actId="962"/>
          <ac:spMkLst>
            <pc:docMk/>
            <pc:sldMk cId="3908895894" sldId="596"/>
            <ac:spMk id="97" creationId="{6FF3E172-D369-7F40-13D3-4C5EDD66F7F0}"/>
          </ac:spMkLst>
        </pc:spChg>
        <pc:spChg chg="mod modVis">
          <ac:chgData name="Bullinger, Marvin" userId="5b54ce5a-dc89-476f-af33-5abd75d5b1e8" providerId="ADAL" clId="{43B71669-8A80-4333-9349-B258A9296B49}" dt="2024-02-27T17:26:58.794" v="5718" actId="962"/>
          <ac:spMkLst>
            <pc:docMk/>
            <pc:sldMk cId="3908895894" sldId="596"/>
            <ac:spMk id="98" creationId="{43631D20-65C9-3DBC-B7CA-34DC84ACED20}"/>
          </ac:spMkLst>
        </pc:spChg>
        <pc:spChg chg="mod modVis">
          <ac:chgData name="Bullinger, Marvin" userId="5b54ce5a-dc89-476f-af33-5abd75d5b1e8" providerId="ADAL" clId="{43B71669-8A80-4333-9349-B258A9296B49}" dt="2024-02-27T17:26:58.794" v="5719" actId="962"/>
          <ac:spMkLst>
            <pc:docMk/>
            <pc:sldMk cId="3908895894" sldId="596"/>
            <ac:spMk id="99" creationId="{819C6AC4-2D30-AB29-5956-6362483A32EC}"/>
          </ac:spMkLst>
        </pc:spChg>
        <pc:spChg chg="mod modVis">
          <ac:chgData name="Bullinger, Marvin" userId="5b54ce5a-dc89-476f-af33-5abd75d5b1e8" providerId="ADAL" clId="{43B71669-8A80-4333-9349-B258A9296B49}" dt="2024-02-27T17:26:58.811" v="5720" actId="962"/>
          <ac:spMkLst>
            <pc:docMk/>
            <pc:sldMk cId="3908895894" sldId="596"/>
            <ac:spMk id="100" creationId="{E72EBFD7-79DE-E871-6DDB-670399228F6D}"/>
          </ac:spMkLst>
        </pc:spChg>
        <pc:spChg chg="mod modVis">
          <ac:chgData name="Bullinger, Marvin" userId="5b54ce5a-dc89-476f-af33-5abd75d5b1e8" providerId="ADAL" clId="{43B71669-8A80-4333-9349-B258A9296B49}" dt="2024-02-27T17:26:58.822" v="5721" actId="962"/>
          <ac:spMkLst>
            <pc:docMk/>
            <pc:sldMk cId="3908895894" sldId="596"/>
            <ac:spMk id="101" creationId="{E8F547AB-FE02-E79B-4E99-FDB35007659E}"/>
          </ac:spMkLst>
        </pc:spChg>
        <pc:spChg chg="mod modVis">
          <ac:chgData name="Bullinger, Marvin" userId="5b54ce5a-dc89-476f-af33-5abd75d5b1e8" providerId="ADAL" clId="{43B71669-8A80-4333-9349-B258A9296B49}" dt="2024-02-27T17:26:58.828" v="5722" actId="962"/>
          <ac:spMkLst>
            <pc:docMk/>
            <pc:sldMk cId="3908895894" sldId="596"/>
            <ac:spMk id="102" creationId="{C32EAC17-27A4-0783-28D4-700D7471DD7C}"/>
          </ac:spMkLst>
        </pc:spChg>
        <pc:spChg chg="mod modVis">
          <ac:chgData name="Bullinger, Marvin" userId="5b54ce5a-dc89-476f-af33-5abd75d5b1e8" providerId="ADAL" clId="{43B71669-8A80-4333-9349-B258A9296B49}" dt="2024-02-27T17:26:58.828" v="5723" actId="962"/>
          <ac:spMkLst>
            <pc:docMk/>
            <pc:sldMk cId="3908895894" sldId="596"/>
            <ac:spMk id="103" creationId="{63B7D5E6-D194-0FD8-EC27-6BE69A1C926A}"/>
          </ac:spMkLst>
        </pc:spChg>
        <pc:spChg chg="mod modVis">
          <ac:chgData name="Bullinger, Marvin" userId="5b54ce5a-dc89-476f-af33-5abd75d5b1e8" providerId="ADAL" clId="{43B71669-8A80-4333-9349-B258A9296B49}" dt="2024-02-27T17:26:58.843" v="5724" actId="962"/>
          <ac:spMkLst>
            <pc:docMk/>
            <pc:sldMk cId="3908895894" sldId="596"/>
            <ac:spMk id="104" creationId="{89E87DA1-3630-9CFC-DC19-B74ADBE192F1}"/>
          </ac:spMkLst>
        </pc:spChg>
        <pc:spChg chg="mod modVis">
          <ac:chgData name="Bullinger, Marvin" userId="5b54ce5a-dc89-476f-af33-5abd75d5b1e8" providerId="ADAL" clId="{43B71669-8A80-4333-9349-B258A9296B49}" dt="2024-02-27T17:26:58.843" v="5725" actId="962"/>
          <ac:spMkLst>
            <pc:docMk/>
            <pc:sldMk cId="3908895894" sldId="596"/>
            <ac:spMk id="105" creationId="{E0CF8CE1-22B5-CF99-E2A4-D815D1F28E2A}"/>
          </ac:spMkLst>
        </pc:spChg>
        <pc:spChg chg="mod modVis">
          <ac:chgData name="Bullinger, Marvin" userId="5b54ce5a-dc89-476f-af33-5abd75d5b1e8" providerId="ADAL" clId="{43B71669-8A80-4333-9349-B258A9296B49}" dt="2024-02-27T17:26:58.843" v="5726" actId="962"/>
          <ac:spMkLst>
            <pc:docMk/>
            <pc:sldMk cId="3908895894" sldId="596"/>
            <ac:spMk id="106" creationId="{7BBBB9D5-BBC8-817F-6460-C68D0D21D506}"/>
          </ac:spMkLst>
        </pc:spChg>
        <pc:spChg chg="mod modVis">
          <ac:chgData name="Bullinger, Marvin" userId="5b54ce5a-dc89-476f-af33-5abd75d5b1e8" providerId="ADAL" clId="{43B71669-8A80-4333-9349-B258A9296B49}" dt="2024-02-27T17:26:58.859" v="5727" actId="962"/>
          <ac:spMkLst>
            <pc:docMk/>
            <pc:sldMk cId="3908895894" sldId="596"/>
            <ac:spMk id="107" creationId="{DA4176B9-0B7F-87AE-B6A2-3A281E413E0B}"/>
          </ac:spMkLst>
        </pc:spChg>
        <pc:spChg chg="mod modVis">
          <ac:chgData name="Bullinger, Marvin" userId="5b54ce5a-dc89-476f-af33-5abd75d5b1e8" providerId="ADAL" clId="{43B71669-8A80-4333-9349-B258A9296B49}" dt="2024-02-27T17:26:58.868" v="5728" actId="962"/>
          <ac:spMkLst>
            <pc:docMk/>
            <pc:sldMk cId="3908895894" sldId="596"/>
            <ac:spMk id="108" creationId="{5CA445F2-F4E2-122A-FD7B-2DA0C2ADC986}"/>
          </ac:spMkLst>
        </pc:spChg>
        <pc:spChg chg="mod modVis">
          <ac:chgData name="Bullinger, Marvin" userId="5b54ce5a-dc89-476f-af33-5abd75d5b1e8" providerId="ADAL" clId="{43B71669-8A80-4333-9349-B258A9296B49}" dt="2024-02-27T17:26:58.868" v="5729" actId="962"/>
          <ac:spMkLst>
            <pc:docMk/>
            <pc:sldMk cId="3908895894" sldId="596"/>
            <ac:spMk id="109" creationId="{0327899D-2FAE-69FE-8797-D2D4A4C2F68D}"/>
          </ac:spMkLst>
        </pc:spChg>
        <pc:cxnChg chg="del">
          <ac:chgData name="Bullinger, Marvin" userId="5b54ce5a-dc89-476f-af33-5abd75d5b1e8" providerId="ADAL" clId="{43B71669-8A80-4333-9349-B258A9296B49}" dt="2024-02-27T17:27:01.081" v="6823" actId="478"/>
          <ac:cxnSpMkLst>
            <pc:docMk/>
            <pc:sldMk cId="3908895894" sldId="596"/>
            <ac:cxnSpMk id="43" creationId="{41879A0E-9A31-C566-B3D7-C65961BCF70F}"/>
          </ac:cxnSpMkLst>
        </pc:cxnChg>
      </pc:sldChg>
      <pc:sldChg chg="delSp modSp del mod">
        <pc:chgData name="Bullinger, Marvin" userId="5b54ce5a-dc89-476f-af33-5abd75d5b1e8" providerId="ADAL" clId="{43B71669-8A80-4333-9349-B258A9296B49}" dt="2024-02-27T17:27:38.447" v="7790" actId="2696"/>
        <pc:sldMkLst>
          <pc:docMk/>
          <pc:sldMk cId="4094557416" sldId="596"/>
        </pc:sldMkLst>
        <pc:spChg chg="del">
          <ac:chgData name="Bullinger, Marvin" userId="5b54ce5a-dc89-476f-af33-5abd75d5b1e8" providerId="ADAL" clId="{43B71669-8A80-4333-9349-B258A9296B49}" dt="2024-02-27T17:27:38.439" v="7788" actId="478"/>
          <ac:spMkLst>
            <pc:docMk/>
            <pc:sldMk cId="4094557416" sldId="596"/>
            <ac:spMk id="42" creationId="{4FDCA459-2154-D55C-A7A2-3A8F81D2E7B9}"/>
          </ac:spMkLst>
        </pc:spChg>
        <pc:spChg chg="mod">
          <ac:chgData name="Bullinger, Marvin" userId="5b54ce5a-dc89-476f-af33-5abd75d5b1e8" providerId="ADAL" clId="{43B71669-8A80-4333-9349-B258A9296B49}" dt="2024-02-27T17:27:36.132" v="6828" actId="207"/>
          <ac:spMkLst>
            <pc:docMk/>
            <pc:sldMk cId="4094557416" sldId="596"/>
            <ac:spMk id="44" creationId="{0BE19E33-2DC2-D203-86CD-91D8D5C80905}"/>
          </ac:spMkLst>
        </pc:spChg>
        <pc:spChg chg="mod modVis">
          <ac:chgData name="Bullinger, Marvin" userId="5b54ce5a-dc89-476f-af33-5abd75d5b1e8" providerId="ADAL" clId="{43B71669-8A80-4333-9349-B258A9296B49}" dt="2024-02-27T17:27:36.167" v="6829" actId="962"/>
          <ac:spMkLst>
            <pc:docMk/>
            <pc:sldMk cId="4094557416" sldId="596"/>
            <ac:spMk id="46" creationId="{57C0B0E3-806D-305E-9C57-06CB01490FC7}"/>
          </ac:spMkLst>
        </pc:spChg>
        <pc:spChg chg="mod modVis">
          <ac:chgData name="Bullinger, Marvin" userId="5b54ce5a-dc89-476f-af33-5abd75d5b1e8" providerId="ADAL" clId="{43B71669-8A80-4333-9349-B258A9296B49}" dt="2024-02-27T17:27:36.182" v="6830" actId="962"/>
          <ac:spMkLst>
            <pc:docMk/>
            <pc:sldMk cId="4094557416" sldId="596"/>
            <ac:spMk id="47" creationId="{99E13CC6-D018-70E0-2DDE-9E03E0502BD9}"/>
          </ac:spMkLst>
        </pc:spChg>
        <pc:spChg chg="mod modVis">
          <ac:chgData name="Bullinger, Marvin" userId="5b54ce5a-dc89-476f-af33-5abd75d5b1e8" providerId="ADAL" clId="{43B71669-8A80-4333-9349-B258A9296B49}" dt="2024-02-27T17:27:36.182" v="6831" actId="962"/>
          <ac:spMkLst>
            <pc:docMk/>
            <pc:sldMk cId="4094557416" sldId="596"/>
            <ac:spMk id="48" creationId="{47C99D61-74EC-1C22-6106-7D33E8A52DA3}"/>
          </ac:spMkLst>
        </pc:spChg>
        <pc:spChg chg="mod modVis">
          <ac:chgData name="Bullinger, Marvin" userId="5b54ce5a-dc89-476f-af33-5abd75d5b1e8" providerId="ADAL" clId="{43B71669-8A80-4333-9349-B258A9296B49}" dt="2024-02-27T17:27:36.198" v="6832" actId="962"/>
          <ac:spMkLst>
            <pc:docMk/>
            <pc:sldMk cId="4094557416" sldId="596"/>
            <ac:spMk id="49" creationId="{088A57D6-15B9-610D-6C9C-C1C528969ECD}"/>
          </ac:spMkLst>
        </pc:spChg>
        <pc:spChg chg="mod modVis">
          <ac:chgData name="Bullinger, Marvin" userId="5b54ce5a-dc89-476f-af33-5abd75d5b1e8" providerId="ADAL" clId="{43B71669-8A80-4333-9349-B258A9296B49}" dt="2024-02-27T17:27:36.198" v="6833" actId="962"/>
          <ac:spMkLst>
            <pc:docMk/>
            <pc:sldMk cId="4094557416" sldId="596"/>
            <ac:spMk id="50" creationId="{53E0BF11-C3E5-77A8-012A-8253EB5C5E60}"/>
          </ac:spMkLst>
        </pc:spChg>
        <pc:spChg chg="mod modVis">
          <ac:chgData name="Bullinger, Marvin" userId="5b54ce5a-dc89-476f-af33-5abd75d5b1e8" providerId="ADAL" clId="{43B71669-8A80-4333-9349-B258A9296B49}" dt="2024-02-27T17:27:36.214" v="6834" actId="962"/>
          <ac:spMkLst>
            <pc:docMk/>
            <pc:sldMk cId="4094557416" sldId="596"/>
            <ac:spMk id="51" creationId="{565C7240-9D6E-513F-B7F8-99C0467B5E55}"/>
          </ac:spMkLst>
        </pc:spChg>
        <pc:spChg chg="mod modVis">
          <ac:chgData name="Bullinger, Marvin" userId="5b54ce5a-dc89-476f-af33-5abd75d5b1e8" providerId="ADAL" clId="{43B71669-8A80-4333-9349-B258A9296B49}" dt="2024-02-27T17:27:36.223" v="6835" actId="962"/>
          <ac:spMkLst>
            <pc:docMk/>
            <pc:sldMk cId="4094557416" sldId="596"/>
            <ac:spMk id="52" creationId="{540401C6-F00A-ADE4-7A1C-7FAA33869925}"/>
          </ac:spMkLst>
        </pc:spChg>
        <pc:spChg chg="mod modVis">
          <ac:chgData name="Bullinger, Marvin" userId="5b54ce5a-dc89-476f-af33-5abd75d5b1e8" providerId="ADAL" clId="{43B71669-8A80-4333-9349-B258A9296B49}" dt="2024-02-27T17:27:36.231" v="6836" actId="962"/>
          <ac:spMkLst>
            <pc:docMk/>
            <pc:sldMk cId="4094557416" sldId="596"/>
            <ac:spMk id="53" creationId="{E5D3AE36-B460-9265-53DE-84A3DC3041CE}"/>
          </ac:spMkLst>
        </pc:spChg>
        <pc:spChg chg="mod modVis">
          <ac:chgData name="Bullinger, Marvin" userId="5b54ce5a-dc89-476f-af33-5abd75d5b1e8" providerId="ADAL" clId="{43B71669-8A80-4333-9349-B258A9296B49}" dt="2024-02-27T17:27:36.240" v="6837" actId="962"/>
          <ac:spMkLst>
            <pc:docMk/>
            <pc:sldMk cId="4094557416" sldId="596"/>
            <ac:spMk id="54" creationId="{A46B9C98-44DF-0953-E41F-278CBF4C1C81}"/>
          </ac:spMkLst>
        </pc:spChg>
        <pc:spChg chg="mod modVis">
          <ac:chgData name="Bullinger, Marvin" userId="5b54ce5a-dc89-476f-af33-5abd75d5b1e8" providerId="ADAL" clId="{43B71669-8A80-4333-9349-B258A9296B49}" dt="2024-02-27T17:27:36.244" v="6838" actId="962"/>
          <ac:spMkLst>
            <pc:docMk/>
            <pc:sldMk cId="4094557416" sldId="596"/>
            <ac:spMk id="55" creationId="{540FC3A6-D8EA-96EC-F833-09709B81E9E6}"/>
          </ac:spMkLst>
        </pc:spChg>
        <pc:spChg chg="mod modVis">
          <ac:chgData name="Bullinger, Marvin" userId="5b54ce5a-dc89-476f-af33-5abd75d5b1e8" providerId="ADAL" clId="{43B71669-8A80-4333-9349-B258A9296B49}" dt="2024-02-27T17:27:36.252" v="6839" actId="962"/>
          <ac:spMkLst>
            <pc:docMk/>
            <pc:sldMk cId="4094557416" sldId="596"/>
            <ac:spMk id="56" creationId="{000F6C51-1848-463E-E70F-CF5C7ABBC1CF}"/>
          </ac:spMkLst>
        </pc:spChg>
        <pc:spChg chg="mod modVis">
          <ac:chgData name="Bullinger, Marvin" userId="5b54ce5a-dc89-476f-af33-5abd75d5b1e8" providerId="ADAL" clId="{43B71669-8A80-4333-9349-B258A9296B49}" dt="2024-02-27T17:27:36.252" v="6840" actId="962"/>
          <ac:spMkLst>
            <pc:docMk/>
            <pc:sldMk cId="4094557416" sldId="596"/>
            <ac:spMk id="57" creationId="{219E3185-B395-6C28-8FC5-568B228FAC0F}"/>
          </ac:spMkLst>
        </pc:spChg>
        <pc:spChg chg="mod modVis">
          <ac:chgData name="Bullinger, Marvin" userId="5b54ce5a-dc89-476f-af33-5abd75d5b1e8" providerId="ADAL" clId="{43B71669-8A80-4333-9349-B258A9296B49}" dt="2024-02-27T17:27:36.269" v="6841" actId="962"/>
          <ac:spMkLst>
            <pc:docMk/>
            <pc:sldMk cId="4094557416" sldId="596"/>
            <ac:spMk id="58" creationId="{C7A63B5B-A5E0-0859-5BD3-8B316BC5F887}"/>
          </ac:spMkLst>
        </pc:spChg>
        <pc:spChg chg="mod modVis">
          <ac:chgData name="Bullinger, Marvin" userId="5b54ce5a-dc89-476f-af33-5abd75d5b1e8" providerId="ADAL" clId="{43B71669-8A80-4333-9349-B258A9296B49}" dt="2024-02-27T17:27:36.269" v="6842" actId="962"/>
          <ac:spMkLst>
            <pc:docMk/>
            <pc:sldMk cId="4094557416" sldId="596"/>
            <ac:spMk id="59" creationId="{B7935F76-1FFA-4C0E-A1EA-D78A99DA2FB5}"/>
          </ac:spMkLst>
        </pc:spChg>
        <pc:spChg chg="mod modVis">
          <ac:chgData name="Bullinger, Marvin" userId="5b54ce5a-dc89-476f-af33-5abd75d5b1e8" providerId="ADAL" clId="{43B71669-8A80-4333-9349-B258A9296B49}" dt="2024-02-27T17:27:36.286" v="6843" actId="962"/>
          <ac:spMkLst>
            <pc:docMk/>
            <pc:sldMk cId="4094557416" sldId="596"/>
            <ac:spMk id="60" creationId="{87F12568-2349-C28A-04D7-5B611DBBA17B}"/>
          </ac:spMkLst>
        </pc:spChg>
        <pc:spChg chg="mod modVis">
          <ac:chgData name="Bullinger, Marvin" userId="5b54ce5a-dc89-476f-af33-5abd75d5b1e8" providerId="ADAL" clId="{43B71669-8A80-4333-9349-B258A9296B49}" dt="2024-02-27T17:27:36.290" v="6844" actId="962"/>
          <ac:spMkLst>
            <pc:docMk/>
            <pc:sldMk cId="4094557416" sldId="596"/>
            <ac:spMk id="61" creationId="{3C5AE61F-37BA-AFAB-BF81-FD9070D2DD2A}"/>
          </ac:spMkLst>
        </pc:spChg>
        <pc:spChg chg="mod modVis">
          <ac:chgData name="Bullinger, Marvin" userId="5b54ce5a-dc89-476f-af33-5abd75d5b1e8" providerId="ADAL" clId="{43B71669-8A80-4333-9349-B258A9296B49}" dt="2024-02-27T17:27:36.290" v="6845" actId="962"/>
          <ac:spMkLst>
            <pc:docMk/>
            <pc:sldMk cId="4094557416" sldId="596"/>
            <ac:spMk id="62" creationId="{8A4A7EFB-C296-B1FA-4F50-57FD9A32D326}"/>
          </ac:spMkLst>
        </pc:spChg>
        <pc:spChg chg="mod modVis">
          <ac:chgData name="Bullinger, Marvin" userId="5b54ce5a-dc89-476f-af33-5abd75d5b1e8" providerId="ADAL" clId="{43B71669-8A80-4333-9349-B258A9296B49}" dt="2024-02-27T17:27:36.306" v="6846" actId="962"/>
          <ac:spMkLst>
            <pc:docMk/>
            <pc:sldMk cId="4094557416" sldId="596"/>
            <ac:spMk id="63" creationId="{D20E11AC-0F49-5C34-6607-3651548CC292}"/>
          </ac:spMkLst>
        </pc:spChg>
        <pc:spChg chg="mod modVis">
          <ac:chgData name="Bullinger, Marvin" userId="5b54ce5a-dc89-476f-af33-5abd75d5b1e8" providerId="ADAL" clId="{43B71669-8A80-4333-9349-B258A9296B49}" dt="2024-02-27T17:27:36.306" v="6847" actId="962"/>
          <ac:spMkLst>
            <pc:docMk/>
            <pc:sldMk cId="4094557416" sldId="596"/>
            <ac:spMk id="64" creationId="{1ABE6656-195A-A20A-EF87-EB3F83A8DB2A}"/>
          </ac:spMkLst>
        </pc:spChg>
        <pc:spChg chg="mod modVis">
          <ac:chgData name="Bullinger, Marvin" userId="5b54ce5a-dc89-476f-af33-5abd75d5b1e8" providerId="ADAL" clId="{43B71669-8A80-4333-9349-B258A9296B49}" dt="2024-02-27T17:27:36.322" v="6848" actId="962"/>
          <ac:spMkLst>
            <pc:docMk/>
            <pc:sldMk cId="4094557416" sldId="596"/>
            <ac:spMk id="65" creationId="{6698FE42-2BE1-92DC-AC6A-8B862229FF7A}"/>
          </ac:spMkLst>
        </pc:spChg>
        <pc:spChg chg="mod modVis">
          <ac:chgData name="Bullinger, Marvin" userId="5b54ce5a-dc89-476f-af33-5abd75d5b1e8" providerId="ADAL" clId="{43B71669-8A80-4333-9349-B258A9296B49}" dt="2024-02-27T17:27:36.338" v="6849" actId="962"/>
          <ac:spMkLst>
            <pc:docMk/>
            <pc:sldMk cId="4094557416" sldId="596"/>
            <ac:spMk id="66" creationId="{381C0959-C98D-EEE7-8188-B94560DECA71}"/>
          </ac:spMkLst>
        </pc:spChg>
        <pc:spChg chg="mod modVis">
          <ac:chgData name="Bullinger, Marvin" userId="5b54ce5a-dc89-476f-af33-5abd75d5b1e8" providerId="ADAL" clId="{43B71669-8A80-4333-9349-B258A9296B49}" dt="2024-02-27T17:27:36.345" v="6850" actId="962"/>
          <ac:spMkLst>
            <pc:docMk/>
            <pc:sldMk cId="4094557416" sldId="596"/>
            <ac:spMk id="67" creationId="{724898C7-288B-1829-3A54-2A489446295E}"/>
          </ac:spMkLst>
        </pc:spChg>
        <pc:spChg chg="mod modVis">
          <ac:chgData name="Bullinger, Marvin" userId="5b54ce5a-dc89-476f-af33-5abd75d5b1e8" providerId="ADAL" clId="{43B71669-8A80-4333-9349-B258A9296B49}" dt="2024-02-27T17:27:36.353" v="6851" actId="962"/>
          <ac:spMkLst>
            <pc:docMk/>
            <pc:sldMk cId="4094557416" sldId="596"/>
            <ac:spMk id="68" creationId="{3B8E5202-C3E0-D0C8-216A-FB05DACFDA1B}"/>
          </ac:spMkLst>
        </pc:spChg>
        <pc:spChg chg="mod modVis">
          <ac:chgData name="Bullinger, Marvin" userId="5b54ce5a-dc89-476f-af33-5abd75d5b1e8" providerId="ADAL" clId="{43B71669-8A80-4333-9349-B258A9296B49}" dt="2024-02-27T17:27:36.353" v="6852" actId="962"/>
          <ac:spMkLst>
            <pc:docMk/>
            <pc:sldMk cId="4094557416" sldId="596"/>
            <ac:spMk id="69" creationId="{D0F635C9-D50D-1520-7E48-DB35EB796C09}"/>
          </ac:spMkLst>
        </pc:spChg>
        <pc:spChg chg="mod modVis">
          <ac:chgData name="Bullinger, Marvin" userId="5b54ce5a-dc89-476f-af33-5abd75d5b1e8" providerId="ADAL" clId="{43B71669-8A80-4333-9349-B258A9296B49}" dt="2024-02-27T17:27:36.353" v="6853" actId="962"/>
          <ac:spMkLst>
            <pc:docMk/>
            <pc:sldMk cId="4094557416" sldId="596"/>
            <ac:spMk id="70" creationId="{1FDFD08D-C543-29EF-CB5F-A8E94FFB44BE}"/>
          </ac:spMkLst>
        </pc:spChg>
        <pc:spChg chg="mod modVis">
          <ac:chgData name="Bullinger, Marvin" userId="5b54ce5a-dc89-476f-af33-5abd75d5b1e8" providerId="ADAL" clId="{43B71669-8A80-4333-9349-B258A9296B49}" dt="2024-02-27T17:27:36.369" v="6854" actId="962"/>
          <ac:spMkLst>
            <pc:docMk/>
            <pc:sldMk cId="4094557416" sldId="596"/>
            <ac:spMk id="71" creationId="{0D736E48-C104-487F-F2BD-9FB29E210FF9}"/>
          </ac:spMkLst>
        </pc:spChg>
        <pc:spChg chg="mod modVis">
          <ac:chgData name="Bullinger, Marvin" userId="5b54ce5a-dc89-476f-af33-5abd75d5b1e8" providerId="ADAL" clId="{43B71669-8A80-4333-9349-B258A9296B49}" dt="2024-02-27T17:27:36.369" v="6855" actId="962"/>
          <ac:spMkLst>
            <pc:docMk/>
            <pc:sldMk cId="4094557416" sldId="596"/>
            <ac:spMk id="72" creationId="{0D98B452-3FF7-91D1-1A36-883FB1686578}"/>
          </ac:spMkLst>
        </pc:spChg>
        <pc:spChg chg="mod modVis">
          <ac:chgData name="Bullinger, Marvin" userId="5b54ce5a-dc89-476f-af33-5abd75d5b1e8" providerId="ADAL" clId="{43B71669-8A80-4333-9349-B258A9296B49}" dt="2024-02-27T17:27:36.385" v="6856" actId="962"/>
          <ac:spMkLst>
            <pc:docMk/>
            <pc:sldMk cId="4094557416" sldId="596"/>
            <ac:spMk id="73" creationId="{7C3C4B58-3A60-B2EF-3BD1-F5BD09BDC620}"/>
          </ac:spMkLst>
        </pc:spChg>
        <pc:spChg chg="mod modVis">
          <ac:chgData name="Bullinger, Marvin" userId="5b54ce5a-dc89-476f-af33-5abd75d5b1e8" providerId="ADAL" clId="{43B71669-8A80-4333-9349-B258A9296B49}" dt="2024-02-27T17:27:36.385" v="6857" actId="962"/>
          <ac:spMkLst>
            <pc:docMk/>
            <pc:sldMk cId="4094557416" sldId="596"/>
            <ac:spMk id="74" creationId="{E8CB5B2B-8555-B9AA-9BB4-E41CEC0BD3D9}"/>
          </ac:spMkLst>
        </pc:spChg>
        <pc:spChg chg="mod modVis">
          <ac:chgData name="Bullinger, Marvin" userId="5b54ce5a-dc89-476f-af33-5abd75d5b1e8" providerId="ADAL" clId="{43B71669-8A80-4333-9349-B258A9296B49}" dt="2024-02-27T17:27:36.385" v="6858" actId="962"/>
          <ac:spMkLst>
            <pc:docMk/>
            <pc:sldMk cId="4094557416" sldId="596"/>
            <ac:spMk id="75" creationId="{A28604EA-3E00-4CA3-985C-81C20B2CF6E2}"/>
          </ac:spMkLst>
        </pc:spChg>
        <pc:spChg chg="mod modVis">
          <ac:chgData name="Bullinger, Marvin" userId="5b54ce5a-dc89-476f-af33-5abd75d5b1e8" providerId="ADAL" clId="{43B71669-8A80-4333-9349-B258A9296B49}" dt="2024-02-27T17:27:36.401" v="6859" actId="962"/>
          <ac:spMkLst>
            <pc:docMk/>
            <pc:sldMk cId="4094557416" sldId="596"/>
            <ac:spMk id="76" creationId="{A869D78D-CEB9-AEED-6411-462F65D9F2B4}"/>
          </ac:spMkLst>
        </pc:spChg>
        <pc:spChg chg="mod modVis">
          <ac:chgData name="Bullinger, Marvin" userId="5b54ce5a-dc89-476f-af33-5abd75d5b1e8" providerId="ADAL" clId="{43B71669-8A80-4333-9349-B258A9296B49}" dt="2024-02-27T17:27:36.401" v="6860" actId="962"/>
          <ac:spMkLst>
            <pc:docMk/>
            <pc:sldMk cId="4094557416" sldId="596"/>
            <ac:spMk id="77" creationId="{67BFA739-13EB-C219-3AFF-F0D7AB45EB5A}"/>
          </ac:spMkLst>
        </pc:spChg>
        <pc:spChg chg="mod modVis">
          <ac:chgData name="Bullinger, Marvin" userId="5b54ce5a-dc89-476f-af33-5abd75d5b1e8" providerId="ADAL" clId="{43B71669-8A80-4333-9349-B258A9296B49}" dt="2024-02-27T17:27:36.417" v="6861" actId="962"/>
          <ac:spMkLst>
            <pc:docMk/>
            <pc:sldMk cId="4094557416" sldId="596"/>
            <ac:spMk id="78" creationId="{B5CDC115-64F2-4869-D442-941FDF07C3F1}"/>
          </ac:spMkLst>
        </pc:spChg>
        <pc:spChg chg="mod modVis">
          <ac:chgData name="Bullinger, Marvin" userId="5b54ce5a-dc89-476f-af33-5abd75d5b1e8" providerId="ADAL" clId="{43B71669-8A80-4333-9349-B258A9296B49}" dt="2024-02-27T17:27:36.433" v="6862" actId="962"/>
          <ac:spMkLst>
            <pc:docMk/>
            <pc:sldMk cId="4094557416" sldId="596"/>
            <ac:spMk id="79" creationId="{E6758CAD-6571-EE54-50D9-0ADC184006CB}"/>
          </ac:spMkLst>
        </pc:spChg>
        <pc:spChg chg="mod modVis">
          <ac:chgData name="Bullinger, Marvin" userId="5b54ce5a-dc89-476f-af33-5abd75d5b1e8" providerId="ADAL" clId="{43B71669-8A80-4333-9349-B258A9296B49}" dt="2024-02-27T17:27:36.445" v="6863" actId="962"/>
          <ac:spMkLst>
            <pc:docMk/>
            <pc:sldMk cId="4094557416" sldId="596"/>
            <ac:spMk id="80" creationId="{D96FE2F1-5A6E-680A-73B8-4813D6EF02BC}"/>
          </ac:spMkLst>
        </pc:spChg>
        <pc:spChg chg="mod modVis">
          <ac:chgData name="Bullinger, Marvin" userId="5b54ce5a-dc89-476f-af33-5abd75d5b1e8" providerId="ADAL" clId="{43B71669-8A80-4333-9349-B258A9296B49}" dt="2024-02-27T17:27:36.445" v="6864" actId="962"/>
          <ac:spMkLst>
            <pc:docMk/>
            <pc:sldMk cId="4094557416" sldId="596"/>
            <ac:spMk id="81" creationId="{C882B5BE-6BC9-626A-B89E-46B1312072C5}"/>
          </ac:spMkLst>
        </pc:spChg>
        <pc:spChg chg="mod modVis">
          <ac:chgData name="Bullinger, Marvin" userId="5b54ce5a-dc89-476f-af33-5abd75d5b1e8" providerId="ADAL" clId="{43B71669-8A80-4333-9349-B258A9296B49}" dt="2024-02-27T17:27:36.461" v="6865" actId="962"/>
          <ac:spMkLst>
            <pc:docMk/>
            <pc:sldMk cId="4094557416" sldId="596"/>
            <ac:spMk id="82" creationId="{B2074845-F972-5EC0-2911-52EFF035FB71}"/>
          </ac:spMkLst>
        </pc:spChg>
        <pc:spChg chg="mod modVis">
          <ac:chgData name="Bullinger, Marvin" userId="5b54ce5a-dc89-476f-af33-5abd75d5b1e8" providerId="ADAL" clId="{43B71669-8A80-4333-9349-B258A9296B49}" dt="2024-02-27T17:27:36.461" v="6866" actId="962"/>
          <ac:spMkLst>
            <pc:docMk/>
            <pc:sldMk cId="4094557416" sldId="596"/>
            <ac:spMk id="83" creationId="{73FCF531-F104-4726-FEF6-1F3EBB7FF79A}"/>
          </ac:spMkLst>
        </pc:spChg>
        <pc:spChg chg="mod modVis">
          <ac:chgData name="Bullinger, Marvin" userId="5b54ce5a-dc89-476f-af33-5abd75d5b1e8" providerId="ADAL" clId="{43B71669-8A80-4333-9349-B258A9296B49}" dt="2024-02-27T17:27:36.477" v="6867" actId="962"/>
          <ac:spMkLst>
            <pc:docMk/>
            <pc:sldMk cId="4094557416" sldId="596"/>
            <ac:spMk id="84" creationId="{F74DF050-3D3F-65F1-C5F6-58A1F0834270}"/>
          </ac:spMkLst>
        </pc:spChg>
        <pc:spChg chg="mod modVis">
          <ac:chgData name="Bullinger, Marvin" userId="5b54ce5a-dc89-476f-af33-5abd75d5b1e8" providerId="ADAL" clId="{43B71669-8A80-4333-9349-B258A9296B49}" dt="2024-02-27T17:27:36.477" v="6868" actId="962"/>
          <ac:spMkLst>
            <pc:docMk/>
            <pc:sldMk cId="4094557416" sldId="596"/>
            <ac:spMk id="85" creationId="{2D7547F7-3194-E8BF-3297-B96D2BB3A890}"/>
          </ac:spMkLst>
        </pc:spChg>
        <pc:spChg chg="mod modVis">
          <ac:chgData name="Bullinger, Marvin" userId="5b54ce5a-dc89-476f-af33-5abd75d5b1e8" providerId="ADAL" clId="{43B71669-8A80-4333-9349-B258A9296B49}" dt="2024-02-27T17:27:36.477" v="6869" actId="962"/>
          <ac:spMkLst>
            <pc:docMk/>
            <pc:sldMk cId="4094557416" sldId="596"/>
            <ac:spMk id="86" creationId="{81FF8657-7904-2B15-5A3B-EA41F0572C38}"/>
          </ac:spMkLst>
        </pc:spChg>
        <pc:spChg chg="mod modVis">
          <ac:chgData name="Bullinger, Marvin" userId="5b54ce5a-dc89-476f-af33-5abd75d5b1e8" providerId="ADAL" clId="{43B71669-8A80-4333-9349-B258A9296B49}" dt="2024-02-27T17:27:36.492" v="6870" actId="962"/>
          <ac:spMkLst>
            <pc:docMk/>
            <pc:sldMk cId="4094557416" sldId="596"/>
            <ac:spMk id="87" creationId="{F52BDF97-CF2D-2959-7B04-110E959359DA}"/>
          </ac:spMkLst>
        </pc:spChg>
        <pc:spChg chg="mod modVis">
          <ac:chgData name="Bullinger, Marvin" userId="5b54ce5a-dc89-476f-af33-5abd75d5b1e8" providerId="ADAL" clId="{43B71669-8A80-4333-9349-B258A9296B49}" dt="2024-02-27T17:27:36.492" v="6871" actId="962"/>
          <ac:spMkLst>
            <pc:docMk/>
            <pc:sldMk cId="4094557416" sldId="596"/>
            <ac:spMk id="88" creationId="{A87FFFC1-0477-A425-27DD-6B187787DA08}"/>
          </ac:spMkLst>
        </pc:spChg>
        <pc:spChg chg="mod modVis">
          <ac:chgData name="Bullinger, Marvin" userId="5b54ce5a-dc89-476f-af33-5abd75d5b1e8" providerId="ADAL" clId="{43B71669-8A80-4333-9349-B258A9296B49}" dt="2024-02-27T17:27:36.508" v="6872" actId="962"/>
          <ac:spMkLst>
            <pc:docMk/>
            <pc:sldMk cId="4094557416" sldId="596"/>
            <ac:spMk id="89" creationId="{24384AC4-17CA-D7A3-834D-51D33C0CB561}"/>
          </ac:spMkLst>
        </pc:spChg>
        <pc:spChg chg="mod modVis">
          <ac:chgData name="Bullinger, Marvin" userId="5b54ce5a-dc89-476f-af33-5abd75d5b1e8" providerId="ADAL" clId="{43B71669-8A80-4333-9349-B258A9296B49}" dt="2024-02-27T17:27:36.508" v="6873" actId="962"/>
          <ac:spMkLst>
            <pc:docMk/>
            <pc:sldMk cId="4094557416" sldId="596"/>
            <ac:spMk id="90" creationId="{9AD5F3E2-55DF-6AF9-01AA-B196650E010D}"/>
          </ac:spMkLst>
        </pc:spChg>
        <pc:spChg chg="mod modVis">
          <ac:chgData name="Bullinger, Marvin" userId="5b54ce5a-dc89-476f-af33-5abd75d5b1e8" providerId="ADAL" clId="{43B71669-8A80-4333-9349-B258A9296B49}" dt="2024-02-27T17:27:36.524" v="6874" actId="962"/>
          <ac:spMkLst>
            <pc:docMk/>
            <pc:sldMk cId="4094557416" sldId="596"/>
            <ac:spMk id="91" creationId="{12B78B3B-51D9-8364-3960-A969E950D79C}"/>
          </ac:spMkLst>
        </pc:spChg>
        <pc:spChg chg="mod modVis">
          <ac:chgData name="Bullinger, Marvin" userId="5b54ce5a-dc89-476f-af33-5abd75d5b1e8" providerId="ADAL" clId="{43B71669-8A80-4333-9349-B258A9296B49}" dt="2024-02-27T17:27:36.538" v="6875" actId="962"/>
          <ac:spMkLst>
            <pc:docMk/>
            <pc:sldMk cId="4094557416" sldId="596"/>
            <ac:spMk id="92" creationId="{7586C9A4-9F0F-64E4-AFBE-7E60DE8AA8F7}"/>
          </ac:spMkLst>
        </pc:spChg>
        <pc:spChg chg="mod modVis">
          <ac:chgData name="Bullinger, Marvin" userId="5b54ce5a-dc89-476f-af33-5abd75d5b1e8" providerId="ADAL" clId="{43B71669-8A80-4333-9349-B258A9296B49}" dt="2024-02-27T17:27:36.545" v="6876" actId="962"/>
          <ac:spMkLst>
            <pc:docMk/>
            <pc:sldMk cId="4094557416" sldId="596"/>
            <ac:spMk id="93" creationId="{32981CED-7981-42CA-6722-F82A2CF25D4C}"/>
          </ac:spMkLst>
        </pc:spChg>
        <pc:spChg chg="mod modVis">
          <ac:chgData name="Bullinger, Marvin" userId="5b54ce5a-dc89-476f-af33-5abd75d5b1e8" providerId="ADAL" clId="{43B71669-8A80-4333-9349-B258A9296B49}" dt="2024-02-27T17:27:36.545" v="6877" actId="962"/>
          <ac:spMkLst>
            <pc:docMk/>
            <pc:sldMk cId="4094557416" sldId="596"/>
            <ac:spMk id="94" creationId="{0FE6A407-9C72-C02F-DFBE-11A726E2FCE6}"/>
          </ac:spMkLst>
        </pc:spChg>
        <pc:spChg chg="mod modVis">
          <ac:chgData name="Bullinger, Marvin" userId="5b54ce5a-dc89-476f-af33-5abd75d5b1e8" providerId="ADAL" clId="{43B71669-8A80-4333-9349-B258A9296B49}" dt="2024-02-27T17:27:36.545" v="6878" actId="962"/>
          <ac:spMkLst>
            <pc:docMk/>
            <pc:sldMk cId="4094557416" sldId="596"/>
            <ac:spMk id="95" creationId="{97299FD9-41DE-6544-4560-0FD49A9B5AFA}"/>
          </ac:spMkLst>
        </pc:spChg>
        <pc:spChg chg="mod modVis">
          <ac:chgData name="Bullinger, Marvin" userId="5b54ce5a-dc89-476f-af33-5abd75d5b1e8" providerId="ADAL" clId="{43B71669-8A80-4333-9349-B258A9296B49}" dt="2024-02-27T17:27:36.561" v="6879" actId="962"/>
          <ac:spMkLst>
            <pc:docMk/>
            <pc:sldMk cId="4094557416" sldId="596"/>
            <ac:spMk id="96" creationId="{AACD699B-A959-3C95-085E-97DC99F138CB}"/>
          </ac:spMkLst>
        </pc:spChg>
        <pc:spChg chg="mod modVis">
          <ac:chgData name="Bullinger, Marvin" userId="5b54ce5a-dc89-476f-af33-5abd75d5b1e8" providerId="ADAL" clId="{43B71669-8A80-4333-9349-B258A9296B49}" dt="2024-02-27T17:27:36.561" v="6880" actId="962"/>
          <ac:spMkLst>
            <pc:docMk/>
            <pc:sldMk cId="4094557416" sldId="596"/>
            <ac:spMk id="97" creationId="{5885D081-BA2B-CD4F-91AF-E112DB476085}"/>
          </ac:spMkLst>
        </pc:spChg>
        <pc:spChg chg="mod modVis">
          <ac:chgData name="Bullinger, Marvin" userId="5b54ce5a-dc89-476f-af33-5abd75d5b1e8" providerId="ADAL" clId="{43B71669-8A80-4333-9349-B258A9296B49}" dt="2024-02-27T17:27:36.581" v="6881" actId="962"/>
          <ac:spMkLst>
            <pc:docMk/>
            <pc:sldMk cId="4094557416" sldId="596"/>
            <ac:spMk id="98" creationId="{B6F7B4FD-23AC-3097-E0F1-664C4560D0B0}"/>
          </ac:spMkLst>
        </pc:spChg>
        <pc:spChg chg="mod modVis">
          <ac:chgData name="Bullinger, Marvin" userId="5b54ce5a-dc89-476f-af33-5abd75d5b1e8" providerId="ADAL" clId="{43B71669-8A80-4333-9349-B258A9296B49}" dt="2024-02-27T17:27:36.581" v="6882" actId="962"/>
          <ac:spMkLst>
            <pc:docMk/>
            <pc:sldMk cId="4094557416" sldId="596"/>
            <ac:spMk id="99" creationId="{1768BBB6-DA6D-45E4-7199-00DC01FE2F02}"/>
          </ac:spMkLst>
        </pc:spChg>
        <pc:spChg chg="mod modVis">
          <ac:chgData name="Bullinger, Marvin" userId="5b54ce5a-dc89-476f-af33-5abd75d5b1e8" providerId="ADAL" clId="{43B71669-8A80-4333-9349-B258A9296B49}" dt="2024-02-27T17:27:36.597" v="6883" actId="962"/>
          <ac:spMkLst>
            <pc:docMk/>
            <pc:sldMk cId="4094557416" sldId="596"/>
            <ac:spMk id="100" creationId="{54BC5FE4-F0DD-75E5-00C8-336078F2D3CD}"/>
          </ac:spMkLst>
        </pc:spChg>
        <pc:spChg chg="mod modVis">
          <ac:chgData name="Bullinger, Marvin" userId="5b54ce5a-dc89-476f-af33-5abd75d5b1e8" providerId="ADAL" clId="{43B71669-8A80-4333-9349-B258A9296B49}" dt="2024-02-27T17:27:36.598" v="6884" actId="962"/>
          <ac:spMkLst>
            <pc:docMk/>
            <pc:sldMk cId="4094557416" sldId="596"/>
            <ac:spMk id="101" creationId="{B1E10631-F4CA-DD68-77A5-3AC5829AC2E2}"/>
          </ac:spMkLst>
        </pc:spChg>
        <pc:cxnChg chg="del">
          <ac:chgData name="Bullinger, Marvin" userId="5b54ce5a-dc89-476f-af33-5abd75d5b1e8" providerId="ADAL" clId="{43B71669-8A80-4333-9349-B258A9296B49}" dt="2024-02-27T17:27:38.447" v="7789" actId="478"/>
          <ac:cxnSpMkLst>
            <pc:docMk/>
            <pc:sldMk cId="4094557416" sldId="596"/>
            <ac:cxnSpMk id="43" creationId="{A16E8923-AA3E-0A5C-21F6-F43EB35E1775}"/>
          </ac:cxnSpMkLst>
        </pc:cxnChg>
      </pc:sldChg>
      <pc:sldChg chg="del">
        <pc:chgData name="Bullinger, Marvin" userId="5b54ce5a-dc89-476f-af33-5abd75d5b1e8" providerId="ADAL" clId="{43B71669-8A80-4333-9349-B258A9296B49}" dt="2024-02-27T17:27:38.439" v="7787" actId="2696"/>
        <pc:sldMkLst>
          <pc:docMk/>
          <pc:sldMk cId="2581602741" sldId="597"/>
        </pc:sldMkLst>
      </pc:sldChg>
      <pc:sldChg chg="del">
        <pc:chgData name="Bullinger, Marvin" userId="5b54ce5a-dc89-476f-af33-5abd75d5b1e8" providerId="ADAL" clId="{43B71669-8A80-4333-9349-B258A9296B49}" dt="2024-02-27T17:27:01.065" v="6821" actId="2696"/>
        <pc:sldMkLst>
          <pc:docMk/>
          <pc:sldMk cId="4237987895" sldId="597"/>
        </pc:sldMkLst>
      </pc:sldChg>
      <pc:sldChg chg="del">
        <pc:chgData name="Bullinger, Marvin" userId="5b54ce5a-dc89-476f-af33-5abd75d5b1e8" providerId="ADAL" clId="{43B71669-8A80-4333-9349-B258A9296B49}" dt="2024-02-27T17:27:01.065" v="6820" actId="2696"/>
        <pc:sldMkLst>
          <pc:docMk/>
          <pc:sldMk cId="1320744294" sldId="598"/>
        </pc:sldMkLst>
      </pc:sldChg>
      <pc:sldChg chg="del">
        <pc:chgData name="Bullinger, Marvin" userId="5b54ce5a-dc89-476f-af33-5abd75d5b1e8" providerId="ADAL" clId="{43B71669-8A80-4333-9349-B258A9296B49}" dt="2024-02-27T17:27:38.439" v="7786" actId="2696"/>
        <pc:sldMkLst>
          <pc:docMk/>
          <pc:sldMk cId="2089675849" sldId="598"/>
        </pc:sldMkLst>
      </pc:sldChg>
      <pc:sldMasterChg chg="delSp modSp mod modSldLayout">
        <pc:chgData name="Bullinger, Marvin" userId="5b54ce5a-dc89-476f-af33-5abd75d5b1e8" providerId="ADAL" clId="{43B71669-8A80-4333-9349-B258A9296B49}" dt="2024-02-27T17:31:57.444" v="7820"/>
        <pc:sldMasterMkLst>
          <pc:docMk/>
          <pc:sldMasterMk cId="2846167297" sldId="2147483677"/>
        </pc:sldMasterMkLst>
        <pc:picChg chg="del">
          <ac:chgData name="Bullinger, Marvin" userId="5b54ce5a-dc89-476f-af33-5abd75d5b1e8" providerId="ADAL" clId="{43B71669-8A80-4333-9349-B258A9296B49}" dt="2024-02-27T16:33:29.816" v="65" actId="478"/>
          <ac:picMkLst>
            <pc:docMk/>
            <pc:sldMasterMk cId="2846167297" sldId="2147483677"/>
            <ac:picMk id="5" creationId="{B66B4613-35BE-C239-5EAA-41936C8A7AA1}"/>
          </ac:picMkLst>
        </pc:picChg>
        <pc:picChg chg="mod">
          <ac:chgData name="Bullinger, Marvin" userId="5b54ce5a-dc89-476f-af33-5abd75d5b1e8" providerId="ADAL" clId="{43B71669-8A80-4333-9349-B258A9296B49}" dt="2024-02-27T17:31:38.345" v="7814" actId="1076"/>
          <ac:picMkLst>
            <pc:docMk/>
            <pc:sldMasterMk cId="2846167297" sldId="2147483677"/>
            <ac:picMk id="7" creationId="{9F0ABF88-D3F9-7514-74E6-D3F3838E9EBE}"/>
          </ac:picMkLst>
        </pc:picChg>
        <pc:picChg chg="del">
          <ac:chgData name="Bullinger, Marvin" userId="5b54ce5a-dc89-476f-af33-5abd75d5b1e8" providerId="ADAL" clId="{43B71669-8A80-4333-9349-B258A9296B49}" dt="2024-02-27T16:33:31.486" v="66" actId="478"/>
          <ac:picMkLst>
            <pc:docMk/>
            <pc:sldMasterMk cId="2846167297" sldId="2147483677"/>
            <ac:picMk id="8" creationId="{3262790B-0FE7-54D0-DB52-91D8B82206E6}"/>
          </ac:picMkLst>
        </pc:picChg>
        <pc:sldLayoutChg chg="addSp delSp modSp mod">
          <pc:chgData name="Bullinger, Marvin" userId="5b54ce5a-dc89-476f-af33-5abd75d5b1e8" providerId="ADAL" clId="{43B71669-8A80-4333-9349-B258A9296B49}" dt="2024-02-27T17:31:44.858" v="7816"/>
          <pc:sldLayoutMkLst>
            <pc:docMk/>
            <pc:sldMasterMk cId="2846167297" sldId="2147483677"/>
            <pc:sldLayoutMk cId="2552064348" sldId="2147483679"/>
          </pc:sldLayoutMkLst>
          <pc:picChg chg="del">
            <ac:chgData name="Bullinger, Marvin" userId="5b54ce5a-dc89-476f-af33-5abd75d5b1e8" providerId="ADAL" clId="{43B71669-8A80-4333-9349-B258A9296B49}" dt="2024-02-27T11:47:05.435" v="26" actId="478"/>
            <ac:picMkLst>
              <pc:docMk/>
              <pc:sldMasterMk cId="2846167297" sldId="2147483677"/>
              <pc:sldLayoutMk cId="2552064348" sldId="2147483679"/>
              <ac:picMk id="3" creationId="{0C4A1D9E-2996-0750-7973-0F7FE382E07D}"/>
            </ac:picMkLst>
          </pc:picChg>
          <pc:picChg chg="add del mod">
            <ac:chgData name="Bullinger, Marvin" userId="5b54ce5a-dc89-476f-af33-5abd75d5b1e8" providerId="ADAL" clId="{43B71669-8A80-4333-9349-B258A9296B49}" dt="2024-02-27T17:31:44.648" v="7815" actId="478"/>
            <ac:picMkLst>
              <pc:docMk/>
              <pc:sldMasterMk cId="2846167297" sldId="2147483677"/>
              <pc:sldLayoutMk cId="2552064348" sldId="2147483679"/>
              <ac:picMk id="3" creationId="{7F810495-699F-FD7F-3D54-1D413C225744}"/>
            </ac:picMkLst>
          </pc:picChg>
          <pc:picChg chg="del mod">
            <ac:chgData name="Bullinger, Marvin" userId="5b54ce5a-dc89-476f-af33-5abd75d5b1e8" providerId="ADAL" clId="{43B71669-8A80-4333-9349-B258A9296B49}" dt="2024-02-27T16:34:09.301" v="71" actId="478"/>
            <ac:picMkLst>
              <pc:docMk/>
              <pc:sldMasterMk cId="2846167297" sldId="2147483677"/>
              <pc:sldLayoutMk cId="2552064348" sldId="2147483679"/>
              <ac:picMk id="4" creationId="{8F2AB7C0-D124-6E6A-B199-E43279C4E7FF}"/>
            </ac:picMkLst>
          </pc:picChg>
          <pc:picChg chg="add mod">
            <ac:chgData name="Bullinger, Marvin" userId="5b54ce5a-dc89-476f-af33-5abd75d5b1e8" providerId="ADAL" clId="{43B71669-8A80-4333-9349-B258A9296B49}" dt="2024-02-27T17:31:44.858" v="7816"/>
            <ac:picMkLst>
              <pc:docMk/>
              <pc:sldMasterMk cId="2846167297" sldId="2147483677"/>
              <pc:sldLayoutMk cId="2552064348" sldId="2147483679"/>
              <ac:picMk id="4" creationId="{E77897C7-512E-9BBE-0513-C8232D5D7231}"/>
            </ac:picMkLst>
          </pc:picChg>
          <pc:picChg chg="del">
            <ac:chgData name="Bullinger, Marvin" userId="5b54ce5a-dc89-476f-af33-5abd75d5b1e8" providerId="ADAL" clId="{43B71669-8A80-4333-9349-B258A9296B49}" dt="2024-02-27T11:47:03.682" v="25" actId="478"/>
            <ac:picMkLst>
              <pc:docMk/>
              <pc:sldMasterMk cId="2846167297" sldId="2147483677"/>
              <pc:sldLayoutMk cId="2552064348" sldId="2147483679"/>
              <ac:picMk id="5" creationId="{D39A901F-54BF-B33F-AD67-321778F6D181}"/>
            </ac:picMkLst>
          </pc:picChg>
          <pc:picChg chg="add del mod">
            <ac:chgData name="Bullinger, Marvin" userId="5b54ce5a-dc89-476f-af33-5abd75d5b1e8" providerId="ADAL" clId="{43B71669-8A80-4333-9349-B258A9296B49}" dt="2024-02-27T11:47:01.144" v="22" actId="478"/>
            <ac:picMkLst>
              <pc:docMk/>
              <pc:sldMasterMk cId="2846167297" sldId="2147483677"/>
              <pc:sldLayoutMk cId="2552064348" sldId="2147483679"/>
              <ac:picMk id="1026" creationId="{C4DF6AA5-FC10-FE61-97A3-164392718A6B}"/>
            </ac:picMkLst>
          </pc:picChg>
          <pc:picChg chg="add del mod">
            <ac:chgData name="Bullinger, Marvin" userId="5b54ce5a-dc89-476f-af33-5abd75d5b1e8" providerId="ADAL" clId="{43B71669-8A80-4333-9349-B258A9296B49}" dt="2024-02-27T11:47:02.775" v="24" actId="478"/>
            <ac:picMkLst>
              <pc:docMk/>
              <pc:sldMasterMk cId="2846167297" sldId="2147483677"/>
              <pc:sldLayoutMk cId="2552064348" sldId="2147483679"/>
              <ac:picMk id="1028" creationId="{7950E8C5-FA0F-C8BE-1613-2B8342049420}"/>
            </ac:picMkLst>
          </pc:picChg>
        </pc:sldLayoutChg>
        <pc:sldLayoutChg chg="addSp delSp modSp mod">
          <pc:chgData name="Bullinger, Marvin" userId="5b54ce5a-dc89-476f-af33-5abd75d5b1e8" providerId="ADAL" clId="{43B71669-8A80-4333-9349-B258A9296B49}" dt="2024-02-27T17:31:47.960" v="7818"/>
          <pc:sldLayoutMkLst>
            <pc:docMk/>
            <pc:sldMasterMk cId="2846167297" sldId="2147483677"/>
            <pc:sldLayoutMk cId="3747579019" sldId="2147483680"/>
          </pc:sldLayoutMkLst>
          <pc:picChg chg="add mod">
            <ac:chgData name="Bullinger, Marvin" userId="5b54ce5a-dc89-476f-af33-5abd75d5b1e8" providerId="ADAL" clId="{43B71669-8A80-4333-9349-B258A9296B49}" dt="2024-02-27T17:31:47.960" v="7818"/>
            <ac:picMkLst>
              <pc:docMk/>
              <pc:sldMasterMk cId="2846167297" sldId="2147483677"/>
              <pc:sldLayoutMk cId="3747579019" sldId="2147483680"/>
              <ac:picMk id="4" creationId="{13716D5F-9793-2331-7ACF-0E7477322434}"/>
            </ac:picMkLst>
          </pc:picChg>
          <pc:picChg chg="add del mod">
            <ac:chgData name="Bullinger, Marvin" userId="5b54ce5a-dc89-476f-af33-5abd75d5b1e8" providerId="ADAL" clId="{43B71669-8A80-4333-9349-B258A9296B49}" dt="2024-02-27T16:34:12.786" v="73" actId="478"/>
            <ac:picMkLst>
              <pc:docMk/>
              <pc:sldMasterMk cId="2846167297" sldId="2147483677"/>
              <pc:sldLayoutMk cId="3747579019" sldId="2147483680"/>
              <ac:picMk id="4" creationId="{AB5790DB-051B-539D-A181-29B87E01B0CD}"/>
            </ac:picMkLst>
          </pc:picChg>
          <pc:picChg chg="del">
            <ac:chgData name="Bullinger, Marvin" userId="5b54ce5a-dc89-476f-af33-5abd75d5b1e8" providerId="ADAL" clId="{43B71669-8A80-4333-9349-B258A9296B49}" dt="2024-02-27T11:47:15.791" v="28" actId="478"/>
            <ac:picMkLst>
              <pc:docMk/>
              <pc:sldMasterMk cId="2846167297" sldId="2147483677"/>
              <pc:sldLayoutMk cId="3747579019" sldId="2147483680"/>
              <ac:picMk id="5" creationId="{16DFF677-2C8A-E66B-B58E-ACA875402B15}"/>
            </ac:picMkLst>
          </pc:picChg>
          <pc:picChg chg="add del mod">
            <ac:chgData name="Bullinger, Marvin" userId="5b54ce5a-dc89-476f-af33-5abd75d5b1e8" providerId="ADAL" clId="{43B71669-8A80-4333-9349-B258A9296B49}" dt="2024-02-27T17:31:47.712" v="7817" actId="478"/>
            <ac:picMkLst>
              <pc:docMk/>
              <pc:sldMasterMk cId="2846167297" sldId="2147483677"/>
              <pc:sldLayoutMk cId="3747579019" sldId="2147483680"/>
              <ac:picMk id="5" creationId="{1869AC38-CF29-B4A4-8E00-CF9314BBD3B3}"/>
            </ac:picMkLst>
          </pc:picChg>
          <pc:picChg chg="del mod">
            <ac:chgData name="Bullinger, Marvin" userId="5b54ce5a-dc89-476f-af33-5abd75d5b1e8" providerId="ADAL" clId="{43B71669-8A80-4333-9349-B258A9296B49}" dt="2024-02-27T11:47:17.121" v="30" actId="478"/>
            <ac:picMkLst>
              <pc:docMk/>
              <pc:sldMasterMk cId="2846167297" sldId="2147483677"/>
              <pc:sldLayoutMk cId="3747579019" sldId="2147483680"/>
              <ac:picMk id="50" creationId="{EAF32932-B650-4121-BB48-0C7B347879A4}"/>
            </ac:picMkLst>
          </pc:picChg>
          <pc:picChg chg="del">
            <ac:chgData name="Bullinger, Marvin" userId="5b54ce5a-dc89-476f-af33-5abd75d5b1e8" providerId="ADAL" clId="{43B71669-8A80-4333-9349-B258A9296B49}" dt="2024-02-27T11:47:17.854" v="31" actId="478"/>
            <ac:picMkLst>
              <pc:docMk/>
              <pc:sldMasterMk cId="2846167297" sldId="2147483677"/>
              <pc:sldLayoutMk cId="3747579019" sldId="2147483680"/>
              <ac:picMk id="70" creationId="{737A22D4-A2AE-4470-98F1-7CB4D1F17966}"/>
            </ac:picMkLst>
          </pc:picChg>
        </pc:sldLayoutChg>
        <pc:sldLayoutChg chg="addSp delSp modSp mod">
          <pc:chgData name="Bullinger, Marvin" userId="5b54ce5a-dc89-476f-af33-5abd75d5b1e8" providerId="ADAL" clId="{43B71669-8A80-4333-9349-B258A9296B49}" dt="2024-02-27T17:31:57.444" v="7820"/>
          <pc:sldLayoutMkLst>
            <pc:docMk/>
            <pc:sldMasterMk cId="2846167297" sldId="2147483677"/>
            <pc:sldLayoutMk cId="4238673067" sldId="2147483685"/>
          </pc:sldLayoutMkLst>
          <pc:picChg chg="del">
            <ac:chgData name="Bullinger, Marvin" userId="5b54ce5a-dc89-476f-af33-5abd75d5b1e8" providerId="ADAL" clId="{43B71669-8A80-4333-9349-B258A9296B49}" dt="2024-02-27T16:34:22.249" v="75" actId="478"/>
            <ac:picMkLst>
              <pc:docMk/>
              <pc:sldMasterMk cId="2846167297" sldId="2147483677"/>
              <pc:sldLayoutMk cId="4238673067" sldId="2147483685"/>
              <ac:picMk id="3" creationId="{A7B04ED0-A612-4DB0-5A4B-8632EB8EE982}"/>
            </ac:picMkLst>
          </pc:picChg>
          <pc:picChg chg="add mod">
            <ac:chgData name="Bullinger, Marvin" userId="5b54ce5a-dc89-476f-af33-5abd75d5b1e8" providerId="ADAL" clId="{43B71669-8A80-4333-9349-B258A9296B49}" dt="2024-02-27T17:31:57.444" v="7820"/>
            <ac:picMkLst>
              <pc:docMk/>
              <pc:sldMasterMk cId="2846167297" sldId="2147483677"/>
              <pc:sldLayoutMk cId="4238673067" sldId="2147483685"/>
              <ac:picMk id="3" creationId="{CC3594EE-A331-C02C-BCD7-3265738511DC}"/>
            </ac:picMkLst>
          </pc:picChg>
          <pc:picChg chg="del">
            <ac:chgData name="Bullinger, Marvin" userId="5b54ce5a-dc89-476f-af33-5abd75d5b1e8" providerId="ADAL" clId="{43B71669-8A80-4333-9349-B258A9296B49}" dt="2024-02-27T16:34:23.127" v="76" actId="478"/>
            <ac:picMkLst>
              <pc:docMk/>
              <pc:sldMasterMk cId="2846167297" sldId="2147483677"/>
              <pc:sldLayoutMk cId="4238673067" sldId="2147483685"/>
              <ac:picMk id="4" creationId="{662A14A8-80B5-8B83-EC0B-C6A352E9F387}"/>
            </ac:picMkLst>
          </pc:picChg>
          <pc:picChg chg="del">
            <ac:chgData name="Bullinger, Marvin" userId="5b54ce5a-dc89-476f-af33-5abd75d5b1e8" providerId="ADAL" clId="{43B71669-8A80-4333-9349-B258A9296B49}" dt="2024-02-27T16:34:25.103" v="77" actId="478"/>
            <ac:picMkLst>
              <pc:docMk/>
              <pc:sldMasterMk cId="2846167297" sldId="2147483677"/>
              <pc:sldLayoutMk cId="4238673067" sldId="2147483685"/>
              <ac:picMk id="5" creationId="{C1D83644-0DA0-2BCA-BB5F-D8FFAA69D95A}"/>
            </ac:picMkLst>
          </pc:picChg>
          <pc:picChg chg="add del mod">
            <ac:chgData name="Bullinger, Marvin" userId="5b54ce5a-dc89-476f-af33-5abd75d5b1e8" providerId="ADAL" clId="{43B71669-8A80-4333-9349-B258A9296B49}" dt="2024-02-27T17:31:57.141" v="7819" actId="478"/>
            <ac:picMkLst>
              <pc:docMk/>
              <pc:sldMasterMk cId="2846167297" sldId="2147483677"/>
              <pc:sldLayoutMk cId="4238673067" sldId="2147483685"/>
              <ac:picMk id="6" creationId="{CE702496-4DB2-555C-2A40-1B3506C123F4}"/>
            </ac:picMkLst>
          </pc:picChg>
        </pc:sldLayoutChg>
        <pc:sldLayoutChg chg="delSp mod">
          <pc:chgData name="Bullinger, Marvin" userId="5b54ce5a-dc89-476f-af33-5abd75d5b1e8" providerId="ADAL" clId="{43B71669-8A80-4333-9349-B258A9296B49}" dt="2024-02-27T17:29:33.830" v="7795" actId="478"/>
          <pc:sldLayoutMkLst>
            <pc:docMk/>
            <pc:sldMasterMk cId="2846167297" sldId="2147483677"/>
            <pc:sldLayoutMk cId="385462658" sldId="2147483692"/>
          </pc:sldLayoutMkLst>
          <pc:spChg chg="del">
            <ac:chgData name="Bullinger, Marvin" userId="5b54ce5a-dc89-476f-af33-5abd75d5b1e8" providerId="ADAL" clId="{43B71669-8A80-4333-9349-B258A9296B49}" dt="2024-02-27T17:29:33.830" v="7795" actId="478"/>
            <ac:spMkLst>
              <pc:docMk/>
              <pc:sldMasterMk cId="2846167297" sldId="2147483677"/>
              <pc:sldLayoutMk cId="385462658" sldId="2147483692"/>
              <ac:spMk id="6" creationId="{5D0B3DBC-BAB8-40E6-86DF-20C2FAA90C0A}"/>
            </ac:spMkLst>
          </pc:spChg>
        </pc:sldLayoutChg>
        <pc:sldLayoutChg chg="delSp mod">
          <pc:chgData name="Bullinger, Marvin" userId="5b54ce5a-dc89-476f-af33-5abd75d5b1e8" providerId="ADAL" clId="{43B71669-8A80-4333-9349-B258A9296B49}" dt="2024-02-27T17:29:37.760" v="7796" actId="478"/>
          <pc:sldLayoutMkLst>
            <pc:docMk/>
            <pc:sldMasterMk cId="2846167297" sldId="2147483677"/>
            <pc:sldLayoutMk cId="3679179703" sldId="2147483693"/>
          </pc:sldLayoutMkLst>
          <pc:spChg chg="del">
            <ac:chgData name="Bullinger, Marvin" userId="5b54ce5a-dc89-476f-af33-5abd75d5b1e8" providerId="ADAL" clId="{43B71669-8A80-4333-9349-B258A9296B49}" dt="2024-02-27T17:29:37.760" v="7796" actId="478"/>
            <ac:spMkLst>
              <pc:docMk/>
              <pc:sldMasterMk cId="2846167297" sldId="2147483677"/>
              <pc:sldLayoutMk cId="3679179703" sldId="2147483693"/>
              <ac:spMk id="3" creationId="{2FE57318-2C45-4664-BCD2-CD12CB9EBDB5}"/>
            </ac:spMkLst>
          </pc:spChg>
        </pc:sldLayoutChg>
        <pc:sldLayoutChg chg="delSp mod">
          <pc:chgData name="Bullinger, Marvin" userId="5b54ce5a-dc89-476f-af33-5abd75d5b1e8" providerId="ADAL" clId="{43B71669-8A80-4333-9349-B258A9296B49}" dt="2024-02-27T17:29:40.495" v="7797" actId="478"/>
          <pc:sldLayoutMkLst>
            <pc:docMk/>
            <pc:sldMasterMk cId="2846167297" sldId="2147483677"/>
            <pc:sldLayoutMk cId="2312973752" sldId="2147483694"/>
          </pc:sldLayoutMkLst>
          <pc:spChg chg="del">
            <ac:chgData name="Bullinger, Marvin" userId="5b54ce5a-dc89-476f-af33-5abd75d5b1e8" providerId="ADAL" clId="{43B71669-8A80-4333-9349-B258A9296B49}" dt="2024-02-27T17:29:40.495" v="7797" actId="478"/>
            <ac:spMkLst>
              <pc:docMk/>
              <pc:sldMasterMk cId="2846167297" sldId="2147483677"/>
              <pc:sldLayoutMk cId="2312973752" sldId="2147483694"/>
              <ac:spMk id="3" creationId="{C4A00780-0760-44B2-92D5-559F75AB99F2}"/>
            </ac:spMkLst>
          </pc:spChg>
        </pc:sldLayoutChg>
        <pc:sldLayoutChg chg="delSp mod">
          <pc:chgData name="Bullinger, Marvin" userId="5b54ce5a-dc89-476f-af33-5abd75d5b1e8" providerId="ADAL" clId="{43B71669-8A80-4333-9349-B258A9296B49}" dt="2024-02-27T17:29:43.831" v="7798" actId="478"/>
          <pc:sldLayoutMkLst>
            <pc:docMk/>
            <pc:sldMasterMk cId="2846167297" sldId="2147483677"/>
            <pc:sldLayoutMk cId="1549983273" sldId="2147483695"/>
          </pc:sldLayoutMkLst>
          <pc:spChg chg="del">
            <ac:chgData name="Bullinger, Marvin" userId="5b54ce5a-dc89-476f-af33-5abd75d5b1e8" providerId="ADAL" clId="{43B71669-8A80-4333-9349-B258A9296B49}" dt="2024-02-27T17:29:43.831" v="7798" actId="478"/>
            <ac:spMkLst>
              <pc:docMk/>
              <pc:sldMasterMk cId="2846167297" sldId="2147483677"/>
              <pc:sldLayoutMk cId="1549983273" sldId="2147483695"/>
              <ac:spMk id="3" creationId="{593CF115-7662-49B0-A625-7F506142CEFF}"/>
            </ac:spMkLst>
          </pc:spChg>
        </pc:sldLayoutChg>
        <pc:sldLayoutChg chg="delSp mod">
          <pc:chgData name="Bullinger, Marvin" userId="5b54ce5a-dc89-476f-af33-5abd75d5b1e8" providerId="ADAL" clId="{43B71669-8A80-4333-9349-B258A9296B49}" dt="2024-02-27T17:29:46.147" v="7799" actId="478"/>
          <pc:sldLayoutMkLst>
            <pc:docMk/>
            <pc:sldMasterMk cId="2846167297" sldId="2147483677"/>
            <pc:sldLayoutMk cId="2770870414" sldId="2147483696"/>
          </pc:sldLayoutMkLst>
          <pc:spChg chg="del">
            <ac:chgData name="Bullinger, Marvin" userId="5b54ce5a-dc89-476f-af33-5abd75d5b1e8" providerId="ADAL" clId="{43B71669-8A80-4333-9349-B258A9296B49}" dt="2024-02-27T17:29:46.147" v="7799" actId="478"/>
            <ac:spMkLst>
              <pc:docMk/>
              <pc:sldMasterMk cId="2846167297" sldId="2147483677"/>
              <pc:sldLayoutMk cId="2770870414" sldId="2147483696"/>
              <ac:spMk id="6" creationId="{EE596158-B78D-4F4C-89E1-6D7E19CBC408}"/>
            </ac:spMkLst>
          </pc:spChg>
        </pc:sldLayoutChg>
        <pc:sldLayoutChg chg="delSp mod">
          <pc:chgData name="Bullinger, Marvin" userId="5b54ce5a-dc89-476f-af33-5abd75d5b1e8" providerId="ADAL" clId="{43B71669-8A80-4333-9349-B258A9296B49}" dt="2024-02-27T17:29:49.801" v="7800" actId="478"/>
          <pc:sldLayoutMkLst>
            <pc:docMk/>
            <pc:sldMasterMk cId="2846167297" sldId="2147483677"/>
            <pc:sldLayoutMk cId="291581444" sldId="2147483697"/>
          </pc:sldLayoutMkLst>
          <pc:spChg chg="del">
            <ac:chgData name="Bullinger, Marvin" userId="5b54ce5a-dc89-476f-af33-5abd75d5b1e8" providerId="ADAL" clId="{43B71669-8A80-4333-9349-B258A9296B49}" dt="2024-02-27T17:29:49.801" v="7800" actId="478"/>
            <ac:spMkLst>
              <pc:docMk/>
              <pc:sldMasterMk cId="2846167297" sldId="2147483677"/>
              <pc:sldLayoutMk cId="291581444" sldId="2147483697"/>
              <ac:spMk id="6" creationId="{34222365-4189-44BA-9FA5-CC059FB64EA0}"/>
            </ac:spMkLst>
          </pc:spChg>
        </pc:sldLayoutChg>
        <pc:sldLayoutChg chg="delSp mod">
          <pc:chgData name="Bullinger, Marvin" userId="5b54ce5a-dc89-476f-af33-5abd75d5b1e8" providerId="ADAL" clId="{43B71669-8A80-4333-9349-B258A9296B49}" dt="2024-02-27T17:29:52.864" v="7801" actId="478"/>
          <pc:sldLayoutMkLst>
            <pc:docMk/>
            <pc:sldMasterMk cId="2846167297" sldId="2147483677"/>
            <pc:sldLayoutMk cId="966153287" sldId="2147483698"/>
          </pc:sldLayoutMkLst>
          <pc:spChg chg="del">
            <ac:chgData name="Bullinger, Marvin" userId="5b54ce5a-dc89-476f-af33-5abd75d5b1e8" providerId="ADAL" clId="{43B71669-8A80-4333-9349-B258A9296B49}" dt="2024-02-27T17:29:52.864" v="7801" actId="478"/>
            <ac:spMkLst>
              <pc:docMk/>
              <pc:sldMasterMk cId="2846167297" sldId="2147483677"/>
              <pc:sldLayoutMk cId="966153287" sldId="2147483698"/>
              <ac:spMk id="6" creationId="{3F2CC1FD-2F5C-4FCC-80E3-8348CD431DB8}"/>
            </ac:spMkLst>
          </pc:spChg>
        </pc:sldLayoutChg>
        <pc:sldLayoutChg chg="delSp mod">
          <pc:chgData name="Bullinger, Marvin" userId="5b54ce5a-dc89-476f-af33-5abd75d5b1e8" providerId="ADAL" clId="{43B71669-8A80-4333-9349-B258A9296B49}" dt="2024-02-27T17:29:56.670" v="7802" actId="478"/>
          <pc:sldLayoutMkLst>
            <pc:docMk/>
            <pc:sldMasterMk cId="2846167297" sldId="2147483677"/>
            <pc:sldLayoutMk cId="456637673" sldId="2147483699"/>
          </pc:sldLayoutMkLst>
          <pc:spChg chg="del">
            <ac:chgData name="Bullinger, Marvin" userId="5b54ce5a-dc89-476f-af33-5abd75d5b1e8" providerId="ADAL" clId="{43B71669-8A80-4333-9349-B258A9296B49}" dt="2024-02-27T17:29:56.670" v="7802" actId="478"/>
            <ac:spMkLst>
              <pc:docMk/>
              <pc:sldMasterMk cId="2846167297" sldId="2147483677"/>
              <pc:sldLayoutMk cId="456637673" sldId="2147483699"/>
              <ac:spMk id="6" creationId="{266776EC-51E2-43F6-9691-3279F084B0C8}"/>
            </ac:spMkLst>
          </pc:spChg>
        </pc:sldLayoutChg>
        <pc:sldLayoutChg chg="delSp mod">
          <pc:chgData name="Bullinger, Marvin" userId="5b54ce5a-dc89-476f-af33-5abd75d5b1e8" providerId="ADAL" clId="{43B71669-8A80-4333-9349-B258A9296B49}" dt="2024-02-27T17:30:02.180" v="7803" actId="478"/>
          <pc:sldLayoutMkLst>
            <pc:docMk/>
            <pc:sldMasterMk cId="2846167297" sldId="2147483677"/>
            <pc:sldLayoutMk cId="489594367" sldId="2147483700"/>
          </pc:sldLayoutMkLst>
          <pc:spChg chg="del">
            <ac:chgData name="Bullinger, Marvin" userId="5b54ce5a-dc89-476f-af33-5abd75d5b1e8" providerId="ADAL" clId="{43B71669-8A80-4333-9349-B258A9296B49}" dt="2024-02-27T17:30:02.180" v="7803" actId="478"/>
            <ac:spMkLst>
              <pc:docMk/>
              <pc:sldMasterMk cId="2846167297" sldId="2147483677"/>
              <pc:sldLayoutMk cId="489594367" sldId="2147483700"/>
              <ac:spMk id="3" creationId="{A4061940-C29E-44C5-B711-921E5D135DD6}"/>
            </ac:spMkLst>
          </pc:spChg>
        </pc:sldLayoutChg>
        <pc:sldLayoutChg chg="addSp delSp modSp mod">
          <pc:chgData name="Bullinger, Marvin" userId="5b54ce5a-dc89-476f-af33-5abd75d5b1e8" providerId="ADAL" clId="{43B71669-8A80-4333-9349-B258A9296B49}" dt="2024-02-27T16:37:47.538" v="135" actId="1076"/>
          <pc:sldLayoutMkLst>
            <pc:docMk/>
            <pc:sldMasterMk cId="2846167297" sldId="2147483677"/>
            <pc:sldLayoutMk cId="816259686" sldId="2147483701"/>
          </pc:sldLayoutMkLst>
          <pc:picChg chg="add mod">
            <ac:chgData name="Bullinger, Marvin" userId="5b54ce5a-dc89-476f-af33-5abd75d5b1e8" providerId="ADAL" clId="{43B71669-8A80-4333-9349-B258A9296B49}" dt="2024-02-27T16:37:40.993" v="134" actId="1076"/>
            <ac:picMkLst>
              <pc:docMk/>
              <pc:sldMasterMk cId="2846167297" sldId="2147483677"/>
              <pc:sldLayoutMk cId="816259686" sldId="2147483701"/>
              <ac:picMk id="2" creationId="{66C34D74-1E41-CBA5-F808-7D17470983CE}"/>
            </ac:picMkLst>
          </pc:picChg>
          <pc:picChg chg="mod">
            <ac:chgData name="Bullinger, Marvin" userId="5b54ce5a-dc89-476f-af33-5abd75d5b1e8" providerId="ADAL" clId="{43B71669-8A80-4333-9349-B258A9296B49}" dt="2024-02-27T16:36:34.491" v="116" actId="1076"/>
            <ac:picMkLst>
              <pc:docMk/>
              <pc:sldMasterMk cId="2846167297" sldId="2147483677"/>
              <pc:sldLayoutMk cId="816259686" sldId="2147483701"/>
              <ac:picMk id="3" creationId="{3677DBBD-8901-44E7-BC97-5FAE134425EB}"/>
            </ac:picMkLst>
          </pc:picChg>
          <pc:picChg chg="add mod">
            <ac:chgData name="Bullinger, Marvin" userId="5b54ce5a-dc89-476f-af33-5abd75d5b1e8" providerId="ADAL" clId="{43B71669-8A80-4333-9349-B258A9296B49}" dt="2024-02-27T16:37:27.161" v="132" actId="1076"/>
            <ac:picMkLst>
              <pc:docMk/>
              <pc:sldMasterMk cId="2846167297" sldId="2147483677"/>
              <pc:sldLayoutMk cId="816259686" sldId="2147483701"/>
              <ac:picMk id="4" creationId="{203C618B-B3AB-06A8-EF37-E3E6FCF163F4}"/>
            </ac:picMkLst>
          </pc:picChg>
          <pc:picChg chg="mod">
            <ac:chgData name="Bullinger, Marvin" userId="5b54ce5a-dc89-476f-af33-5abd75d5b1e8" providerId="ADAL" clId="{43B71669-8A80-4333-9349-B258A9296B49}" dt="2024-02-27T16:37:33.618" v="133" actId="1076"/>
            <ac:picMkLst>
              <pc:docMk/>
              <pc:sldMasterMk cId="2846167297" sldId="2147483677"/>
              <pc:sldLayoutMk cId="816259686" sldId="2147483701"/>
              <ac:picMk id="8" creationId="{24CC3BC4-0DE3-F617-D31A-89BB79089973}"/>
            </ac:picMkLst>
          </pc:picChg>
          <pc:picChg chg="mod">
            <ac:chgData name="Bullinger, Marvin" userId="5b54ce5a-dc89-476f-af33-5abd75d5b1e8" providerId="ADAL" clId="{43B71669-8A80-4333-9349-B258A9296B49}" dt="2024-02-27T16:37:47.538" v="135" actId="1076"/>
            <ac:picMkLst>
              <pc:docMk/>
              <pc:sldMasterMk cId="2846167297" sldId="2147483677"/>
              <pc:sldLayoutMk cId="816259686" sldId="2147483701"/>
              <ac:picMk id="77" creationId="{D3DB975A-CF9E-4989-8391-5B4E38D67ADB}"/>
            </ac:picMkLst>
          </pc:picChg>
          <pc:picChg chg="add del mod">
            <ac:chgData name="Bullinger, Marvin" userId="5b54ce5a-dc89-476f-af33-5abd75d5b1e8" providerId="ADAL" clId="{43B71669-8A80-4333-9349-B258A9296B49}" dt="2024-02-27T16:36:33.285" v="115" actId="14100"/>
            <ac:picMkLst>
              <pc:docMk/>
              <pc:sldMasterMk cId="2846167297" sldId="2147483677"/>
              <pc:sldLayoutMk cId="816259686" sldId="2147483701"/>
              <ac:picMk id="1026" creationId="{7218B571-6A34-5FDD-EA94-5C501124407B}"/>
            </ac:picMkLst>
          </pc:picChg>
          <pc:picChg chg="add del mod">
            <ac:chgData name="Bullinger, Marvin" userId="5b54ce5a-dc89-476f-af33-5abd75d5b1e8" providerId="ADAL" clId="{43B71669-8A80-4333-9349-B258A9296B49}" dt="2024-02-27T16:36:30.589" v="109" actId="1076"/>
            <ac:picMkLst>
              <pc:docMk/>
              <pc:sldMasterMk cId="2846167297" sldId="2147483677"/>
              <pc:sldLayoutMk cId="816259686" sldId="2147483701"/>
              <ac:picMk id="1028" creationId="{C450FA97-7687-51E1-7C48-C8D56CD6F793}"/>
            </ac:picMkLst>
          </pc:picChg>
        </pc:sldLayoutChg>
        <pc:sldLayoutChg chg="modSp mod">
          <pc:chgData name="Bullinger, Marvin" userId="5b54ce5a-dc89-476f-af33-5abd75d5b1e8" providerId="ADAL" clId="{43B71669-8A80-4333-9349-B258A9296B49}" dt="2024-02-27T16:33:02.033" v="57" actId="20577"/>
          <pc:sldLayoutMkLst>
            <pc:docMk/>
            <pc:sldMasterMk cId="2846167297" sldId="2147483677"/>
            <pc:sldLayoutMk cId="32916434" sldId="2147483703"/>
          </pc:sldLayoutMkLst>
          <pc:spChg chg="mod">
            <ac:chgData name="Bullinger, Marvin" userId="5b54ce5a-dc89-476f-af33-5abd75d5b1e8" providerId="ADAL" clId="{43B71669-8A80-4333-9349-B258A9296B49}" dt="2024-02-27T16:32:52.822" v="51" actId="20577"/>
            <ac:spMkLst>
              <pc:docMk/>
              <pc:sldMasterMk cId="2846167297" sldId="2147483677"/>
              <pc:sldLayoutMk cId="32916434" sldId="2147483703"/>
              <ac:spMk id="33" creationId="{552BBB7B-042B-4EB3-835B-819E155C7D34}"/>
            </ac:spMkLst>
          </pc:spChg>
          <pc:spChg chg="mod">
            <ac:chgData name="Bullinger, Marvin" userId="5b54ce5a-dc89-476f-af33-5abd75d5b1e8" providerId="ADAL" clId="{43B71669-8A80-4333-9349-B258A9296B49}" dt="2024-02-27T16:32:56.070" v="53" actId="20577"/>
            <ac:spMkLst>
              <pc:docMk/>
              <pc:sldMasterMk cId="2846167297" sldId="2147483677"/>
              <pc:sldLayoutMk cId="32916434" sldId="2147483703"/>
              <ac:spMk id="43" creationId="{794860D3-268B-4144-8AB0-52365C4C9C25}"/>
            </ac:spMkLst>
          </pc:spChg>
          <pc:spChg chg="mod">
            <ac:chgData name="Bullinger, Marvin" userId="5b54ce5a-dc89-476f-af33-5abd75d5b1e8" providerId="ADAL" clId="{43B71669-8A80-4333-9349-B258A9296B49}" dt="2024-02-27T16:32:57.400" v="54" actId="20577"/>
            <ac:spMkLst>
              <pc:docMk/>
              <pc:sldMasterMk cId="2846167297" sldId="2147483677"/>
              <pc:sldLayoutMk cId="32916434" sldId="2147483703"/>
              <ac:spMk id="45" creationId="{7227C327-0142-4EA6-AEFB-173EFCBAE0C6}"/>
            </ac:spMkLst>
          </pc:spChg>
          <pc:spChg chg="mod">
            <ac:chgData name="Bullinger, Marvin" userId="5b54ce5a-dc89-476f-af33-5abd75d5b1e8" providerId="ADAL" clId="{43B71669-8A80-4333-9349-B258A9296B49}" dt="2024-02-27T16:32:59.177" v="55" actId="20577"/>
            <ac:spMkLst>
              <pc:docMk/>
              <pc:sldMasterMk cId="2846167297" sldId="2147483677"/>
              <pc:sldLayoutMk cId="32916434" sldId="2147483703"/>
              <ac:spMk id="46" creationId="{C5438030-4C98-4CAF-B3C0-CE976BED34CC}"/>
            </ac:spMkLst>
          </pc:spChg>
          <pc:spChg chg="mod">
            <ac:chgData name="Bullinger, Marvin" userId="5b54ce5a-dc89-476f-af33-5abd75d5b1e8" providerId="ADAL" clId="{43B71669-8A80-4333-9349-B258A9296B49}" dt="2024-02-27T16:33:01.089" v="56" actId="20577"/>
            <ac:spMkLst>
              <pc:docMk/>
              <pc:sldMasterMk cId="2846167297" sldId="2147483677"/>
              <pc:sldLayoutMk cId="32916434" sldId="2147483703"/>
              <ac:spMk id="47" creationId="{16E2D676-DB17-4B9A-AA0D-A3F245644FB6}"/>
            </ac:spMkLst>
          </pc:spChg>
          <pc:spChg chg="mod">
            <ac:chgData name="Bullinger, Marvin" userId="5b54ce5a-dc89-476f-af33-5abd75d5b1e8" providerId="ADAL" clId="{43B71669-8A80-4333-9349-B258A9296B49}" dt="2024-02-27T16:33:02.033" v="57" actId="20577"/>
            <ac:spMkLst>
              <pc:docMk/>
              <pc:sldMasterMk cId="2846167297" sldId="2147483677"/>
              <pc:sldLayoutMk cId="32916434" sldId="2147483703"/>
              <ac:spMk id="48" creationId="{79FCABAB-1D64-41D4-9EB2-F6F60A885028}"/>
            </ac:spMkLst>
          </pc:spChg>
          <pc:spChg chg="mod">
            <ac:chgData name="Bullinger, Marvin" userId="5b54ce5a-dc89-476f-af33-5abd75d5b1e8" providerId="ADAL" clId="{43B71669-8A80-4333-9349-B258A9296B49}" dt="2024-02-27T16:32:54.043" v="52" actId="20577"/>
            <ac:spMkLst>
              <pc:docMk/>
              <pc:sldMasterMk cId="2846167297" sldId="2147483677"/>
              <pc:sldLayoutMk cId="32916434" sldId="2147483703"/>
              <ac:spMk id="49" creationId="{BBCB46D3-00EC-450B-A636-FB52817DBCD1}"/>
            </ac:spMkLst>
          </pc:spChg>
        </pc:sldLayoutChg>
        <pc:sldLayoutChg chg="modSp mod">
          <pc:chgData name="Bullinger, Marvin" userId="5b54ce5a-dc89-476f-af33-5abd75d5b1e8" providerId="ADAL" clId="{43B71669-8A80-4333-9349-B258A9296B49}" dt="2024-02-27T16:33:19.715" v="64" actId="20577"/>
          <pc:sldLayoutMkLst>
            <pc:docMk/>
            <pc:sldMasterMk cId="2846167297" sldId="2147483677"/>
            <pc:sldLayoutMk cId="153056362" sldId="2147483706"/>
          </pc:sldLayoutMkLst>
          <pc:spChg chg="mod">
            <ac:chgData name="Bullinger, Marvin" userId="5b54ce5a-dc89-476f-af33-5abd75d5b1e8" providerId="ADAL" clId="{43B71669-8A80-4333-9349-B258A9296B49}" dt="2024-02-27T16:33:10.513" v="58" actId="20577"/>
            <ac:spMkLst>
              <pc:docMk/>
              <pc:sldMasterMk cId="2846167297" sldId="2147483677"/>
              <pc:sldLayoutMk cId="153056362" sldId="2147483706"/>
              <ac:spMk id="43" creationId="{480C8321-1D72-4546-ACBC-6E0787AC9A98}"/>
            </ac:spMkLst>
          </pc:spChg>
          <pc:spChg chg="mod">
            <ac:chgData name="Bullinger, Marvin" userId="5b54ce5a-dc89-476f-af33-5abd75d5b1e8" providerId="ADAL" clId="{43B71669-8A80-4333-9349-B258A9296B49}" dt="2024-02-27T16:33:13.282" v="60" actId="20577"/>
            <ac:spMkLst>
              <pc:docMk/>
              <pc:sldMasterMk cId="2846167297" sldId="2147483677"/>
              <pc:sldLayoutMk cId="153056362" sldId="2147483706"/>
              <ac:spMk id="47" creationId="{F113A3A0-3CB1-4582-BBE4-5170002C0C77}"/>
            </ac:spMkLst>
          </pc:spChg>
          <pc:spChg chg="mod">
            <ac:chgData name="Bullinger, Marvin" userId="5b54ce5a-dc89-476f-af33-5abd75d5b1e8" providerId="ADAL" clId="{43B71669-8A80-4333-9349-B258A9296B49}" dt="2024-02-27T16:33:14.888" v="61" actId="20577"/>
            <ac:spMkLst>
              <pc:docMk/>
              <pc:sldMasterMk cId="2846167297" sldId="2147483677"/>
              <pc:sldLayoutMk cId="153056362" sldId="2147483706"/>
              <ac:spMk id="48" creationId="{5E404E45-039F-4BD3-B00C-A7311E52D534}"/>
            </ac:spMkLst>
          </pc:spChg>
          <pc:spChg chg="mod">
            <ac:chgData name="Bullinger, Marvin" userId="5b54ce5a-dc89-476f-af33-5abd75d5b1e8" providerId="ADAL" clId="{43B71669-8A80-4333-9349-B258A9296B49}" dt="2024-02-27T16:33:16.409" v="62" actId="20577"/>
            <ac:spMkLst>
              <pc:docMk/>
              <pc:sldMasterMk cId="2846167297" sldId="2147483677"/>
              <pc:sldLayoutMk cId="153056362" sldId="2147483706"/>
              <ac:spMk id="49" creationId="{E15F7779-9874-43F8-9135-D5BE311D3A98}"/>
            </ac:spMkLst>
          </pc:spChg>
          <pc:spChg chg="mod">
            <ac:chgData name="Bullinger, Marvin" userId="5b54ce5a-dc89-476f-af33-5abd75d5b1e8" providerId="ADAL" clId="{43B71669-8A80-4333-9349-B258A9296B49}" dt="2024-02-27T16:33:18.509" v="63" actId="20577"/>
            <ac:spMkLst>
              <pc:docMk/>
              <pc:sldMasterMk cId="2846167297" sldId="2147483677"/>
              <pc:sldLayoutMk cId="153056362" sldId="2147483706"/>
              <ac:spMk id="50" creationId="{5F9C8197-1276-4D10-B7B9-75BFFF1BA0CB}"/>
            </ac:spMkLst>
          </pc:spChg>
          <pc:spChg chg="mod">
            <ac:chgData name="Bullinger, Marvin" userId="5b54ce5a-dc89-476f-af33-5abd75d5b1e8" providerId="ADAL" clId="{43B71669-8A80-4333-9349-B258A9296B49}" dt="2024-02-27T16:33:19.715" v="64" actId="20577"/>
            <ac:spMkLst>
              <pc:docMk/>
              <pc:sldMasterMk cId="2846167297" sldId="2147483677"/>
              <pc:sldLayoutMk cId="153056362" sldId="2147483706"/>
              <ac:spMk id="51" creationId="{409AAE60-F87F-43DF-9C66-F204272E7FEB}"/>
            </ac:spMkLst>
          </pc:spChg>
          <pc:spChg chg="mod">
            <ac:chgData name="Bullinger, Marvin" userId="5b54ce5a-dc89-476f-af33-5abd75d5b1e8" providerId="ADAL" clId="{43B71669-8A80-4333-9349-B258A9296B49}" dt="2024-02-27T16:33:12.286" v="59" actId="20577"/>
            <ac:spMkLst>
              <pc:docMk/>
              <pc:sldMasterMk cId="2846167297" sldId="2147483677"/>
              <pc:sldLayoutMk cId="153056362" sldId="2147483706"/>
              <ac:spMk id="57" creationId="{EBD248D3-CAEC-4C8E-885B-E957F3B62F6E}"/>
            </ac:spMkLst>
          </pc:spChg>
        </pc:sldLayoutChg>
        <pc:sldLayoutChg chg="delSp mod">
          <pc:chgData name="Bullinger, Marvin" userId="5b54ce5a-dc89-476f-af33-5abd75d5b1e8" providerId="ADAL" clId="{43B71669-8A80-4333-9349-B258A9296B49}" dt="2024-02-27T17:30:18.114" v="7804" actId="478"/>
          <pc:sldLayoutMkLst>
            <pc:docMk/>
            <pc:sldMasterMk cId="2846167297" sldId="2147483677"/>
            <pc:sldLayoutMk cId="1202489794" sldId="2147483707"/>
          </pc:sldLayoutMkLst>
          <pc:spChg chg="del">
            <ac:chgData name="Bullinger, Marvin" userId="5b54ce5a-dc89-476f-af33-5abd75d5b1e8" providerId="ADAL" clId="{43B71669-8A80-4333-9349-B258A9296B49}" dt="2024-02-27T17:30:18.114" v="7804" actId="478"/>
            <ac:spMkLst>
              <pc:docMk/>
              <pc:sldMasterMk cId="2846167297" sldId="2147483677"/>
              <pc:sldLayoutMk cId="1202489794" sldId="2147483707"/>
              <ac:spMk id="4" creationId="{39C8FBC7-DD82-451B-B903-FD4AD711578F}"/>
            </ac:spMkLst>
          </pc:spChg>
        </pc:sldLayoutChg>
      </pc:sldMasterChg>
    </pc:docChg>
  </pc:docChgLst>
  <pc:docChgLst>
    <pc:chgData name="Bullinger, Marvin" userId="5b54ce5a-dc89-476f-af33-5abd75d5b1e8" providerId="ADAL" clId="{1E98F5D7-E289-413D-884E-F642E52B1DF1}"/>
    <pc:docChg chg="undo custSel addSld delSld modSld modMainMaster modSection">
      <pc:chgData name="Bullinger, Marvin" userId="5b54ce5a-dc89-476f-af33-5abd75d5b1e8" providerId="ADAL" clId="{1E98F5D7-E289-413D-884E-F642E52B1DF1}" dt="2024-07-14T12:51:32.540" v="753" actId="478"/>
      <pc:docMkLst>
        <pc:docMk/>
      </pc:docMkLst>
      <pc:sldChg chg="addSp delSp modSp mod">
        <pc:chgData name="Bullinger, Marvin" userId="5b54ce5a-dc89-476f-af33-5abd75d5b1e8" providerId="ADAL" clId="{1E98F5D7-E289-413D-884E-F642E52B1DF1}" dt="2024-07-11T07:43:12.412" v="554" actId="1035"/>
        <pc:sldMkLst>
          <pc:docMk/>
          <pc:sldMk cId="3664439336" sldId="262"/>
        </pc:sldMkLst>
        <pc:spChg chg="add mod">
          <ac:chgData name="Bullinger, Marvin" userId="5b54ce5a-dc89-476f-af33-5abd75d5b1e8" providerId="ADAL" clId="{1E98F5D7-E289-413D-884E-F642E52B1DF1}" dt="2024-07-10T08:54:46.576" v="0" actId="478"/>
          <ac:spMkLst>
            <pc:docMk/>
            <pc:sldMk cId="3664439336" sldId="262"/>
            <ac:spMk id="2" creationId="{E8A230A6-9519-341C-ABC5-66C157607300}"/>
          </ac:spMkLst>
        </pc:spChg>
        <pc:spChg chg="mod">
          <ac:chgData name="Bullinger, Marvin" userId="5b54ce5a-dc89-476f-af33-5abd75d5b1e8" providerId="ADAL" clId="{1E98F5D7-E289-413D-884E-F642E52B1DF1}" dt="2024-07-11T07:33:22.204" v="285" actId="14100"/>
          <ac:spMkLst>
            <pc:docMk/>
            <pc:sldMk cId="3664439336" sldId="262"/>
            <ac:spMk id="3" creationId="{3D5704D4-182D-2081-A931-337F4856B6A2}"/>
          </ac:spMkLst>
        </pc:spChg>
        <pc:spChg chg="mod">
          <ac:chgData name="Bullinger, Marvin" userId="5b54ce5a-dc89-476f-af33-5abd75d5b1e8" providerId="ADAL" clId="{1E98F5D7-E289-413D-884E-F642E52B1DF1}" dt="2024-07-11T07:33:40.863" v="288" actId="552"/>
          <ac:spMkLst>
            <pc:docMk/>
            <pc:sldMk cId="3664439336" sldId="262"/>
            <ac:spMk id="4" creationId="{089CB83A-93F9-438E-BB6E-BC4ECC830B14}"/>
          </ac:spMkLst>
        </pc:spChg>
        <pc:spChg chg="mod">
          <ac:chgData name="Bullinger, Marvin" userId="5b54ce5a-dc89-476f-af33-5abd75d5b1e8" providerId="ADAL" clId="{1E98F5D7-E289-413D-884E-F642E52B1DF1}" dt="2024-07-11T07:33:29.562" v="287" actId="14100"/>
          <ac:spMkLst>
            <pc:docMk/>
            <pc:sldMk cId="3664439336" sldId="262"/>
            <ac:spMk id="8" creationId="{ED4AE48A-C92C-402F-A80C-7319190C2F22}"/>
          </ac:spMkLst>
        </pc:spChg>
        <pc:spChg chg="mod">
          <ac:chgData name="Bullinger, Marvin" userId="5b54ce5a-dc89-476f-af33-5abd75d5b1e8" providerId="ADAL" clId="{1E98F5D7-E289-413D-884E-F642E52B1DF1}" dt="2024-07-11T07:43:12.412" v="554" actId="1035"/>
          <ac:spMkLst>
            <pc:docMk/>
            <pc:sldMk cId="3664439336" sldId="262"/>
            <ac:spMk id="10" creationId="{626D9D8C-9093-4578-9B98-9CD567C49D36}"/>
          </ac:spMkLst>
        </pc:spChg>
        <pc:picChg chg="del">
          <ac:chgData name="Bullinger, Marvin" userId="5b54ce5a-dc89-476f-af33-5abd75d5b1e8" providerId="ADAL" clId="{1E98F5D7-E289-413D-884E-F642E52B1DF1}" dt="2024-07-10T08:54:46.576" v="0" actId="478"/>
          <ac:picMkLst>
            <pc:docMk/>
            <pc:sldMk cId="3664439336" sldId="262"/>
            <ac:picMk id="1026" creationId="{4BD74963-CA1A-7649-354F-731A1C6B228F}"/>
          </ac:picMkLst>
        </pc:picChg>
      </pc:sldChg>
      <pc:sldChg chg="addSp delSp modSp mod delAnim">
        <pc:chgData name="Bullinger, Marvin" userId="5b54ce5a-dc89-476f-af33-5abd75d5b1e8" providerId="ADAL" clId="{1E98F5D7-E289-413D-884E-F642E52B1DF1}" dt="2024-07-14T12:51:32.540" v="753" actId="478"/>
        <pc:sldMkLst>
          <pc:docMk/>
          <pc:sldMk cId="2953579200" sldId="264"/>
        </pc:sldMkLst>
        <pc:spChg chg="del">
          <ac:chgData name="Bullinger, Marvin" userId="5b54ce5a-dc89-476f-af33-5abd75d5b1e8" providerId="ADAL" clId="{1E98F5D7-E289-413D-884E-F642E52B1DF1}" dt="2024-07-14T12:50:11.011" v="741" actId="478"/>
          <ac:spMkLst>
            <pc:docMk/>
            <pc:sldMk cId="2953579200" sldId="264"/>
            <ac:spMk id="3" creationId="{26A838E0-D9A5-FAEE-02E8-9590AB0C65AC}"/>
          </ac:spMkLst>
        </pc:spChg>
        <pc:spChg chg="del mod">
          <ac:chgData name="Bullinger, Marvin" userId="5b54ce5a-dc89-476f-af33-5abd75d5b1e8" providerId="ADAL" clId="{1E98F5D7-E289-413D-884E-F642E52B1DF1}" dt="2024-07-14T12:50:17.095" v="744" actId="478"/>
          <ac:spMkLst>
            <pc:docMk/>
            <pc:sldMk cId="2953579200" sldId="264"/>
            <ac:spMk id="4" creationId="{B8ECF902-B082-4799-A6ED-316F410CB465}"/>
          </ac:spMkLst>
        </pc:spChg>
        <pc:spChg chg="add del">
          <ac:chgData name="Bullinger, Marvin" userId="5b54ce5a-dc89-476f-af33-5abd75d5b1e8" providerId="ADAL" clId="{1E98F5D7-E289-413D-884E-F642E52B1DF1}" dt="2024-07-14T12:51:32.540" v="753" actId="478"/>
          <ac:spMkLst>
            <pc:docMk/>
            <pc:sldMk cId="2953579200" sldId="264"/>
            <ac:spMk id="12" creationId="{A5F7354C-F7F5-8962-FC64-EC2704CD0141}"/>
          </ac:spMkLst>
        </pc:spChg>
        <pc:spChg chg="add del mod">
          <ac:chgData name="Bullinger, Marvin" userId="5b54ce5a-dc89-476f-af33-5abd75d5b1e8" providerId="ADAL" clId="{1E98F5D7-E289-413D-884E-F642E52B1DF1}" dt="2024-07-14T12:50:19.970" v="745" actId="478"/>
          <ac:spMkLst>
            <pc:docMk/>
            <pc:sldMk cId="2953579200" sldId="264"/>
            <ac:spMk id="18" creationId="{99EBA8C4-D9BE-0DD1-EB1B-C86937F05D3F}"/>
          </ac:spMkLst>
        </pc:spChg>
        <pc:spChg chg="del">
          <ac:chgData name="Bullinger, Marvin" userId="5b54ce5a-dc89-476f-af33-5abd75d5b1e8" providerId="ADAL" clId="{1E98F5D7-E289-413D-884E-F642E52B1DF1}" dt="2024-07-14T12:50:14.292" v="742" actId="478"/>
          <ac:spMkLst>
            <pc:docMk/>
            <pc:sldMk cId="2953579200" sldId="264"/>
            <ac:spMk id="2058" creationId="{23B927B3-2A88-6707-3ADE-32E7982D5471}"/>
          </ac:spMkLst>
        </pc:spChg>
        <pc:picChg chg="add del">
          <ac:chgData name="Bullinger, Marvin" userId="5b54ce5a-dc89-476f-af33-5abd75d5b1e8" providerId="ADAL" clId="{1E98F5D7-E289-413D-884E-F642E52B1DF1}" dt="2024-07-14T12:51:32.540" v="753" actId="478"/>
          <ac:picMkLst>
            <pc:docMk/>
            <pc:sldMk cId="2953579200" sldId="264"/>
            <ac:picMk id="5" creationId="{4147C821-FD9A-AFCE-B604-4CE34EAADCBD}"/>
          </ac:picMkLst>
        </pc:picChg>
        <pc:picChg chg="add del">
          <ac:chgData name="Bullinger, Marvin" userId="5b54ce5a-dc89-476f-af33-5abd75d5b1e8" providerId="ADAL" clId="{1E98F5D7-E289-413D-884E-F642E52B1DF1}" dt="2024-07-14T12:51:32.540" v="753" actId="478"/>
          <ac:picMkLst>
            <pc:docMk/>
            <pc:sldMk cId="2953579200" sldId="264"/>
            <ac:picMk id="7" creationId="{078F4BE8-3AFF-F7E5-FB8D-1F19F3DA4F37}"/>
          </ac:picMkLst>
        </pc:picChg>
        <pc:picChg chg="add del">
          <ac:chgData name="Bullinger, Marvin" userId="5b54ce5a-dc89-476f-af33-5abd75d5b1e8" providerId="ADAL" clId="{1E98F5D7-E289-413D-884E-F642E52B1DF1}" dt="2024-07-14T12:51:32.540" v="753" actId="478"/>
          <ac:picMkLst>
            <pc:docMk/>
            <pc:sldMk cId="2953579200" sldId="264"/>
            <ac:picMk id="8" creationId="{F88E1DCD-011C-8CA5-20B2-9AB1BA0CD8AB}"/>
          </ac:picMkLst>
        </pc:picChg>
        <pc:picChg chg="add del">
          <ac:chgData name="Bullinger, Marvin" userId="5b54ce5a-dc89-476f-af33-5abd75d5b1e8" providerId="ADAL" clId="{1E98F5D7-E289-413D-884E-F642E52B1DF1}" dt="2024-07-14T12:51:32.540" v="753" actId="478"/>
          <ac:picMkLst>
            <pc:docMk/>
            <pc:sldMk cId="2953579200" sldId="264"/>
            <ac:picMk id="9" creationId="{B6F4CA09-51D3-44F4-0664-0557C8A706E8}"/>
          </ac:picMkLst>
        </pc:picChg>
        <pc:picChg chg="add del">
          <ac:chgData name="Bullinger, Marvin" userId="5b54ce5a-dc89-476f-af33-5abd75d5b1e8" providerId="ADAL" clId="{1E98F5D7-E289-413D-884E-F642E52B1DF1}" dt="2024-07-14T12:51:32.540" v="753" actId="478"/>
          <ac:picMkLst>
            <pc:docMk/>
            <pc:sldMk cId="2953579200" sldId="264"/>
            <ac:picMk id="10" creationId="{739252CB-0522-5F74-1A2A-19E909DBB8E6}"/>
          </ac:picMkLst>
        </pc:picChg>
        <pc:picChg chg="add del">
          <ac:chgData name="Bullinger, Marvin" userId="5b54ce5a-dc89-476f-af33-5abd75d5b1e8" providerId="ADAL" clId="{1E98F5D7-E289-413D-884E-F642E52B1DF1}" dt="2024-07-14T12:51:32.540" v="753" actId="478"/>
          <ac:picMkLst>
            <pc:docMk/>
            <pc:sldMk cId="2953579200" sldId="264"/>
            <ac:picMk id="11" creationId="{39077DB9-BB4E-323C-1C39-8F761F0F7BCC}"/>
          </ac:picMkLst>
        </pc:picChg>
        <pc:picChg chg="add del">
          <ac:chgData name="Bullinger, Marvin" userId="5b54ce5a-dc89-476f-af33-5abd75d5b1e8" providerId="ADAL" clId="{1E98F5D7-E289-413D-884E-F642E52B1DF1}" dt="2024-07-14T12:51:32.540" v="753" actId="478"/>
          <ac:picMkLst>
            <pc:docMk/>
            <pc:sldMk cId="2953579200" sldId="264"/>
            <ac:picMk id="13" creationId="{BAF5DCC7-5622-FE3F-954C-806D8A2AB639}"/>
          </ac:picMkLst>
        </pc:picChg>
        <pc:picChg chg="add del">
          <ac:chgData name="Bullinger, Marvin" userId="5b54ce5a-dc89-476f-af33-5abd75d5b1e8" providerId="ADAL" clId="{1E98F5D7-E289-413D-884E-F642E52B1DF1}" dt="2024-07-14T12:51:32.540" v="753" actId="478"/>
          <ac:picMkLst>
            <pc:docMk/>
            <pc:sldMk cId="2953579200" sldId="264"/>
            <ac:picMk id="14" creationId="{79EF7E58-2601-31CD-C98F-5FE80B384BF2}"/>
          </ac:picMkLst>
        </pc:picChg>
        <pc:picChg chg="add del">
          <ac:chgData name="Bullinger, Marvin" userId="5b54ce5a-dc89-476f-af33-5abd75d5b1e8" providerId="ADAL" clId="{1E98F5D7-E289-413D-884E-F642E52B1DF1}" dt="2024-07-14T12:51:32.540" v="753" actId="478"/>
          <ac:picMkLst>
            <pc:docMk/>
            <pc:sldMk cId="2953579200" sldId="264"/>
            <ac:picMk id="15" creationId="{EFEEAB6F-6E2B-F669-B792-81A13AB51C47}"/>
          </ac:picMkLst>
        </pc:picChg>
        <pc:picChg chg="add del">
          <ac:chgData name="Bullinger, Marvin" userId="5b54ce5a-dc89-476f-af33-5abd75d5b1e8" providerId="ADAL" clId="{1E98F5D7-E289-413D-884E-F642E52B1DF1}" dt="2024-07-14T12:51:32.540" v="753" actId="478"/>
          <ac:picMkLst>
            <pc:docMk/>
            <pc:sldMk cId="2953579200" sldId="264"/>
            <ac:picMk id="16" creationId="{AFDE819A-AACA-2EFF-400D-74ECFC968A51}"/>
          </ac:picMkLst>
        </pc:picChg>
        <pc:picChg chg="del">
          <ac:chgData name="Bullinger, Marvin" userId="5b54ce5a-dc89-476f-af33-5abd75d5b1e8" providerId="ADAL" clId="{1E98F5D7-E289-413D-884E-F642E52B1DF1}" dt="2024-07-14T12:50:08.858" v="740" actId="478"/>
          <ac:picMkLst>
            <pc:docMk/>
            <pc:sldMk cId="2953579200" sldId="264"/>
            <ac:picMk id="2050" creationId="{6EBCDE0D-35CC-61A7-25B0-B56E1131226B}"/>
          </ac:picMkLst>
        </pc:picChg>
        <pc:picChg chg="add del">
          <ac:chgData name="Bullinger, Marvin" userId="5b54ce5a-dc89-476f-af33-5abd75d5b1e8" providerId="ADAL" clId="{1E98F5D7-E289-413D-884E-F642E52B1DF1}" dt="2024-07-14T12:51:32.540" v="753" actId="478"/>
          <ac:picMkLst>
            <pc:docMk/>
            <pc:sldMk cId="2953579200" sldId="264"/>
            <ac:picMk id="2054" creationId="{ACDC49B2-F01F-14A2-6AF6-258CA598DD35}"/>
          </ac:picMkLst>
        </pc:picChg>
        <pc:picChg chg="add del">
          <ac:chgData name="Bullinger, Marvin" userId="5b54ce5a-dc89-476f-af33-5abd75d5b1e8" providerId="ADAL" clId="{1E98F5D7-E289-413D-884E-F642E52B1DF1}" dt="2024-07-14T12:51:32.540" v="753" actId="478"/>
          <ac:picMkLst>
            <pc:docMk/>
            <pc:sldMk cId="2953579200" sldId="264"/>
            <ac:picMk id="2056" creationId="{33BADD5B-8F77-C513-F384-8801B6447AAF}"/>
          </ac:picMkLst>
        </pc:picChg>
        <pc:picChg chg="add del">
          <ac:chgData name="Bullinger, Marvin" userId="5b54ce5a-dc89-476f-af33-5abd75d5b1e8" providerId="ADAL" clId="{1E98F5D7-E289-413D-884E-F642E52B1DF1}" dt="2024-07-14T12:51:32.540" v="753" actId="478"/>
          <ac:picMkLst>
            <pc:docMk/>
            <pc:sldMk cId="2953579200" sldId="264"/>
            <ac:picMk id="2103" creationId="{878BDCED-FF3D-842D-7053-EA64B7D51E2E}"/>
          </ac:picMkLst>
        </pc:picChg>
        <pc:picChg chg="add del">
          <ac:chgData name="Bullinger, Marvin" userId="5b54ce5a-dc89-476f-af33-5abd75d5b1e8" providerId="ADAL" clId="{1E98F5D7-E289-413D-884E-F642E52B1DF1}" dt="2024-07-14T12:51:32.540" v="753" actId="478"/>
          <ac:picMkLst>
            <pc:docMk/>
            <pc:sldMk cId="2953579200" sldId="264"/>
            <ac:picMk id="2104" creationId="{83BC7A35-A0EB-E902-80A1-1E026E38B2A3}"/>
          </ac:picMkLst>
        </pc:picChg>
        <pc:picChg chg="add del">
          <ac:chgData name="Bullinger, Marvin" userId="5b54ce5a-dc89-476f-af33-5abd75d5b1e8" providerId="ADAL" clId="{1E98F5D7-E289-413D-884E-F642E52B1DF1}" dt="2024-07-14T12:51:32.540" v="753" actId="478"/>
          <ac:picMkLst>
            <pc:docMk/>
            <pc:sldMk cId="2953579200" sldId="264"/>
            <ac:picMk id="2105" creationId="{1E0BC3E8-C16A-0FB8-0DB6-1E48ADE6B996}"/>
          </ac:picMkLst>
        </pc:picChg>
        <pc:picChg chg="add del">
          <ac:chgData name="Bullinger, Marvin" userId="5b54ce5a-dc89-476f-af33-5abd75d5b1e8" providerId="ADAL" clId="{1E98F5D7-E289-413D-884E-F642E52B1DF1}" dt="2024-07-14T12:51:32.540" v="753" actId="478"/>
          <ac:picMkLst>
            <pc:docMk/>
            <pc:sldMk cId="2953579200" sldId="264"/>
            <ac:picMk id="2106" creationId="{5241908A-AF6E-FB59-83C0-BE1BE83B2A9F}"/>
          </ac:picMkLst>
        </pc:picChg>
        <pc:picChg chg="add del">
          <ac:chgData name="Bullinger, Marvin" userId="5b54ce5a-dc89-476f-af33-5abd75d5b1e8" providerId="ADAL" clId="{1E98F5D7-E289-413D-884E-F642E52B1DF1}" dt="2024-07-14T12:51:32.540" v="753" actId="478"/>
          <ac:picMkLst>
            <pc:docMk/>
            <pc:sldMk cId="2953579200" sldId="264"/>
            <ac:picMk id="2108" creationId="{549C5259-2D35-BFD5-A8C5-8E9A90A1E1A2}"/>
          </ac:picMkLst>
        </pc:picChg>
        <pc:picChg chg="add del">
          <ac:chgData name="Bullinger, Marvin" userId="5b54ce5a-dc89-476f-af33-5abd75d5b1e8" providerId="ADAL" clId="{1E98F5D7-E289-413D-884E-F642E52B1DF1}" dt="2024-07-14T12:51:32.540" v="753" actId="478"/>
          <ac:picMkLst>
            <pc:docMk/>
            <pc:sldMk cId="2953579200" sldId="264"/>
            <ac:picMk id="2109" creationId="{FCE6AF94-BB67-8173-0F77-D01D5E3DFFF5}"/>
          </ac:picMkLst>
        </pc:picChg>
        <pc:picChg chg="add del">
          <ac:chgData name="Bullinger, Marvin" userId="5b54ce5a-dc89-476f-af33-5abd75d5b1e8" providerId="ADAL" clId="{1E98F5D7-E289-413D-884E-F642E52B1DF1}" dt="2024-07-14T12:51:32.540" v="753" actId="478"/>
          <ac:picMkLst>
            <pc:docMk/>
            <pc:sldMk cId="2953579200" sldId="264"/>
            <ac:picMk id="2111" creationId="{AB3321E7-2554-2850-87D1-CAB63307C0F6}"/>
          </ac:picMkLst>
        </pc:picChg>
        <pc:picChg chg="add del">
          <ac:chgData name="Bullinger, Marvin" userId="5b54ce5a-dc89-476f-af33-5abd75d5b1e8" providerId="ADAL" clId="{1E98F5D7-E289-413D-884E-F642E52B1DF1}" dt="2024-07-14T12:51:32.540" v="753" actId="478"/>
          <ac:picMkLst>
            <pc:docMk/>
            <pc:sldMk cId="2953579200" sldId="264"/>
            <ac:picMk id="2112" creationId="{E28C6011-9AA4-6592-109C-92CDE1DAE469}"/>
          </ac:picMkLst>
        </pc:picChg>
        <pc:picChg chg="add del">
          <ac:chgData name="Bullinger, Marvin" userId="5b54ce5a-dc89-476f-af33-5abd75d5b1e8" providerId="ADAL" clId="{1E98F5D7-E289-413D-884E-F642E52B1DF1}" dt="2024-07-14T12:51:32.540" v="753" actId="478"/>
          <ac:picMkLst>
            <pc:docMk/>
            <pc:sldMk cId="2953579200" sldId="264"/>
            <ac:picMk id="2114" creationId="{66E1EB04-0791-A671-DC8B-2C1DAC494ED2}"/>
          </ac:picMkLst>
        </pc:picChg>
        <pc:picChg chg="add del">
          <ac:chgData name="Bullinger, Marvin" userId="5b54ce5a-dc89-476f-af33-5abd75d5b1e8" providerId="ADAL" clId="{1E98F5D7-E289-413D-884E-F642E52B1DF1}" dt="2024-07-14T12:51:32.540" v="753" actId="478"/>
          <ac:picMkLst>
            <pc:docMk/>
            <pc:sldMk cId="2953579200" sldId="264"/>
            <ac:picMk id="2115" creationId="{4FF8037C-A273-EDCA-B251-9E5169FE7C89}"/>
          </ac:picMkLst>
        </pc:picChg>
        <pc:picChg chg="add del">
          <ac:chgData name="Bullinger, Marvin" userId="5b54ce5a-dc89-476f-af33-5abd75d5b1e8" providerId="ADAL" clId="{1E98F5D7-E289-413D-884E-F642E52B1DF1}" dt="2024-07-14T12:51:32.540" v="753" actId="478"/>
          <ac:picMkLst>
            <pc:docMk/>
            <pc:sldMk cId="2953579200" sldId="264"/>
            <ac:picMk id="2117" creationId="{18DB4949-6321-498A-7FD7-DC8C6A62E136}"/>
          </ac:picMkLst>
        </pc:picChg>
        <pc:picChg chg="add del">
          <ac:chgData name="Bullinger, Marvin" userId="5b54ce5a-dc89-476f-af33-5abd75d5b1e8" providerId="ADAL" clId="{1E98F5D7-E289-413D-884E-F642E52B1DF1}" dt="2024-07-14T12:51:32.540" v="753" actId="478"/>
          <ac:picMkLst>
            <pc:docMk/>
            <pc:sldMk cId="2953579200" sldId="264"/>
            <ac:picMk id="2118" creationId="{9343E162-ADA4-0B6E-5D19-C763D7ED1B68}"/>
          </ac:picMkLst>
        </pc:picChg>
        <pc:picChg chg="add del">
          <ac:chgData name="Bullinger, Marvin" userId="5b54ce5a-dc89-476f-af33-5abd75d5b1e8" providerId="ADAL" clId="{1E98F5D7-E289-413D-884E-F642E52B1DF1}" dt="2024-07-14T12:51:32.540" v="753" actId="478"/>
          <ac:picMkLst>
            <pc:docMk/>
            <pc:sldMk cId="2953579200" sldId="264"/>
            <ac:picMk id="2121" creationId="{4CB5BCD2-6B26-5D54-CA1D-7501DAA24514}"/>
          </ac:picMkLst>
        </pc:picChg>
        <pc:picChg chg="add del">
          <ac:chgData name="Bullinger, Marvin" userId="5b54ce5a-dc89-476f-af33-5abd75d5b1e8" providerId="ADAL" clId="{1E98F5D7-E289-413D-884E-F642E52B1DF1}" dt="2024-07-14T12:51:32.540" v="753" actId="478"/>
          <ac:picMkLst>
            <pc:docMk/>
            <pc:sldMk cId="2953579200" sldId="264"/>
            <ac:picMk id="2122" creationId="{96004239-B74B-6A0E-CD16-1EF52B80E509}"/>
          </ac:picMkLst>
        </pc:picChg>
        <pc:picChg chg="add del">
          <ac:chgData name="Bullinger, Marvin" userId="5b54ce5a-dc89-476f-af33-5abd75d5b1e8" providerId="ADAL" clId="{1E98F5D7-E289-413D-884E-F642E52B1DF1}" dt="2024-07-14T12:51:32.540" v="753" actId="478"/>
          <ac:picMkLst>
            <pc:docMk/>
            <pc:sldMk cId="2953579200" sldId="264"/>
            <ac:picMk id="2124" creationId="{0903C7F3-5901-5512-2F4F-3EBBD34128F7}"/>
          </ac:picMkLst>
        </pc:picChg>
        <pc:picChg chg="add del">
          <ac:chgData name="Bullinger, Marvin" userId="5b54ce5a-dc89-476f-af33-5abd75d5b1e8" providerId="ADAL" clId="{1E98F5D7-E289-413D-884E-F642E52B1DF1}" dt="2024-07-14T12:51:32.540" v="753" actId="478"/>
          <ac:picMkLst>
            <pc:docMk/>
            <pc:sldMk cId="2953579200" sldId="264"/>
            <ac:picMk id="2125" creationId="{499DB44B-D14A-758F-869D-34D9A58C380F}"/>
          </ac:picMkLst>
        </pc:picChg>
        <pc:picChg chg="add del">
          <ac:chgData name="Bullinger, Marvin" userId="5b54ce5a-dc89-476f-af33-5abd75d5b1e8" providerId="ADAL" clId="{1E98F5D7-E289-413D-884E-F642E52B1DF1}" dt="2024-07-14T12:51:32.540" v="753" actId="478"/>
          <ac:picMkLst>
            <pc:docMk/>
            <pc:sldMk cId="2953579200" sldId="264"/>
            <ac:picMk id="2127" creationId="{B2ED9DD4-5062-8AA7-5A2C-9C7C7DF3809E}"/>
          </ac:picMkLst>
        </pc:picChg>
        <pc:picChg chg="add del">
          <ac:chgData name="Bullinger, Marvin" userId="5b54ce5a-dc89-476f-af33-5abd75d5b1e8" providerId="ADAL" clId="{1E98F5D7-E289-413D-884E-F642E52B1DF1}" dt="2024-07-14T12:51:32.540" v="753" actId="478"/>
          <ac:picMkLst>
            <pc:docMk/>
            <pc:sldMk cId="2953579200" sldId="264"/>
            <ac:picMk id="2128" creationId="{F5EB56FD-A70F-A483-7B35-3701F4D300E4}"/>
          </ac:picMkLst>
        </pc:picChg>
        <pc:picChg chg="add del">
          <ac:chgData name="Bullinger, Marvin" userId="5b54ce5a-dc89-476f-af33-5abd75d5b1e8" providerId="ADAL" clId="{1E98F5D7-E289-413D-884E-F642E52B1DF1}" dt="2024-07-14T12:51:32.540" v="753" actId="478"/>
          <ac:picMkLst>
            <pc:docMk/>
            <pc:sldMk cId="2953579200" sldId="264"/>
            <ac:picMk id="2130" creationId="{87343DEC-FBBF-8522-BAF8-17722D60371E}"/>
          </ac:picMkLst>
        </pc:picChg>
        <pc:picChg chg="add del">
          <ac:chgData name="Bullinger, Marvin" userId="5b54ce5a-dc89-476f-af33-5abd75d5b1e8" providerId="ADAL" clId="{1E98F5D7-E289-413D-884E-F642E52B1DF1}" dt="2024-07-14T12:51:32.540" v="753" actId="478"/>
          <ac:picMkLst>
            <pc:docMk/>
            <pc:sldMk cId="2953579200" sldId="264"/>
            <ac:picMk id="2131" creationId="{27E7CB20-1A88-1DFB-2F35-D5851B240A64}"/>
          </ac:picMkLst>
        </pc:picChg>
        <pc:picChg chg="add del">
          <ac:chgData name="Bullinger, Marvin" userId="5b54ce5a-dc89-476f-af33-5abd75d5b1e8" providerId="ADAL" clId="{1E98F5D7-E289-413D-884E-F642E52B1DF1}" dt="2024-07-14T12:51:32.540" v="753" actId="478"/>
          <ac:picMkLst>
            <pc:docMk/>
            <pc:sldMk cId="2953579200" sldId="264"/>
            <ac:picMk id="2133" creationId="{8575E61D-A710-3DB0-FE8F-CBC1094C37AD}"/>
          </ac:picMkLst>
        </pc:picChg>
        <pc:picChg chg="add del">
          <ac:chgData name="Bullinger, Marvin" userId="5b54ce5a-dc89-476f-af33-5abd75d5b1e8" providerId="ADAL" clId="{1E98F5D7-E289-413D-884E-F642E52B1DF1}" dt="2024-07-14T12:51:32.540" v="753" actId="478"/>
          <ac:picMkLst>
            <pc:docMk/>
            <pc:sldMk cId="2953579200" sldId="264"/>
            <ac:picMk id="2134" creationId="{F52D11B1-1E59-D4A6-16B1-EFC784E93F37}"/>
          </ac:picMkLst>
        </pc:picChg>
        <pc:picChg chg="add del">
          <ac:chgData name="Bullinger, Marvin" userId="5b54ce5a-dc89-476f-af33-5abd75d5b1e8" providerId="ADAL" clId="{1E98F5D7-E289-413D-884E-F642E52B1DF1}" dt="2024-07-14T12:51:32.540" v="753" actId="478"/>
          <ac:picMkLst>
            <pc:docMk/>
            <pc:sldMk cId="2953579200" sldId="264"/>
            <ac:picMk id="2136" creationId="{F4A99DB8-D0BF-EA73-3373-EB4081248602}"/>
          </ac:picMkLst>
        </pc:picChg>
        <pc:picChg chg="add del">
          <ac:chgData name="Bullinger, Marvin" userId="5b54ce5a-dc89-476f-af33-5abd75d5b1e8" providerId="ADAL" clId="{1E98F5D7-E289-413D-884E-F642E52B1DF1}" dt="2024-07-14T12:51:32.540" v="753" actId="478"/>
          <ac:picMkLst>
            <pc:docMk/>
            <pc:sldMk cId="2953579200" sldId="264"/>
            <ac:picMk id="2137" creationId="{29F46041-F405-55C5-2534-7C33386A5E41}"/>
          </ac:picMkLst>
        </pc:picChg>
        <pc:cxnChg chg="add del">
          <ac:chgData name="Bullinger, Marvin" userId="5b54ce5a-dc89-476f-af33-5abd75d5b1e8" providerId="ADAL" clId="{1E98F5D7-E289-413D-884E-F642E52B1DF1}" dt="2024-07-14T12:51:32.540" v="753" actId="478"/>
          <ac:cxnSpMkLst>
            <pc:docMk/>
            <pc:sldMk cId="2953579200" sldId="264"/>
            <ac:cxnSpMk id="2060" creationId="{CB6F9293-ABE7-9C1B-713A-11DCA3E7D4B2}"/>
          </ac:cxnSpMkLst>
        </pc:cxnChg>
        <pc:cxnChg chg="add del">
          <ac:chgData name="Bullinger, Marvin" userId="5b54ce5a-dc89-476f-af33-5abd75d5b1e8" providerId="ADAL" clId="{1E98F5D7-E289-413D-884E-F642E52B1DF1}" dt="2024-07-14T12:51:32.540" v="753" actId="478"/>
          <ac:cxnSpMkLst>
            <pc:docMk/>
            <pc:sldMk cId="2953579200" sldId="264"/>
            <ac:cxnSpMk id="2061" creationId="{AB0D99A1-51CC-4FDC-4F7B-7C62A30515F4}"/>
          </ac:cxnSpMkLst>
        </pc:cxnChg>
        <pc:cxnChg chg="add del">
          <ac:chgData name="Bullinger, Marvin" userId="5b54ce5a-dc89-476f-af33-5abd75d5b1e8" providerId="ADAL" clId="{1E98F5D7-E289-413D-884E-F642E52B1DF1}" dt="2024-07-14T12:51:32.540" v="753" actId="478"/>
          <ac:cxnSpMkLst>
            <pc:docMk/>
            <pc:sldMk cId="2953579200" sldId="264"/>
            <ac:cxnSpMk id="2063" creationId="{BE9FEA0D-78D2-49FB-61AB-42E13A3A655B}"/>
          </ac:cxnSpMkLst>
        </pc:cxnChg>
        <pc:cxnChg chg="add del">
          <ac:chgData name="Bullinger, Marvin" userId="5b54ce5a-dc89-476f-af33-5abd75d5b1e8" providerId="ADAL" clId="{1E98F5D7-E289-413D-884E-F642E52B1DF1}" dt="2024-07-14T12:51:32.540" v="753" actId="478"/>
          <ac:cxnSpMkLst>
            <pc:docMk/>
            <pc:sldMk cId="2953579200" sldId="264"/>
            <ac:cxnSpMk id="2066" creationId="{E21DBDBD-9150-11CA-8341-4E5AACE30DD2}"/>
          </ac:cxnSpMkLst>
        </pc:cxnChg>
        <pc:cxnChg chg="add del">
          <ac:chgData name="Bullinger, Marvin" userId="5b54ce5a-dc89-476f-af33-5abd75d5b1e8" providerId="ADAL" clId="{1E98F5D7-E289-413D-884E-F642E52B1DF1}" dt="2024-07-14T12:51:32.540" v="753" actId="478"/>
          <ac:cxnSpMkLst>
            <pc:docMk/>
            <pc:sldMk cId="2953579200" sldId="264"/>
            <ac:cxnSpMk id="2071" creationId="{87C75D2B-D2FA-8033-4BC1-771760A5B7B2}"/>
          </ac:cxnSpMkLst>
        </pc:cxnChg>
        <pc:cxnChg chg="add del">
          <ac:chgData name="Bullinger, Marvin" userId="5b54ce5a-dc89-476f-af33-5abd75d5b1e8" providerId="ADAL" clId="{1E98F5D7-E289-413D-884E-F642E52B1DF1}" dt="2024-07-14T12:51:32.540" v="753" actId="478"/>
          <ac:cxnSpMkLst>
            <pc:docMk/>
            <pc:sldMk cId="2953579200" sldId="264"/>
            <ac:cxnSpMk id="2073" creationId="{121A4E35-4148-B070-B0F6-43F8827C13EC}"/>
          </ac:cxnSpMkLst>
        </pc:cxnChg>
        <pc:cxnChg chg="add del">
          <ac:chgData name="Bullinger, Marvin" userId="5b54ce5a-dc89-476f-af33-5abd75d5b1e8" providerId="ADAL" clId="{1E98F5D7-E289-413D-884E-F642E52B1DF1}" dt="2024-07-14T12:51:32.540" v="753" actId="478"/>
          <ac:cxnSpMkLst>
            <pc:docMk/>
            <pc:sldMk cId="2953579200" sldId="264"/>
            <ac:cxnSpMk id="2075" creationId="{2744075A-99F9-341F-6CA5-AF81F5C0344C}"/>
          </ac:cxnSpMkLst>
        </pc:cxnChg>
        <pc:cxnChg chg="add del">
          <ac:chgData name="Bullinger, Marvin" userId="5b54ce5a-dc89-476f-af33-5abd75d5b1e8" providerId="ADAL" clId="{1E98F5D7-E289-413D-884E-F642E52B1DF1}" dt="2024-07-14T12:51:32.540" v="753" actId="478"/>
          <ac:cxnSpMkLst>
            <pc:docMk/>
            <pc:sldMk cId="2953579200" sldId="264"/>
            <ac:cxnSpMk id="2077" creationId="{C5564C02-6489-6EA6-993C-D78448970A76}"/>
          </ac:cxnSpMkLst>
        </pc:cxnChg>
        <pc:cxnChg chg="add del">
          <ac:chgData name="Bullinger, Marvin" userId="5b54ce5a-dc89-476f-af33-5abd75d5b1e8" providerId="ADAL" clId="{1E98F5D7-E289-413D-884E-F642E52B1DF1}" dt="2024-07-14T12:51:32.540" v="753" actId="478"/>
          <ac:cxnSpMkLst>
            <pc:docMk/>
            <pc:sldMk cId="2953579200" sldId="264"/>
            <ac:cxnSpMk id="2095" creationId="{276E1261-4796-4A3A-32D9-BB5AE53BFE1E}"/>
          </ac:cxnSpMkLst>
        </pc:cxnChg>
        <pc:cxnChg chg="add del">
          <ac:chgData name="Bullinger, Marvin" userId="5b54ce5a-dc89-476f-af33-5abd75d5b1e8" providerId="ADAL" clId="{1E98F5D7-E289-413D-884E-F642E52B1DF1}" dt="2024-07-14T12:51:32.540" v="753" actId="478"/>
          <ac:cxnSpMkLst>
            <pc:docMk/>
            <pc:sldMk cId="2953579200" sldId="264"/>
            <ac:cxnSpMk id="2097" creationId="{4C1A750C-09A2-2E9D-5E98-80B87820D011}"/>
          </ac:cxnSpMkLst>
        </pc:cxnChg>
        <pc:cxnChg chg="add del">
          <ac:chgData name="Bullinger, Marvin" userId="5b54ce5a-dc89-476f-af33-5abd75d5b1e8" providerId="ADAL" clId="{1E98F5D7-E289-413D-884E-F642E52B1DF1}" dt="2024-07-14T12:51:32.540" v="753" actId="478"/>
          <ac:cxnSpMkLst>
            <pc:docMk/>
            <pc:sldMk cId="2953579200" sldId="264"/>
            <ac:cxnSpMk id="2099" creationId="{725B2CBC-E04B-92E4-776F-9F827ACC8ABC}"/>
          </ac:cxnSpMkLst>
        </pc:cxnChg>
        <pc:cxnChg chg="add del">
          <ac:chgData name="Bullinger, Marvin" userId="5b54ce5a-dc89-476f-af33-5abd75d5b1e8" providerId="ADAL" clId="{1E98F5D7-E289-413D-884E-F642E52B1DF1}" dt="2024-07-14T12:51:32.540" v="753" actId="478"/>
          <ac:cxnSpMkLst>
            <pc:docMk/>
            <pc:sldMk cId="2953579200" sldId="264"/>
            <ac:cxnSpMk id="2101" creationId="{FD05EE19-CC8C-7EB2-442C-643DF3210A0F}"/>
          </ac:cxnSpMkLst>
        </pc:cxnChg>
      </pc:sldChg>
      <pc:sldChg chg="addSp delSp modSp del mod">
        <pc:chgData name="Bullinger, Marvin" userId="5b54ce5a-dc89-476f-af33-5abd75d5b1e8" providerId="ADAL" clId="{1E98F5D7-E289-413D-884E-F642E52B1DF1}" dt="2024-07-11T07:47:14.645" v="627" actId="47"/>
        <pc:sldMkLst>
          <pc:docMk/>
          <pc:sldMk cId="4287890113" sldId="549"/>
        </pc:sldMkLst>
        <pc:spChg chg="del mod">
          <ac:chgData name="Bullinger, Marvin" userId="5b54ce5a-dc89-476f-af33-5abd75d5b1e8" providerId="ADAL" clId="{1E98F5D7-E289-413D-884E-F642E52B1DF1}" dt="2024-07-11T07:46:35.905" v="618" actId="478"/>
          <ac:spMkLst>
            <pc:docMk/>
            <pc:sldMk cId="4287890113" sldId="549"/>
            <ac:spMk id="3" creationId="{CE71D93B-D96A-3EAF-C2CB-38E6FC0C4D9F}"/>
          </ac:spMkLst>
        </pc:spChg>
        <pc:spChg chg="del">
          <ac:chgData name="Bullinger, Marvin" userId="5b54ce5a-dc89-476f-af33-5abd75d5b1e8" providerId="ADAL" clId="{1E98F5D7-E289-413D-884E-F642E52B1DF1}" dt="2024-07-11T07:46:34.216" v="615" actId="478"/>
          <ac:spMkLst>
            <pc:docMk/>
            <pc:sldMk cId="4287890113" sldId="549"/>
            <ac:spMk id="4" creationId="{A3AD3FEB-B147-77C5-EDC9-009F8CB68021}"/>
          </ac:spMkLst>
        </pc:spChg>
        <pc:spChg chg="add del mod">
          <ac:chgData name="Bullinger, Marvin" userId="5b54ce5a-dc89-476f-af33-5abd75d5b1e8" providerId="ADAL" clId="{1E98F5D7-E289-413D-884E-F642E52B1DF1}" dt="2024-07-11T07:46:36.581" v="619" actId="478"/>
          <ac:spMkLst>
            <pc:docMk/>
            <pc:sldMk cId="4287890113" sldId="549"/>
            <ac:spMk id="5" creationId="{FC6E5B7F-BBF4-FBF9-7DA8-0446712E9CFC}"/>
          </ac:spMkLst>
        </pc:spChg>
        <pc:graphicFrameChg chg="add mod modGraphic">
          <ac:chgData name="Bullinger, Marvin" userId="5b54ce5a-dc89-476f-af33-5abd75d5b1e8" providerId="ADAL" clId="{1E98F5D7-E289-413D-884E-F642E52B1DF1}" dt="2024-07-11T07:46:56.423" v="623" actId="339"/>
          <ac:graphicFrameMkLst>
            <pc:docMk/>
            <pc:sldMk cId="4287890113" sldId="549"/>
            <ac:graphicFrameMk id="7" creationId="{C5691CF1-D101-6F1F-4D09-F154905F6AAE}"/>
          </ac:graphicFrameMkLst>
        </pc:graphicFrameChg>
        <pc:picChg chg="del">
          <ac:chgData name="Bullinger, Marvin" userId="5b54ce5a-dc89-476f-af33-5abd75d5b1e8" providerId="ADAL" clId="{1E98F5D7-E289-413D-884E-F642E52B1DF1}" dt="2024-07-11T07:46:37.065" v="620" actId="478"/>
          <ac:picMkLst>
            <pc:docMk/>
            <pc:sldMk cId="4287890113" sldId="549"/>
            <ac:picMk id="1028" creationId="{E06BDB35-A5A3-9A8F-E9B9-D9760E758A23}"/>
          </ac:picMkLst>
        </pc:picChg>
      </pc:sldChg>
      <pc:sldChg chg="addSp delSp modSp add del mod">
        <pc:chgData name="Bullinger, Marvin" userId="5b54ce5a-dc89-476f-af33-5abd75d5b1e8" providerId="ADAL" clId="{1E98F5D7-E289-413D-884E-F642E52B1DF1}" dt="2024-07-14T12:51:31.985" v="752" actId="207"/>
        <pc:sldMkLst>
          <pc:docMk/>
          <pc:sldMk cId="326362598" sldId="579"/>
        </pc:sldMkLst>
        <pc:spChg chg="add del mod">
          <ac:chgData name="Bullinger, Marvin" userId="5b54ce5a-dc89-476f-af33-5abd75d5b1e8" providerId="ADAL" clId="{1E98F5D7-E289-413D-884E-F642E52B1DF1}" dt="2024-07-14T12:51:31.985" v="752" actId="207"/>
          <ac:spMkLst>
            <pc:docMk/>
            <pc:sldMk cId="326362598" sldId="579"/>
            <ac:spMk id="798" creationId="{58112DCA-A498-1750-2424-673A1484C860}"/>
          </ac:spMkLst>
        </pc:spChg>
      </pc:sldChg>
      <pc:sldChg chg="addSp delSp modSp mod">
        <pc:chgData name="Bullinger, Marvin" userId="5b54ce5a-dc89-476f-af33-5abd75d5b1e8" providerId="ADAL" clId="{1E98F5D7-E289-413D-884E-F642E52B1DF1}" dt="2024-07-11T07:45:42.037" v="614" actId="20577"/>
        <pc:sldMkLst>
          <pc:docMk/>
          <pc:sldMk cId="1339647628" sldId="586"/>
        </pc:sldMkLst>
        <pc:spChg chg="add mod">
          <ac:chgData name="Bullinger, Marvin" userId="5b54ce5a-dc89-476f-af33-5abd75d5b1e8" providerId="ADAL" clId="{1E98F5D7-E289-413D-884E-F642E52B1DF1}" dt="2024-07-11T07:45:40.026" v="612" actId="20577"/>
          <ac:spMkLst>
            <pc:docMk/>
            <pc:sldMk cId="1339647628" sldId="586"/>
            <ac:spMk id="2" creationId="{C0245877-7D8C-2BC0-B461-E9168470B4BC}"/>
          </ac:spMkLst>
        </pc:spChg>
        <pc:spChg chg="mod">
          <ac:chgData name="Bullinger, Marvin" userId="5b54ce5a-dc89-476f-af33-5abd75d5b1e8" providerId="ADAL" clId="{1E98F5D7-E289-413D-884E-F642E52B1DF1}" dt="2024-07-11T07:44:30.517" v="556" actId="20577"/>
          <ac:spMkLst>
            <pc:docMk/>
            <pc:sldMk cId="1339647628" sldId="586"/>
            <ac:spMk id="765" creationId="{0C567E59-F642-728B-3740-454FE52D6F97}"/>
          </ac:spMkLst>
        </pc:spChg>
        <pc:spChg chg="mod">
          <ac:chgData name="Bullinger, Marvin" userId="5b54ce5a-dc89-476f-af33-5abd75d5b1e8" providerId="ADAL" clId="{1E98F5D7-E289-413D-884E-F642E52B1DF1}" dt="2024-07-11T07:40:03.058" v="433" actId="20577"/>
          <ac:spMkLst>
            <pc:docMk/>
            <pc:sldMk cId="1339647628" sldId="586"/>
            <ac:spMk id="768" creationId="{C145651F-E8FA-63DC-621C-E86F06DF35BE}"/>
          </ac:spMkLst>
        </pc:spChg>
        <pc:spChg chg="mod">
          <ac:chgData name="Bullinger, Marvin" userId="5b54ce5a-dc89-476f-af33-5abd75d5b1e8" providerId="ADAL" clId="{1E98F5D7-E289-413D-884E-F642E52B1DF1}" dt="2024-07-11T07:44:47.756" v="558" actId="20577"/>
          <ac:spMkLst>
            <pc:docMk/>
            <pc:sldMk cId="1339647628" sldId="586"/>
            <ac:spMk id="771" creationId="{99F4D495-5841-A65D-3395-FE2A339F6528}"/>
          </ac:spMkLst>
        </pc:spChg>
        <pc:spChg chg="mod">
          <ac:chgData name="Bullinger, Marvin" userId="5b54ce5a-dc89-476f-af33-5abd75d5b1e8" providerId="ADAL" clId="{1E98F5D7-E289-413D-884E-F642E52B1DF1}" dt="2024-07-11T07:45:42.037" v="614" actId="20577"/>
          <ac:spMkLst>
            <pc:docMk/>
            <pc:sldMk cId="1339647628" sldId="586"/>
            <ac:spMk id="774" creationId="{54BEF6D5-8810-73D5-2DC7-28B1A5B00E67}"/>
          </ac:spMkLst>
        </pc:spChg>
        <pc:spChg chg="mod">
          <ac:chgData name="Bullinger, Marvin" userId="5b54ce5a-dc89-476f-af33-5abd75d5b1e8" providerId="ADAL" clId="{1E98F5D7-E289-413D-884E-F642E52B1DF1}" dt="2024-07-11T07:45:35.848" v="610" actId="20577"/>
          <ac:spMkLst>
            <pc:docMk/>
            <pc:sldMk cId="1339647628" sldId="586"/>
            <ac:spMk id="777" creationId="{E441E86C-B183-EE44-C0A7-00FEDAE6105A}"/>
          </ac:spMkLst>
        </pc:spChg>
        <pc:spChg chg="del mod">
          <ac:chgData name="Bullinger, Marvin" userId="5b54ce5a-dc89-476f-af33-5abd75d5b1e8" providerId="ADAL" clId="{1E98F5D7-E289-413D-884E-F642E52B1DF1}" dt="2024-07-11T07:41:55.802" v="481" actId="478"/>
          <ac:spMkLst>
            <pc:docMk/>
            <pc:sldMk cId="1339647628" sldId="586"/>
            <ac:spMk id="780" creationId="{94F1ED0C-CB5A-C49A-B036-775A72E84E43}"/>
          </ac:spMkLst>
        </pc:spChg>
      </pc:sldChg>
      <pc:sldChg chg="addSp delSp modSp add mod modTransition addAnim delAnim">
        <pc:chgData name="Bullinger, Marvin" userId="5b54ce5a-dc89-476f-af33-5abd75d5b1e8" providerId="ADAL" clId="{1E98F5D7-E289-413D-884E-F642E52B1DF1}" dt="2024-07-14T12:48:30.527" v="737" actId="478"/>
        <pc:sldMkLst>
          <pc:docMk/>
          <pc:sldMk cId="4234233811" sldId="611"/>
        </pc:sldMkLst>
        <pc:graphicFrameChg chg="add del mod modGraphic">
          <ac:chgData name="Bullinger, Marvin" userId="5b54ce5a-dc89-476f-af33-5abd75d5b1e8" providerId="ADAL" clId="{1E98F5D7-E289-413D-884E-F642E52B1DF1}" dt="2024-07-11T08:16:05.745" v="630" actId="478"/>
          <ac:graphicFrameMkLst>
            <pc:docMk/>
            <pc:sldMk cId="4234233811" sldId="611"/>
            <ac:graphicFrameMk id="2" creationId="{B7085163-AE48-9700-1118-D3FB53B6F574}"/>
          </ac:graphicFrameMkLst>
        </pc:graphicFrameChg>
        <pc:graphicFrameChg chg="add del mod modGraphic">
          <ac:chgData name="Bullinger, Marvin" userId="5b54ce5a-dc89-476f-af33-5abd75d5b1e8" providerId="ADAL" clId="{1E98F5D7-E289-413D-884E-F642E52B1DF1}" dt="2024-07-14T12:48:30.527" v="737" actId="478"/>
          <ac:graphicFrameMkLst>
            <pc:docMk/>
            <pc:sldMk cId="4234233811" sldId="611"/>
            <ac:graphicFrameMk id="2" creationId="{EEEC5076-2919-CF08-7ADB-43EAE6F55772}"/>
          </ac:graphicFrameMkLst>
        </pc:graphicFrameChg>
        <pc:graphicFrameChg chg="add mod modGraphic">
          <ac:chgData name="Bullinger, Marvin" userId="5b54ce5a-dc89-476f-af33-5abd75d5b1e8" providerId="ADAL" clId="{1E98F5D7-E289-413D-884E-F642E52B1DF1}" dt="2024-07-11T11:00:51.500" v="721" actId="1076"/>
          <ac:graphicFrameMkLst>
            <pc:docMk/>
            <pc:sldMk cId="4234233811" sldId="611"/>
            <ac:graphicFrameMk id="3" creationId="{0C25933F-4745-B261-5E12-BFE12214E3B8}"/>
          </ac:graphicFrameMkLst>
        </pc:graphicFrameChg>
        <pc:graphicFrameChg chg="del modGraphic">
          <ac:chgData name="Bullinger, Marvin" userId="5b54ce5a-dc89-476f-af33-5abd75d5b1e8" providerId="ADAL" clId="{1E98F5D7-E289-413D-884E-F642E52B1DF1}" dt="2024-07-11T07:47:09.448" v="626" actId="478"/>
          <ac:graphicFrameMkLst>
            <pc:docMk/>
            <pc:sldMk cId="4234233811" sldId="611"/>
            <ac:graphicFrameMk id="7" creationId="{C5691CF1-D101-6F1F-4D09-F154905F6AAE}"/>
          </ac:graphicFrameMkLst>
        </pc:graphicFrameChg>
      </pc:sldChg>
      <pc:sldChg chg="modSp add del mod modTransition">
        <pc:chgData name="Bullinger, Marvin" userId="5b54ce5a-dc89-476f-af33-5abd75d5b1e8" providerId="ADAL" clId="{1E98F5D7-E289-413D-884E-F642E52B1DF1}" dt="2024-07-11T08:38:38.045" v="689" actId="47"/>
        <pc:sldMkLst>
          <pc:docMk/>
          <pc:sldMk cId="2706580699" sldId="612"/>
        </pc:sldMkLst>
        <pc:graphicFrameChg chg="mod modGraphic">
          <ac:chgData name="Bullinger, Marvin" userId="5b54ce5a-dc89-476f-af33-5abd75d5b1e8" providerId="ADAL" clId="{1E98F5D7-E289-413D-884E-F642E52B1DF1}" dt="2024-07-11T08:38:22.326" v="686" actId="1076"/>
          <ac:graphicFrameMkLst>
            <pc:docMk/>
            <pc:sldMk cId="2706580699" sldId="612"/>
            <ac:graphicFrameMk id="3" creationId="{0C25933F-4745-B261-5E12-BFE12214E3B8}"/>
          </ac:graphicFrameMkLst>
        </pc:graphicFrameChg>
      </pc:sldChg>
      <pc:sldChg chg="addSp delSp modSp add mod">
        <pc:chgData name="Bullinger, Marvin" userId="5b54ce5a-dc89-476f-af33-5abd75d5b1e8" providerId="ADAL" clId="{1E98F5D7-E289-413D-884E-F642E52B1DF1}" dt="2024-07-14T12:48:33.094" v="738" actId="478"/>
        <pc:sldMkLst>
          <pc:docMk/>
          <pc:sldMk cId="3768756170" sldId="612"/>
        </pc:sldMkLst>
        <pc:graphicFrameChg chg="add del mod modGraphic">
          <ac:chgData name="Bullinger, Marvin" userId="5b54ce5a-dc89-476f-af33-5abd75d5b1e8" providerId="ADAL" clId="{1E98F5D7-E289-413D-884E-F642E52B1DF1}" dt="2024-07-14T12:48:33.094" v="738" actId="478"/>
          <ac:graphicFrameMkLst>
            <pc:docMk/>
            <pc:sldMk cId="3768756170" sldId="612"/>
            <ac:graphicFrameMk id="2" creationId="{23676F42-A126-7A86-8973-039381EA6F91}"/>
          </ac:graphicFrameMkLst>
        </pc:graphicFrameChg>
        <pc:graphicFrameChg chg="mod modGraphic">
          <ac:chgData name="Bullinger, Marvin" userId="5b54ce5a-dc89-476f-af33-5abd75d5b1e8" providerId="ADAL" clId="{1E98F5D7-E289-413D-884E-F642E52B1DF1}" dt="2024-07-11T11:00:43.385" v="720" actId="1076"/>
          <ac:graphicFrameMkLst>
            <pc:docMk/>
            <pc:sldMk cId="3768756170" sldId="612"/>
            <ac:graphicFrameMk id="3" creationId="{0C25933F-4745-B261-5E12-BFE12214E3B8}"/>
          </ac:graphicFrameMkLst>
        </pc:graphicFrameChg>
      </pc:sldChg>
      <pc:sldChg chg="modSp add del mod modTransition">
        <pc:chgData name="Bullinger, Marvin" userId="5b54ce5a-dc89-476f-af33-5abd75d5b1e8" providerId="ADAL" clId="{1E98F5D7-E289-413D-884E-F642E52B1DF1}" dt="2024-07-11T08:38:39.003" v="690" actId="47"/>
        <pc:sldMkLst>
          <pc:docMk/>
          <pc:sldMk cId="1018127200" sldId="613"/>
        </pc:sldMkLst>
        <pc:graphicFrameChg chg="mod">
          <ac:chgData name="Bullinger, Marvin" userId="5b54ce5a-dc89-476f-af33-5abd75d5b1e8" providerId="ADAL" clId="{1E98F5D7-E289-413D-884E-F642E52B1DF1}" dt="2024-07-11T08:38:30.785" v="688" actId="1076"/>
          <ac:graphicFrameMkLst>
            <pc:docMk/>
            <pc:sldMk cId="1018127200" sldId="613"/>
            <ac:graphicFrameMk id="3" creationId="{0C25933F-4745-B261-5E12-BFE12214E3B8}"/>
          </ac:graphicFrameMkLst>
        </pc:graphicFrameChg>
      </pc:sldChg>
      <pc:sldChg chg="addSp delSp modSp add mod modTransition">
        <pc:chgData name="Bullinger, Marvin" userId="5b54ce5a-dc89-476f-af33-5abd75d5b1e8" providerId="ADAL" clId="{1E98F5D7-E289-413D-884E-F642E52B1DF1}" dt="2024-07-14T12:48:56.944" v="739" actId="478"/>
        <pc:sldMkLst>
          <pc:docMk/>
          <pc:sldMk cId="3888348133" sldId="613"/>
        </pc:sldMkLst>
        <pc:graphicFrameChg chg="add del modGraphic">
          <ac:chgData name="Bullinger, Marvin" userId="5b54ce5a-dc89-476f-af33-5abd75d5b1e8" providerId="ADAL" clId="{1E98F5D7-E289-413D-884E-F642E52B1DF1}" dt="2024-07-14T12:48:56.944" v="739" actId="478"/>
          <ac:graphicFrameMkLst>
            <pc:docMk/>
            <pc:sldMk cId="3888348133" sldId="613"/>
            <ac:graphicFrameMk id="2" creationId="{FE1C515F-B144-0673-A231-1B0D4FDFC4E5}"/>
          </ac:graphicFrameMkLst>
        </pc:graphicFrameChg>
        <pc:graphicFrameChg chg="mod modGraphic">
          <ac:chgData name="Bullinger, Marvin" userId="5b54ce5a-dc89-476f-af33-5abd75d5b1e8" providerId="ADAL" clId="{1E98F5D7-E289-413D-884E-F642E52B1DF1}" dt="2024-07-11T11:00:31.232" v="718" actId="1076"/>
          <ac:graphicFrameMkLst>
            <pc:docMk/>
            <pc:sldMk cId="3888348133" sldId="613"/>
            <ac:graphicFrameMk id="3" creationId="{0C25933F-4745-B261-5E12-BFE12214E3B8}"/>
          </ac:graphicFrameMkLst>
        </pc:graphicFrameChg>
      </pc:sldChg>
      <pc:sldChg chg="addSp modSp add mod">
        <pc:chgData name="Bullinger, Marvin" userId="5b54ce5a-dc89-476f-af33-5abd75d5b1e8" providerId="ADAL" clId="{1E98F5D7-E289-413D-884E-F642E52B1DF1}" dt="2024-07-14T12:47:44.939" v="736" actId="339"/>
        <pc:sldMkLst>
          <pc:docMk/>
          <pc:sldMk cId="67794375" sldId="614"/>
        </pc:sldMkLst>
        <pc:graphicFrameChg chg="add mod modGraphic">
          <ac:chgData name="Bullinger, Marvin" userId="5b54ce5a-dc89-476f-af33-5abd75d5b1e8" providerId="ADAL" clId="{1E98F5D7-E289-413D-884E-F642E52B1DF1}" dt="2024-07-14T12:47:44.939" v="736" actId="339"/>
          <ac:graphicFrameMkLst>
            <pc:docMk/>
            <pc:sldMk cId="67794375" sldId="614"/>
            <ac:graphicFrameMk id="2" creationId="{1A559494-B250-C6F8-72F7-79571519C490}"/>
          </ac:graphicFrameMkLst>
        </pc:graphicFrameChg>
        <pc:graphicFrameChg chg="mod modGraphic">
          <ac:chgData name="Bullinger, Marvin" userId="5b54ce5a-dc89-476f-af33-5abd75d5b1e8" providerId="ADAL" clId="{1E98F5D7-E289-413D-884E-F642E52B1DF1}" dt="2024-07-11T11:00:35.861" v="719" actId="1076"/>
          <ac:graphicFrameMkLst>
            <pc:docMk/>
            <pc:sldMk cId="67794375" sldId="614"/>
            <ac:graphicFrameMk id="3" creationId="{0C25933F-4745-B261-5E12-BFE12214E3B8}"/>
          </ac:graphicFrameMkLst>
        </pc:graphicFrameChg>
      </pc:sldChg>
      <pc:sldChg chg="modSp add del mod">
        <pc:chgData name="Bullinger, Marvin" userId="5b54ce5a-dc89-476f-af33-5abd75d5b1e8" providerId="ADAL" clId="{1E98F5D7-E289-413D-884E-F642E52B1DF1}" dt="2024-07-11T08:38:40.286" v="691" actId="47"/>
        <pc:sldMkLst>
          <pc:docMk/>
          <pc:sldMk cId="1122958410" sldId="614"/>
        </pc:sldMkLst>
        <pc:graphicFrameChg chg="mod modGraphic">
          <ac:chgData name="Bullinger, Marvin" userId="5b54ce5a-dc89-476f-af33-5abd75d5b1e8" providerId="ADAL" clId="{1E98F5D7-E289-413D-884E-F642E52B1DF1}" dt="2024-07-11T08:35:56.011" v="679" actId="339"/>
          <ac:graphicFrameMkLst>
            <pc:docMk/>
            <pc:sldMk cId="1122958410" sldId="614"/>
            <ac:graphicFrameMk id="3" creationId="{0C25933F-4745-B261-5E12-BFE12214E3B8}"/>
          </ac:graphicFrameMkLst>
        </pc:graphicFrameChg>
      </pc:sldChg>
      <pc:sldMasterChg chg="addSp modSp mod modSldLayout">
        <pc:chgData name="Bullinger, Marvin" userId="5b54ce5a-dc89-476f-af33-5abd75d5b1e8" providerId="ADAL" clId="{1E98F5D7-E289-413D-884E-F642E52B1DF1}" dt="2024-07-11T07:32:37.845" v="284" actId="14100"/>
        <pc:sldMasterMkLst>
          <pc:docMk/>
          <pc:sldMasterMk cId="2846167297" sldId="2147483677"/>
        </pc:sldMasterMkLst>
        <pc:spChg chg="mod">
          <ac:chgData name="Bullinger, Marvin" userId="5b54ce5a-dc89-476f-af33-5abd75d5b1e8" providerId="ADAL" clId="{1E98F5D7-E289-413D-884E-F642E52B1DF1}" dt="2024-07-11T07:31:23.272" v="193" actId="14100"/>
          <ac:spMkLst>
            <pc:docMk/>
            <pc:sldMasterMk cId="2846167297" sldId="2147483677"/>
            <ac:spMk id="2" creationId="{B5DF379B-2F7B-4B88-BC16-FA39CEB2C3FA}"/>
          </ac:spMkLst>
        </pc:spChg>
        <pc:picChg chg="mod">
          <ac:chgData name="Bullinger, Marvin" userId="5b54ce5a-dc89-476f-af33-5abd75d5b1e8" providerId="ADAL" clId="{1E98F5D7-E289-413D-884E-F642E52B1DF1}" dt="2024-07-11T07:32:24.474" v="283" actId="1037"/>
          <ac:picMkLst>
            <pc:docMk/>
            <pc:sldMasterMk cId="2846167297" sldId="2147483677"/>
            <ac:picMk id="7" creationId="{9F0ABF88-D3F9-7514-74E6-D3F3838E9EBE}"/>
          </ac:picMkLst>
        </pc:picChg>
        <pc:picChg chg="add mod">
          <ac:chgData name="Bullinger, Marvin" userId="5b54ce5a-dc89-476f-af33-5abd75d5b1e8" providerId="ADAL" clId="{1E98F5D7-E289-413D-884E-F642E52B1DF1}" dt="2024-07-11T07:32:24.474" v="283" actId="1037"/>
          <ac:picMkLst>
            <pc:docMk/>
            <pc:sldMasterMk cId="2846167297" sldId="2147483677"/>
            <ac:picMk id="8" creationId="{48875B43-D4CB-047F-DB44-78CA8C0A0CC4}"/>
          </ac:picMkLst>
        </pc:picChg>
        <pc:sldLayoutChg chg="modSp mod">
          <pc:chgData name="Bullinger, Marvin" userId="5b54ce5a-dc89-476f-af33-5abd75d5b1e8" providerId="ADAL" clId="{1E98F5D7-E289-413D-884E-F642E52B1DF1}" dt="2024-07-11T07:32:37.845" v="284" actId="14100"/>
          <pc:sldLayoutMkLst>
            <pc:docMk/>
            <pc:sldMasterMk cId="2846167297" sldId="2147483677"/>
            <pc:sldLayoutMk cId="1852533398" sldId="2147483678"/>
          </pc:sldLayoutMkLst>
          <pc:spChg chg="mod">
            <ac:chgData name="Bullinger, Marvin" userId="5b54ce5a-dc89-476f-af33-5abd75d5b1e8" providerId="ADAL" clId="{1E98F5D7-E289-413D-884E-F642E52B1DF1}" dt="2024-07-11T07:32:37.845" v="284" actId="14100"/>
            <ac:spMkLst>
              <pc:docMk/>
              <pc:sldMasterMk cId="2846167297" sldId="2147483677"/>
              <pc:sldLayoutMk cId="1852533398" sldId="2147483678"/>
              <ac:spMk id="3" creationId="{BF241B12-AFED-4016-A470-4C5CF08E7865}"/>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https://uofwaterloo-my.sharepoint.com/personal/l9johnst_uwaterloo_ca/Documents/Documents/School/3b/MTE%20380/Gantt%20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lvl="0">
              <a:defRPr b="0">
                <a:solidFill>
                  <a:srgbClr val="757575"/>
                </a:solidFill>
                <a:latin typeface="+mn-lt"/>
              </a:defRPr>
            </a:pPr>
            <a:r>
              <a:rPr lang="en-CA" b="0">
                <a:solidFill>
                  <a:srgbClr val="757575"/>
                </a:solidFill>
                <a:latin typeface="+mn-lt"/>
              </a:rPr>
              <a:t>Gantt Chart </a:t>
            </a:r>
          </a:p>
        </c:rich>
      </c:tx>
      <c:overlay val="0"/>
    </c:title>
    <c:autoTitleDeleted val="0"/>
    <c:plotArea>
      <c:layout/>
      <c:barChart>
        <c:barDir val="bar"/>
        <c:grouping val="stacked"/>
        <c:varyColors val="1"/>
        <c:ser>
          <c:idx val="0"/>
          <c:order val="0"/>
          <c:tx>
            <c:strRef>
              <c:f>'[Gantt Chart.xlsx]Simple Gantt chart'!$B$14</c:f>
              <c:strCache>
                <c:ptCount val="1"/>
                <c:pt idx="0">
                  <c:v>Start on day</c:v>
                </c:pt>
              </c:strCache>
            </c:strRef>
          </c:tx>
          <c:spPr>
            <a:noFill/>
            <a:ln cmpd="sng">
              <a:solidFill>
                <a:srgbClr val="000000">
                  <a:alpha val="0"/>
                </a:srgbClr>
              </a:solidFill>
            </a:ln>
          </c:spPr>
          <c:invertIfNegative val="1"/>
          <c:dPt>
            <c:idx val="2"/>
            <c:invertIfNegative val="1"/>
            <c:bubble3D val="0"/>
            <c:spPr>
              <a:noFill/>
              <a:ln w="19050" cmpd="sng">
                <a:solidFill>
                  <a:sysClr val="windowText" lastClr="000000">
                    <a:alpha val="0"/>
                  </a:sysClr>
                </a:solidFill>
              </a:ln>
            </c:spPr>
            <c:extLst>
              <c:ext xmlns:c16="http://schemas.microsoft.com/office/drawing/2014/chart" uri="{C3380CC4-5D6E-409C-BE32-E72D297353CC}">
                <c16:uniqueId val="{00000001-DD60-4348-9660-9D930DED3E94}"/>
              </c:ext>
            </c:extLst>
          </c:dPt>
          <c:cat>
            <c:strRef>
              <c:f>'[Gantt Chart.xlsx]Simple Gantt chart'!$A$15:$A$29</c:f>
              <c:strCache>
                <c:ptCount val="13"/>
                <c:pt idx="0">
                  <c:v>Presentation</c:v>
                </c:pt>
                <c:pt idx="1">
                  <c:v>Mechanical Design</c:v>
                </c:pt>
                <c:pt idx="2">
                  <c:v>Creating CAD Model</c:v>
                </c:pt>
                <c:pt idx="3">
                  <c:v>Circuit Design</c:v>
                </c:pt>
                <c:pt idx="4">
                  <c:v>Communication Implementation</c:v>
                </c:pt>
                <c:pt idx="5">
                  <c:v>Fabrication and Assembly</c:v>
                </c:pt>
                <c:pt idx="6">
                  <c:v>Control System Development</c:v>
                </c:pt>
                <c:pt idx="7">
                  <c:v>Computer Vision Development</c:v>
                </c:pt>
                <c:pt idx="8">
                  <c:v>Computer Simulation</c:v>
                </c:pt>
                <c:pt idx="9">
                  <c:v>Half-way Point Milestone Prep</c:v>
                </c:pt>
                <c:pt idx="10">
                  <c:v>Pre-Game Day Milestone Prep</c:v>
                </c:pt>
                <c:pt idx="11">
                  <c:v>Game Day Prep</c:v>
                </c:pt>
                <c:pt idx="12">
                  <c:v>Final Report Prep</c:v>
                </c:pt>
              </c:strCache>
            </c:strRef>
          </c:cat>
          <c:val>
            <c:numRef>
              <c:f>'[Gantt Chart.xlsx]Simple Gantt chart'!$B$15:$B$27</c:f>
              <c:numCache>
                <c:formatCode>General</c:formatCode>
                <c:ptCount val="13"/>
                <c:pt idx="0">
                  <c:v>0</c:v>
                </c:pt>
                <c:pt idx="1">
                  <c:v>1</c:v>
                </c:pt>
                <c:pt idx="2">
                  <c:v>8</c:v>
                </c:pt>
                <c:pt idx="3">
                  <c:v>8</c:v>
                </c:pt>
                <c:pt idx="4">
                  <c:v>8</c:v>
                </c:pt>
                <c:pt idx="5">
                  <c:v>15</c:v>
                </c:pt>
                <c:pt idx="6">
                  <c:v>15</c:v>
                </c:pt>
                <c:pt idx="7">
                  <c:v>16</c:v>
                </c:pt>
                <c:pt idx="8">
                  <c:v>23</c:v>
                </c:pt>
                <c:pt idx="9">
                  <c:v>30</c:v>
                </c:pt>
                <c:pt idx="10">
                  <c:v>35</c:v>
                </c:pt>
                <c:pt idx="11">
                  <c:v>42</c:v>
                </c:pt>
                <c:pt idx="12">
                  <c:v>49</c:v>
                </c:pt>
              </c:numCache>
            </c:numRef>
          </c:val>
          <c:extLst>
            <c:ext xmlns:c16="http://schemas.microsoft.com/office/drawing/2014/chart" uri="{C3380CC4-5D6E-409C-BE32-E72D297353CC}">
              <c16:uniqueId val="{00000002-DD60-4348-9660-9D930DED3E94}"/>
            </c:ext>
          </c:extLst>
        </c:ser>
        <c:ser>
          <c:idx val="1"/>
          <c:order val="1"/>
          <c:tx>
            <c:strRef>
              <c:f>'[Gantt Chart.xlsx]Simple Gantt chart'!$C$14</c:f>
              <c:strCache>
                <c:ptCount val="1"/>
                <c:pt idx="0">
                  <c:v>Duration</c:v>
                </c:pt>
              </c:strCache>
            </c:strRef>
          </c:tx>
          <c:spPr>
            <a:solidFill>
              <a:srgbClr val="4285F4"/>
            </a:solidFill>
            <a:ln cmpd="sng">
              <a:solidFill>
                <a:srgbClr val="000000"/>
              </a:solidFill>
            </a:ln>
          </c:spPr>
          <c:invertIfNegative val="1"/>
          <c:cat>
            <c:strRef>
              <c:f>'[Gantt Chart.xlsx]Simple Gantt chart'!$A$15:$A$29</c:f>
              <c:strCache>
                <c:ptCount val="13"/>
                <c:pt idx="0">
                  <c:v>Presentation</c:v>
                </c:pt>
                <c:pt idx="1">
                  <c:v>Mechanical Design</c:v>
                </c:pt>
                <c:pt idx="2">
                  <c:v>Creating CAD Model</c:v>
                </c:pt>
                <c:pt idx="3">
                  <c:v>Circuit Design</c:v>
                </c:pt>
                <c:pt idx="4">
                  <c:v>Communication Implementation</c:v>
                </c:pt>
                <c:pt idx="5">
                  <c:v>Fabrication and Assembly</c:v>
                </c:pt>
                <c:pt idx="6">
                  <c:v>Control System Development</c:v>
                </c:pt>
                <c:pt idx="7">
                  <c:v>Computer Vision Development</c:v>
                </c:pt>
                <c:pt idx="8">
                  <c:v>Computer Simulation</c:v>
                </c:pt>
                <c:pt idx="9">
                  <c:v>Half-way Point Milestone Prep</c:v>
                </c:pt>
                <c:pt idx="10">
                  <c:v>Pre-Game Day Milestone Prep</c:v>
                </c:pt>
                <c:pt idx="11">
                  <c:v>Game Day Prep</c:v>
                </c:pt>
                <c:pt idx="12">
                  <c:v>Final Report Prep</c:v>
                </c:pt>
              </c:strCache>
            </c:strRef>
          </c:cat>
          <c:val>
            <c:numRef>
              <c:f>'[Gantt Chart.xlsx]Simple Gantt chart'!$C$15:$C$27</c:f>
              <c:numCache>
                <c:formatCode>General</c:formatCode>
                <c:ptCount val="13"/>
                <c:pt idx="0">
                  <c:v>1</c:v>
                </c:pt>
                <c:pt idx="1">
                  <c:v>7</c:v>
                </c:pt>
                <c:pt idx="2">
                  <c:v>7</c:v>
                </c:pt>
                <c:pt idx="3">
                  <c:v>7</c:v>
                </c:pt>
                <c:pt idx="4">
                  <c:v>11</c:v>
                </c:pt>
                <c:pt idx="5">
                  <c:v>15</c:v>
                </c:pt>
                <c:pt idx="6">
                  <c:v>8</c:v>
                </c:pt>
                <c:pt idx="7">
                  <c:v>14</c:v>
                </c:pt>
                <c:pt idx="8">
                  <c:v>7</c:v>
                </c:pt>
                <c:pt idx="9">
                  <c:v>5</c:v>
                </c:pt>
                <c:pt idx="10">
                  <c:v>7</c:v>
                </c:pt>
                <c:pt idx="11">
                  <c:v>7</c:v>
                </c:pt>
                <c:pt idx="12">
                  <c:v>6</c:v>
                </c:pt>
              </c:numCache>
            </c:numRef>
          </c:val>
          <c:extLst>
            <c:ext xmlns:c14="http://schemas.microsoft.com/office/drawing/2007/8/2/chart" uri="{6F2FDCE9-48DA-4B69-8628-5D25D57E5C99}">
              <c14:invertSolidFillFmt>
                <c14:spPr xmlns:c14="http://schemas.microsoft.com/office/drawing/2007/8/2/chart">
                  <a:solidFill>
                    <a:srgbClr val="FFFFFF"/>
                  </a:solidFill>
                  <a:ln cmpd="sng">
                    <a:solidFill>
                      <a:srgbClr val="000000"/>
                    </a:solidFill>
                  </a:ln>
                </c14:spPr>
              </c14:invertSolidFillFmt>
            </c:ext>
            <c:ext xmlns:c16="http://schemas.microsoft.com/office/drawing/2014/chart" uri="{C3380CC4-5D6E-409C-BE32-E72D297353CC}">
              <c16:uniqueId val="{00000003-DD60-4348-9660-9D930DED3E94}"/>
            </c:ext>
          </c:extLst>
        </c:ser>
        <c:dLbls>
          <c:showLegendKey val="0"/>
          <c:showVal val="0"/>
          <c:showCatName val="0"/>
          <c:showSerName val="0"/>
          <c:showPercent val="0"/>
          <c:showBubbleSize val="0"/>
        </c:dLbls>
        <c:gapWidth val="150"/>
        <c:overlap val="100"/>
        <c:axId val="2091820434"/>
        <c:axId val="2110246827"/>
      </c:barChart>
      <c:catAx>
        <c:axId val="2091820434"/>
        <c:scaling>
          <c:orientation val="maxMin"/>
        </c:scaling>
        <c:delete val="0"/>
        <c:axPos val="l"/>
        <c:title>
          <c:tx>
            <c:rich>
              <a:bodyPr/>
              <a:lstStyle/>
              <a:p>
                <a:pPr lvl="0">
                  <a:defRPr b="0">
                    <a:solidFill>
                      <a:srgbClr val="000000"/>
                    </a:solidFill>
                    <a:latin typeface="+mn-lt"/>
                  </a:defRPr>
                </a:pPr>
                <a:r>
                  <a:rPr lang="en-CA" b="0">
                    <a:solidFill>
                      <a:srgbClr val="000000"/>
                    </a:solidFill>
                    <a:latin typeface="+mn-lt"/>
                  </a:rPr>
                  <a:t>Task</a:t>
                </a:r>
              </a:p>
            </c:rich>
          </c:tx>
          <c:overlay val="0"/>
        </c:title>
        <c:numFmt formatCode="General" sourceLinked="1"/>
        <c:majorTickMark val="none"/>
        <c:minorTickMark val="none"/>
        <c:tickLblPos val="nextTo"/>
        <c:txPr>
          <a:bodyPr/>
          <a:lstStyle/>
          <a:p>
            <a:pPr lvl="0">
              <a:defRPr b="0">
                <a:solidFill>
                  <a:srgbClr val="000000"/>
                </a:solidFill>
                <a:latin typeface="+mn-lt"/>
              </a:defRPr>
            </a:pPr>
            <a:endParaRPr lang="de-DE"/>
          </a:p>
        </c:txPr>
        <c:crossAx val="2110246827"/>
        <c:crosses val="autoZero"/>
        <c:auto val="1"/>
        <c:lblAlgn val="ctr"/>
        <c:lblOffset val="100"/>
        <c:noMultiLvlLbl val="1"/>
      </c:catAx>
      <c:valAx>
        <c:axId val="2110246827"/>
        <c:scaling>
          <c:orientation val="minMax"/>
        </c:scaling>
        <c:delete val="0"/>
        <c:axPos val="b"/>
        <c:majorGridlines>
          <c:spPr>
            <a:ln>
              <a:solidFill>
                <a:srgbClr val="B7B7B7"/>
              </a:solidFill>
            </a:ln>
          </c:spPr>
        </c:majorGridlines>
        <c:minorGridlines>
          <c:spPr>
            <a:ln>
              <a:solidFill>
                <a:srgbClr val="CCCCCC">
                  <a:alpha val="0"/>
                </a:srgbClr>
              </a:solidFill>
            </a:ln>
          </c:spPr>
        </c:minorGridlines>
        <c:title>
          <c:tx>
            <c:rich>
              <a:bodyPr/>
              <a:lstStyle/>
              <a:p>
                <a:pPr lvl="0">
                  <a:defRPr b="0">
                    <a:solidFill>
                      <a:srgbClr val="000000"/>
                    </a:solidFill>
                    <a:latin typeface="+mn-lt"/>
                  </a:defRPr>
                </a:pPr>
                <a:r>
                  <a:rPr lang="en-CA" b="0">
                    <a:solidFill>
                      <a:srgbClr val="000000"/>
                    </a:solidFill>
                    <a:latin typeface="+mn-lt"/>
                  </a:rPr>
                  <a:t>Start on Day</a:t>
                </a:r>
              </a:p>
            </c:rich>
          </c:tx>
          <c:overlay val="0"/>
        </c:title>
        <c:numFmt formatCode="General" sourceLinked="1"/>
        <c:majorTickMark val="none"/>
        <c:minorTickMark val="none"/>
        <c:tickLblPos val="nextTo"/>
        <c:spPr>
          <a:ln/>
        </c:spPr>
        <c:txPr>
          <a:bodyPr/>
          <a:lstStyle/>
          <a:p>
            <a:pPr lvl="0">
              <a:defRPr b="0">
                <a:solidFill>
                  <a:srgbClr val="000000"/>
                </a:solidFill>
                <a:latin typeface="+mn-lt"/>
              </a:defRPr>
            </a:pPr>
            <a:endParaRPr lang="de-DE"/>
          </a:p>
        </c:txPr>
        <c:crossAx val="2091820434"/>
        <c:crosses val="max"/>
        <c:crossBetween val="between"/>
        <c:majorUnit val="5"/>
      </c:valAx>
    </c:plotArea>
    <c:plotVisOnly val="1"/>
    <c:dispBlanksAs val="zero"/>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8D5286F-F46C-4E2C-97AF-6B45DE4CB2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066E692-6480-48CC-8BCD-A7DF5C1F69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6FEB490-C5F1-4FE5-B523-7E2A854CD119}" type="datetimeFigureOut">
              <a:rPr lang="de-DE" smtClean="0"/>
              <a:t>17.02.2025</a:t>
            </a:fld>
            <a:endParaRPr lang="de-DE"/>
          </a:p>
        </p:txBody>
      </p:sp>
      <p:sp>
        <p:nvSpPr>
          <p:cNvPr id="4" name="Fußzeilenplatzhalter 3">
            <a:extLst>
              <a:ext uri="{FF2B5EF4-FFF2-40B4-BE49-F238E27FC236}">
                <a16:creationId xmlns:a16="http://schemas.microsoft.com/office/drawing/2014/main" id="{8458393A-9752-4A74-9877-37793712D6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EB2DF026-F42B-4782-9457-5E48B4742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F6C2D2-50ED-4FF1-94DB-86311ACB8CAD}" type="slidenum">
              <a:rPr lang="de-DE" smtClean="0"/>
              <a:t>‹Nr.›</a:t>
            </a:fld>
            <a:endParaRPr lang="de-DE"/>
          </a:p>
        </p:txBody>
      </p:sp>
    </p:spTree>
    <p:extLst>
      <p:ext uri="{BB962C8B-B14F-4D97-AF65-F5344CB8AC3E}">
        <p14:creationId xmlns:p14="http://schemas.microsoft.com/office/powerpoint/2010/main" val="2512780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ECEF2B-B444-4E6C-B710-FDFA372E266A}" type="datetimeFigureOut">
              <a:rPr lang="de-DE" smtClean="0"/>
              <a:t>17.0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B7BD1D-57F2-4AA2-9428-BF308BAFC728}" type="slidenum">
              <a:rPr lang="de-DE" smtClean="0"/>
              <a:t>‹Nr.›</a:t>
            </a:fld>
            <a:endParaRPr lang="de-DE"/>
          </a:p>
        </p:txBody>
      </p:sp>
    </p:spTree>
    <p:extLst>
      <p:ext uri="{BB962C8B-B14F-4D97-AF65-F5344CB8AC3E}">
        <p14:creationId xmlns:p14="http://schemas.microsoft.com/office/powerpoint/2010/main" val="174158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BB7BD1D-57F2-4AA2-9428-BF308BAFC728}" type="slidenum">
              <a:rPr lang="de-DE" smtClean="0"/>
              <a:t>2</a:t>
            </a:fld>
            <a:endParaRPr lang="de-DE"/>
          </a:p>
        </p:txBody>
      </p:sp>
    </p:spTree>
    <p:extLst>
      <p:ext uri="{BB962C8B-B14F-4D97-AF65-F5344CB8AC3E}">
        <p14:creationId xmlns:p14="http://schemas.microsoft.com/office/powerpoint/2010/main" val="196982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Determined design criteria, moved on to important features of design</a:t>
            </a:r>
          </a:p>
          <a:p>
            <a:pPr marL="171450" indent="-171450">
              <a:buFontTx/>
              <a:buChar char="-"/>
            </a:pPr>
            <a:r>
              <a:rPr lang="en-US"/>
              <a:t>Added several options for each feature</a:t>
            </a:r>
          </a:p>
          <a:p>
            <a:pPr marL="171450" indent="-171450">
              <a:buFontTx/>
              <a:buChar char="-"/>
            </a:pPr>
            <a:r>
              <a:rPr lang="en-US"/>
              <a:t>Finally, moving down the table, selected desired feature for each design (show first line)</a:t>
            </a:r>
          </a:p>
          <a:p>
            <a:pPr marL="171450" indent="-171450">
              <a:buFontTx/>
              <a:buChar char="-"/>
            </a:pPr>
            <a:r>
              <a:rPr lang="en-US"/>
              <a:t>To explore different designs, chose features for two more designs (show other two lines)</a:t>
            </a:r>
          </a:p>
          <a:p>
            <a:pPr marL="171450" indent="-171450">
              <a:buFontTx/>
              <a:buChar char="-"/>
            </a:pPr>
            <a:r>
              <a:rPr lang="en-US"/>
              <a:t>Compared designs using decision matrix (next slide)</a:t>
            </a:r>
          </a:p>
          <a:p>
            <a:pPr marL="0" indent="0">
              <a:buFontTx/>
              <a:buNone/>
            </a:pPr>
            <a:r>
              <a:rPr lang="en-US"/>
              <a:t>After ironing out the design constraints and criteria we moved on to identifying the more important features of the design.</a:t>
            </a:r>
            <a:r>
              <a:rPr lang="en-CA"/>
              <a:t> For this, we used a morphological feature box. </a:t>
            </a:r>
            <a:r>
              <a:rPr lang="en-US"/>
              <a:t> This was to help ideate conceptual designs that we could compare and eventually sketch. To create a design, we went down the list feature by feature, drawing a line between chosen components (show first line). We did this two more times (show other two lines), and then moved on to our decision matrix.</a:t>
            </a:r>
          </a:p>
        </p:txBody>
      </p:sp>
      <p:sp>
        <p:nvSpPr>
          <p:cNvPr id="4" name="Slide Number Placeholder 3"/>
          <p:cNvSpPr>
            <a:spLocks noGrp="1"/>
          </p:cNvSpPr>
          <p:nvPr>
            <p:ph type="sldNum" sz="quarter" idx="5"/>
          </p:nvPr>
        </p:nvSpPr>
        <p:spPr/>
        <p:txBody>
          <a:bodyPr/>
          <a:lstStyle/>
          <a:p>
            <a:fld id="{3BB7BD1D-57F2-4AA2-9428-BF308BAFC728}" type="slidenum">
              <a:rPr lang="de-DE" smtClean="0"/>
              <a:t>7</a:t>
            </a:fld>
            <a:endParaRPr lang="de-DE"/>
          </a:p>
        </p:txBody>
      </p:sp>
    </p:spTree>
    <p:extLst>
      <p:ext uri="{BB962C8B-B14F-4D97-AF65-F5344CB8AC3E}">
        <p14:creationId xmlns:p14="http://schemas.microsoft.com/office/powerpoint/2010/main" val="1454758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Used averaged weights given previously in design criteria</a:t>
            </a:r>
          </a:p>
          <a:p>
            <a:pPr marL="171450" indent="-171450">
              <a:buFontTx/>
              <a:buChar char="-"/>
            </a:pPr>
            <a:r>
              <a:rPr lang="en-US"/>
              <a:t>As group, rated each design on criteria through unanimous decision</a:t>
            </a:r>
          </a:p>
          <a:p>
            <a:pPr marL="171450" indent="-171450">
              <a:buFontTx/>
              <a:buChar char="-"/>
            </a:pPr>
            <a:r>
              <a:rPr lang="en-US"/>
              <a:t>Have clear “winner” for which design to go with</a:t>
            </a:r>
          </a:p>
          <a:p>
            <a:pPr marL="628650" lvl="1" indent="-171450">
              <a:buFontTx/>
              <a:buChar char="-"/>
            </a:pPr>
            <a:r>
              <a:rPr lang="en-US"/>
              <a:t>Can remind everyone which one by going back a slide and reading out design </a:t>
            </a:r>
          </a:p>
          <a:p>
            <a:pPr marL="171450" indent="-171450">
              <a:buFontTx/>
              <a:buChar char="-"/>
            </a:pPr>
            <a:r>
              <a:rPr lang="en-US"/>
              <a:t>With this design in mind, we went to creating a sketch of this design (hand over to Marvin)</a:t>
            </a:r>
          </a:p>
          <a:p>
            <a:pPr marL="0" indent="0">
              <a:buFontTx/>
              <a:buNone/>
            </a:pPr>
            <a:r>
              <a:rPr lang="en-US"/>
              <a:t>Using the weighted averages from before, we compared each selected design using the shown matrix. Our scores were decided through unanimous decision after discussing the strengths and weaknesses of each design. From here, it’s clear to see the favored design, and Marvin will present our sketch for this design.</a:t>
            </a:r>
          </a:p>
        </p:txBody>
      </p:sp>
      <p:sp>
        <p:nvSpPr>
          <p:cNvPr id="4" name="Slide Number Placeholder 3"/>
          <p:cNvSpPr>
            <a:spLocks noGrp="1"/>
          </p:cNvSpPr>
          <p:nvPr>
            <p:ph type="sldNum" sz="quarter" idx="5"/>
          </p:nvPr>
        </p:nvSpPr>
        <p:spPr/>
        <p:txBody>
          <a:bodyPr/>
          <a:lstStyle/>
          <a:p>
            <a:fld id="{3BB7BD1D-57F2-4AA2-9428-BF308BAFC728}" type="slidenum">
              <a:rPr lang="de-DE" smtClean="0"/>
              <a:t>8</a:t>
            </a:fld>
            <a:endParaRPr lang="de-DE"/>
          </a:p>
        </p:txBody>
      </p:sp>
    </p:spTree>
    <p:extLst>
      <p:ext uri="{BB962C8B-B14F-4D97-AF65-F5344CB8AC3E}">
        <p14:creationId xmlns:p14="http://schemas.microsoft.com/office/powerpoint/2010/main" val="2516380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sectional</a:t>
            </a:r>
            <a:r>
              <a:rPr lang="de-DE"/>
              <a:t> </a:t>
            </a:r>
            <a:r>
              <a:rPr lang="de-DE" err="1"/>
              <a:t>view</a:t>
            </a:r>
            <a:endParaRPr lang="de-DE"/>
          </a:p>
        </p:txBody>
      </p:sp>
      <p:sp>
        <p:nvSpPr>
          <p:cNvPr id="4" name="Foliennummernplatzhalter 3"/>
          <p:cNvSpPr>
            <a:spLocks noGrp="1"/>
          </p:cNvSpPr>
          <p:nvPr>
            <p:ph type="sldNum" sz="quarter" idx="5"/>
          </p:nvPr>
        </p:nvSpPr>
        <p:spPr/>
        <p:txBody>
          <a:bodyPr/>
          <a:lstStyle/>
          <a:p>
            <a:fld id="{3BB7BD1D-57F2-4AA2-9428-BF308BAFC728}" type="slidenum">
              <a:rPr lang="de-DE" smtClean="0"/>
              <a:t>11</a:t>
            </a:fld>
            <a:endParaRPr lang="de-DE"/>
          </a:p>
        </p:txBody>
      </p:sp>
    </p:spTree>
    <p:extLst>
      <p:ext uri="{BB962C8B-B14F-4D97-AF65-F5344CB8AC3E}">
        <p14:creationId xmlns:p14="http://schemas.microsoft.com/office/powerpoint/2010/main" val="770209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Extern 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7292093E-44AE-4A88-A4CB-D23B1DD32409}"/>
              </a:ext>
            </a:extLst>
          </p:cNvPr>
          <p:cNvSpPr>
            <a:spLocks noGrp="1"/>
          </p:cNvSpPr>
          <p:nvPr>
            <p:ph type="body" sz="quarter" idx="10"/>
          </p:nvPr>
        </p:nvSpPr>
        <p:spPr>
          <a:xfrm>
            <a:off x="518319" y="642855"/>
            <a:ext cx="7228674"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2" name="Bildplatzhalter 11">
            <a:extLst>
              <a:ext uri="{FF2B5EF4-FFF2-40B4-BE49-F238E27FC236}">
                <a16:creationId xmlns:a16="http://schemas.microsoft.com/office/drawing/2014/main" id="{D2196AA1-313D-4990-8CC0-383A233A2630}"/>
              </a:ext>
            </a:extLst>
          </p:cNvPr>
          <p:cNvSpPr>
            <a:spLocks noGrp="1"/>
          </p:cNvSpPr>
          <p:nvPr>
            <p:ph type="pic" sz="quarter" idx="11" hasCustomPrompt="1"/>
          </p:nvPr>
        </p:nvSpPr>
        <p:spPr>
          <a:xfrm>
            <a:off x="0" y="2351880"/>
            <a:ext cx="12192000" cy="4506119"/>
          </a:xfrm>
          <a:solidFill>
            <a:schemeClr val="bg2">
              <a:lumMod val="95000"/>
            </a:schemeClr>
          </a:solidFill>
        </p:spPr>
        <p:txBody>
          <a:bodyPr/>
          <a:lstStyle>
            <a:lvl1pPr>
              <a:defRPr/>
            </a:lvl1pPr>
          </a:lstStyle>
          <a:p>
            <a:r>
              <a:rPr lang="de-DE"/>
              <a:t> </a:t>
            </a:r>
          </a:p>
        </p:txBody>
      </p:sp>
      <p:cxnSp>
        <p:nvCxnSpPr>
          <p:cNvPr id="13" name="Gerade Verbindung 22">
            <a:extLst>
              <a:ext uri="{FF2B5EF4-FFF2-40B4-BE49-F238E27FC236}">
                <a16:creationId xmlns:a16="http://schemas.microsoft.com/office/drawing/2014/main" id="{1E2BE177-B8AE-4CA3-8B0C-241AD815C55F}"/>
              </a:ext>
            </a:extLst>
          </p:cNvPr>
          <p:cNvCxnSpPr>
            <a:cxnSpLocks/>
          </p:cNvCxnSpPr>
          <p:nvPr/>
        </p:nvCxnSpPr>
        <p:spPr>
          <a:xfrm>
            <a:off x="8512714" y="0"/>
            <a:ext cx="0" cy="130810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cxnSp>
        <p:nvCxnSpPr>
          <p:cNvPr id="14" name="Gerade Verbindung 35">
            <a:extLst>
              <a:ext uri="{FF2B5EF4-FFF2-40B4-BE49-F238E27FC236}">
                <a16:creationId xmlns:a16="http://schemas.microsoft.com/office/drawing/2014/main" id="{9A76B5C1-E9F7-44AB-B776-CC664C7A0794}"/>
              </a:ext>
            </a:extLst>
          </p:cNvPr>
          <p:cNvCxnSpPr>
            <a:cxnSpLocks/>
          </p:cNvCxnSpPr>
          <p:nvPr/>
        </p:nvCxnSpPr>
        <p:spPr>
          <a:xfrm>
            <a:off x="8512714" y="1632585"/>
            <a:ext cx="0" cy="432088"/>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57DAACFA-7C59-48D1-9F81-779220D25C63}"/>
              </a:ext>
            </a:extLst>
          </p:cNvPr>
          <p:cNvSpPr>
            <a:spLocks noGrp="1"/>
          </p:cNvSpPr>
          <p:nvPr>
            <p:ph type="body" sz="quarter" idx="12" hasCustomPrompt="1"/>
          </p:nvPr>
        </p:nvSpPr>
        <p:spPr>
          <a:xfrm>
            <a:off x="8711763" y="642855"/>
            <a:ext cx="1524435" cy="553998"/>
          </a:xfrm>
        </p:spPr>
        <p:txBody>
          <a:bodyPr>
            <a:noAutofit/>
          </a:bodyPr>
          <a:lstStyle>
            <a:lvl1pPr>
              <a:lnSpc>
                <a:spcPct val="100000"/>
              </a:lnSpc>
              <a:spcAft>
                <a:spcPts val="0"/>
              </a:spcAft>
              <a:defRPr sz="1200">
                <a:solidFill>
                  <a:srgbClr val="8A8A8A"/>
                </a:solidFill>
                <a:latin typeface="ZEISS Frutiger Next W1G"/>
                <a:cs typeface="Arial" panose="020B0604020202020204" pitchFamily="34" charset="0"/>
              </a:defRPr>
            </a:lvl1pPr>
          </a:lstStyle>
          <a:p>
            <a:pPr lvl="0"/>
            <a:r>
              <a:rPr lang="de-DE"/>
              <a:t>Ersteller</a:t>
            </a:r>
          </a:p>
        </p:txBody>
      </p:sp>
      <p:sp>
        <p:nvSpPr>
          <p:cNvPr id="2" name="Datumsplatzhalter 1">
            <a:extLst>
              <a:ext uri="{FF2B5EF4-FFF2-40B4-BE49-F238E27FC236}">
                <a16:creationId xmlns:a16="http://schemas.microsoft.com/office/drawing/2014/main" id="{89328C91-FAF8-4C71-890F-C1FB2958BAAD}"/>
              </a:ext>
            </a:extLst>
          </p:cNvPr>
          <p:cNvSpPr>
            <a:spLocks noGrp="1"/>
          </p:cNvSpPr>
          <p:nvPr>
            <p:ph type="dt" sz="half" idx="16"/>
          </p:nvPr>
        </p:nvSpPr>
        <p:spPr>
          <a:xfrm>
            <a:off x="8711762" y="1756296"/>
            <a:ext cx="1139607" cy="184666"/>
          </a:xfrm>
          <a:prstGeom prst="rect">
            <a:avLst/>
          </a:prstGeom>
        </p:spPr>
        <p:txBody>
          <a:bodyPr vert="horz" lIns="0" tIns="0" rIns="0" bIns="0" rtlCol="0" anchor="t" anchorCtr="0">
            <a:spAutoFit/>
          </a:bodyPr>
          <a:lstStyle>
            <a:lvl1pPr>
              <a:defRPr lang="de-DE" sz="1200" smtClean="0">
                <a:solidFill>
                  <a:srgbClr val="8A8A8A"/>
                </a:solidFill>
                <a:latin typeface="ZEISS Frutiger Next W1G"/>
                <a:cs typeface="Arial" panose="020B0604020202020204" pitchFamily="34" charset="0"/>
              </a:defRPr>
            </a:lvl1pPr>
          </a:lstStyle>
          <a:p>
            <a:pPr>
              <a:buFont typeface="Arial" panose="020B0604020202020204" pitchFamily="34" charset="0"/>
              <a:buNone/>
            </a:pPr>
            <a:fld id="{59F5FB76-4A09-479F-9E8A-039C8811C15E}" type="datetime4">
              <a:rPr lang="de-DE" smtClean="0"/>
              <a:t>17. Februar 2025</a:t>
            </a:fld>
            <a:endParaRPr lang="de-DE"/>
          </a:p>
        </p:txBody>
      </p:sp>
      <p:sp>
        <p:nvSpPr>
          <p:cNvPr id="3" name="Titel 2">
            <a:extLst>
              <a:ext uri="{FF2B5EF4-FFF2-40B4-BE49-F238E27FC236}">
                <a16:creationId xmlns:a16="http://schemas.microsoft.com/office/drawing/2014/main" id="{BF241B12-AFED-4016-A470-4C5CF08E7865}"/>
              </a:ext>
            </a:extLst>
          </p:cNvPr>
          <p:cNvSpPr>
            <a:spLocks noGrp="1"/>
          </p:cNvSpPr>
          <p:nvPr>
            <p:ph type="title"/>
          </p:nvPr>
        </p:nvSpPr>
        <p:spPr>
          <a:xfrm>
            <a:off x="518319" y="299633"/>
            <a:ext cx="7994388" cy="369332"/>
          </a:xfrm>
        </p:spPr>
        <p:txBody>
          <a:bodyPr/>
          <a:lstStyle>
            <a:lvl1pPr>
              <a:defRPr/>
            </a:lvl1pPr>
          </a:lstStyle>
          <a:p>
            <a:r>
              <a:rPr lang="de-DE"/>
              <a:t>Mastertitelformat bearbeiten</a:t>
            </a:r>
          </a:p>
        </p:txBody>
      </p:sp>
    </p:spTree>
    <p:extLst>
      <p:ext uri="{BB962C8B-B14F-4D97-AF65-F5344CB8AC3E}">
        <p14:creationId xmlns:p14="http://schemas.microsoft.com/office/powerpoint/2010/main" val="18525333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folie | 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3672128A-9CD1-4BA0-8866-2DE4C8621BF2}"/>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63E6CB3C-AA15-4066-87A4-1BC111AFD6D2}"/>
              </a:ext>
            </a:extLst>
          </p:cNvPr>
          <p:cNvSpPr>
            <a:spLocks noGrp="1"/>
          </p:cNvSpPr>
          <p:nvPr>
            <p:ph type="body" sz="quarter" idx="65"/>
          </p:nvPr>
        </p:nvSpPr>
        <p:spPr>
          <a:xfrm>
            <a:off x="518320"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91B4FA4A-707E-4B21-8550-2A1CA445619E}"/>
              </a:ext>
            </a:extLst>
          </p:cNvPr>
          <p:cNvSpPr>
            <a:spLocks noGrp="1"/>
          </p:cNvSpPr>
          <p:nvPr>
            <p:ph type="body" sz="quarter" idx="66"/>
          </p:nvPr>
        </p:nvSpPr>
        <p:spPr>
          <a:xfrm>
            <a:off x="4336655"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3">
            <a:extLst>
              <a:ext uri="{FF2B5EF4-FFF2-40B4-BE49-F238E27FC236}">
                <a16:creationId xmlns:a16="http://schemas.microsoft.com/office/drawing/2014/main" id="{66568BC8-CF70-4E83-B3D8-E4E070B4F8ED}"/>
              </a:ext>
            </a:extLst>
          </p:cNvPr>
          <p:cNvSpPr>
            <a:spLocks noGrp="1"/>
          </p:cNvSpPr>
          <p:nvPr>
            <p:ph type="body" sz="quarter" idx="67"/>
          </p:nvPr>
        </p:nvSpPr>
        <p:spPr>
          <a:xfrm>
            <a:off x="8154989" y="1631837"/>
            <a:ext cx="3521074"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A31530B3-F348-4886-8DA8-C7DF27643531}"/>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C2411BF-A4DA-4EA6-AA41-57EDAE53F86F}"/>
              </a:ext>
            </a:extLst>
          </p:cNvPr>
          <p:cNvSpPr>
            <a:spLocks noGrp="1"/>
          </p:cNvSpPr>
          <p:nvPr>
            <p:ph type="dt" sz="half" idx="68"/>
          </p:nvPr>
        </p:nvSpPr>
        <p:spPr/>
        <p:txBody>
          <a:bodyPr/>
          <a:lstStyle/>
          <a:p>
            <a:fld id="{0883B8F2-0819-468C-90E5-97245453F505}" type="datetime4">
              <a:rPr lang="de-DE" smtClean="0"/>
              <a:t>17. Februar 2025</a:t>
            </a:fld>
            <a:endParaRPr lang="de-DE"/>
          </a:p>
        </p:txBody>
      </p:sp>
      <p:sp>
        <p:nvSpPr>
          <p:cNvPr id="8" name="Foliennummernplatzhalter 7">
            <a:extLst>
              <a:ext uri="{FF2B5EF4-FFF2-40B4-BE49-F238E27FC236}">
                <a16:creationId xmlns:a16="http://schemas.microsoft.com/office/drawing/2014/main" id="{90D1249C-E538-4A32-BE76-858D924D54CE}"/>
              </a:ext>
            </a:extLst>
          </p:cNvPr>
          <p:cNvSpPr>
            <a:spLocks noGrp="1"/>
          </p:cNvSpPr>
          <p:nvPr>
            <p:ph type="sldNum" sz="quarter" idx="70"/>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106629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folie | 4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78DED978-10E9-4C45-9AF8-D5BAE20E9625}"/>
              </a:ext>
            </a:extLst>
          </p:cNvPr>
          <p:cNvSpPr>
            <a:spLocks noGrp="1"/>
          </p:cNvSpPr>
          <p:nvPr>
            <p:ph type="body" sz="quarter" idx="66"/>
          </p:nvPr>
        </p:nvSpPr>
        <p:spPr>
          <a:xfrm>
            <a:off x="518320"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3CA966A3-1F04-42F3-AA58-C900F327C550}"/>
              </a:ext>
            </a:extLst>
          </p:cNvPr>
          <p:cNvSpPr>
            <a:spLocks noGrp="1"/>
          </p:cNvSpPr>
          <p:nvPr>
            <p:ph type="body" sz="quarter" idx="67"/>
          </p:nvPr>
        </p:nvSpPr>
        <p:spPr>
          <a:xfrm>
            <a:off x="3380881"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3">
            <a:extLst>
              <a:ext uri="{FF2B5EF4-FFF2-40B4-BE49-F238E27FC236}">
                <a16:creationId xmlns:a16="http://schemas.microsoft.com/office/drawing/2014/main" id="{E9EB05F1-EE7A-473E-83D8-EA42061575EA}"/>
              </a:ext>
            </a:extLst>
          </p:cNvPr>
          <p:cNvSpPr>
            <a:spLocks noGrp="1"/>
          </p:cNvSpPr>
          <p:nvPr>
            <p:ph type="body" sz="quarter" idx="68"/>
          </p:nvPr>
        </p:nvSpPr>
        <p:spPr>
          <a:xfrm>
            <a:off x="624344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5" name="Gerade Verbindung 71">
            <a:extLst>
              <a:ext uri="{FF2B5EF4-FFF2-40B4-BE49-F238E27FC236}">
                <a16:creationId xmlns:a16="http://schemas.microsoft.com/office/drawing/2014/main" id="{9777B3E4-5C84-4ECF-BB4F-827EB0A4BCA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C6AB4FA3-3D7D-467C-A9E2-F0AD355E8FF7}"/>
              </a:ext>
            </a:extLst>
          </p:cNvPr>
          <p:cNvSpPr>
            <a:spLocks noGrp="1"/>
          </p:cNvSpPr>
          <p:nvPr>
            <p:ph type="dt" sz="half" idx="70"/>
          </p:nvPr>
        </p:nvSpPr>
        <p:spPr/>
        <p:txBody>
          <a:bodyPr/>
          <a:lstStyle/>
          <a:p>
            <a:fld id="{D2A2CB64-6021-4726-9A47-28E9CA4542AC}" type="datetime4">
              <a:rPr lang="de-DE" smtClean="0"/>
              <a:t>17. Februar 2025</a:t>
            </a:fld>
            <a:endParaRPr lang="de-DE"/>
          </a:p>
        </p:txBody>
      </p:sp>
      <p:sp>
        <p:nvSpPr>
          <p:cNvPr id="8" name="Foliennummernplatzhalter 7">
            <a:extLst>
              <a:ext uri="{FF2B5EF4-FFF2-40B4-BE49-F238E27FC236}">
                <a16:creationId xmlns:a16="http://schemas.microsoft.com/office/drawing/2014/main" id="{923FC128-F0EB-4C08-9299-AE8CF288858C}"/>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93614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folie | 4 Blöck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74DC0976-C523-4842-8BFE-0A9CBF3B503A}"/>
              </a:ext>
            </a:extLst>
          </p:cNvPr>
          <p:cNvSpPr>
            <a:spLocks noGrp="1"/>
          </p:cNvSpPr>
          <p:nvPr>
            <p:ph type="body" sz="quarter" idx="68"/>
          </p:nvPr>
        </p:nvSpPr>
        <p:spPr>
          <a:xfrm>
            <a:off x="518318"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3">
            <a:extLst>
              <a:ext uri="{FF2B5EF4-FFF2-40B4-BE49-F238E27FC236}">
                <a16:creationId xmlns:a16="http://schemas.microsoft.com/office/drawing/2014/main" id="{DBBDED6D-1B2A-4452-8222-8F9BFC9EAEFF}"/>
              </a:ext>
            </a:extLst>
          </p:cNvPr>
          <p:cNvSpPr>
            <a:spLocks noGrp="1"/>
          </p:cNvSpPr>
          <p:nvPr>
            <p:ph type="body" sz="quarter" idx="69"/>
          </p:nvPr>
        </p:nvSpPr>
        <p:spPr>
          <a:xfrm>
            <a:off x="518318"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402158F7-C9FB-49D1-A70D-91C0BFCA16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6FDD6406-4BCE-49C6-9930-2BBBDB55DDC1}"/>
              </a:ext>
            </a:extLst>
          </p:cNvPr>
          <p:cNvSpPr>
            <a:spLocks noGrp="1"/>
          </p:cNvSpPr>
          <p:nvPr>
            <p:ph type="dt" sz="half" idx="72"/>
          </p:nvPr>
        </p:nvSpPr>
        <p:spPr/>
        <p:txBody>
          <a:bodyPr/>
          <a:lstStyle/>
          <a:p>
            <a:fld id="{9C925F69-B5D8-4FB5-93AA-F9AF88E20B2E}" type="datetime4">
              <a:rPr lang="de-DE" smtClean="0"/>
              <a:t>17. Februar 2025</a:t>
            </a:fld>
            <a:endParaRPr lang="de-DE"/>
          </a:p>
        </p:txBody>
      </p:sp>
      <p:sp>
        <p:nvSpPr>
          <p:cNvPr id="8" name="Foliennummernplatzhalter 7">
            <a:extLst>
              <a:ext uri="{FF2B5EF4-FFF2-40B4-BE49-F238E27FC236}">
                <a16:creationId xmlns:a16="http://schemas.microsoft.com/office/drawing/2014/main" id="{47FA17DC-A574-4B2C-9825-B9FB8488632B}"/>
              </a:ext>
            </a:extLst>
          </p:cNvPr>
          <p:cNvSpPr>
            <a:spLocks noGrp="1"/>
          </p:cNvSpPr>
          <p:nvPr>
            <p:ph type="sldNum" sz="quarter" idx="74"/>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736544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Bild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1" name="Textplatzhalter 8">
            <a:extLst>
              <a:ext uri="{FF2B5EF4-FFF2-40B4-BE49-F238E27FC236}">
                <a16:creationId xmlns:a16="http://schemas.microsoft.com/office/drawing/2014/main" id="{F8B81FA6-341F-4F98-BDCB-E4F6B6D12B40}"/>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219180E3-3297-4CBF-9A1C-BF98BA2B7514}"/>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2" name="Gerade Verbindung 71">
            <a:extLst>
              <a:ext uri="{FF2B5EF4-FFF2-40B4-BE49-F238E27FC236}">
                <a16:creationId xmlns:a16="http://schemas.microsoft.com/office/drawing/2014/main" id="{8AD5A654-A7AA-4BE0-BEE4-79B9D17A50A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FC943665-7B85-4275-8A8C-35729DEFB6A6}"/>
              </a:ext>
            </a:extLst>
          </p:cNvPr>
          <p:cNvSpPr>
            <a:spLocks noGrp="1"/>
          </p:cNvSpPr>
          <p:nvPr>
            <p:ph type="sldNum" sz="quarter" idx="6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85462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Bildfolie | 2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6242847"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1" name="Bildplatzhalter 9">
            <a:extLst>
              <a:ext uri="{FF2B5EF4-FFF2-40B4-BE49-F238E27FC236}">
                <a16:creationId xmlns:a16="http://schemas.microsoft.com/office/drawing/2014/main" id="{DE207224-BD49-486F-AD1A-8E3330BDCF5D}"/>
              </a:ext>
            </a:extLst>
          </p:cNvPr>
          <p:cNvSpPr>
            <a:spLocks noGrp="1"/>
          </p:cNvSpPr>
          <p:nvPr>
            <p:ph type="pic" sz="quarter" idx="58" hasCustomPrompt="1"/>
          </p:nvPr>
        </p:nvSpPr>
        <p:spPr>
          <a:xfrm>
            <a:off x="9103918"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F9229CDC-3BC6-41B6-92A7-3D626B3207F0}"/>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67019CAF-952D-4F3E-8D6F-25ACB42A0F4C}"/>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2BD66A5F-8890-45C7-AFA2-FBAFE51EAA5D}"/>
              </a:ext>
            </a:extLst>
          </p:cNvPr>
          <p:cNvSpPr>
            <a:spLocks noGrp="1"/>
          </p:cNvSpPr>
          <p:nvPr>
            <p:ph type="body" sz="quarter" idx="65"/>
          </p:nvPr>
        </p:nvSpPr>
        <p:spPr>
          <a:xfrm>
            <a:off x="518319" y="1631837"/>
            <a:ext cx="5433219"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950776CE-C715-4BB6-9753-D24EE139A4F8}"/>
              </a:ext>
            </a:extLst>
          </p:cNvPr>
          <p:cNvSpPr>
            <a:spLocks noGrp="1"/>
          </p:cNvSpPr>
          <p:nvPr>
            <p:ph type="body" sz="quarter" idx="66" hasCustomPrompt="1"/>
          </p:nvPr>
        </p:nvSpPr>
        <p:spPr>
          <a:xfrm>
            <a:off x="4871538" y="5634172"/>
            <a:ext cx="1080000" cy="461665"/>
          </a:xfrm>
        </p:spPr>
        <p:txBody>
          <a:bodyPr wrap="square">
            <a:noAutofit/>
          </a:bodyPr>
          <a:lstStyle>
            <a:lvl1pPr algn="r">
              <a:spcAft>
                <a:spcPts val="0"/>
              </a:spcAft>
              <a:defRPr sz="1000"/>
            </a:lvl1pPr>
            <a:lvl2pPr marL="0" indent="0">
              <a:buNone/>
              <a:defRPr/>
            </a:lvl2pPr>
          </a:lstStyle>
          <a:p>
            <a:pPr lvl="0"/>
            <a:r>
              <a:rPr lang="de-DE"/>
              <a:t>02</a:t>
            </a:r>
            <a:br>
              <a:rPr lang="de-DE"/>
            </a:br>
            <a:r>
              <a:rPr lang="de-DE"/>
              <a:t>Mastertextformat</a:t>
            </a:r>
            <a:br>
              <a:rPr lang="de-DE"/>
            </a:br>
            <a:r>
              <a:rPr lang="de-DE"/>
              <a:t>bearbeiten</a:t>
            </a:r>
          </a:p>
        </p:txBody>
      </p:sp>
      <p:sp>
        <p:nvSpPr>
          <p:cNvPr id="17" name="Textplatzhalter 3">
            <a:extLst>
              <a:ext uri="{FF2B5EF4-FFF2-40B4-BE49-F238E27FC236}">
                <a16:creationId xmlns:a16="http://schemas.microsoft.com/office/drawing/2014/main" id="{0FA2D9FE-5416-445D-999A-5E09BE4B77B4}"/>
              </a:ext>
            </a:extLst>
          </p:cNvPr>
          <p:cNvSpPr>
            <a:spLocks noGrp="1"/>
          </p:cNvSpPr>
          <p:nvPr>
            <p:ph type="body" sz="quarter" idx="67" hasCustomPrompt="1"/>
          </p:nvPr>
        </p:nvSpPr>
        <p:spPr>
          <a:xfrm>
            <a:off x="3502611" y="5634172"/>
            <a:ext cx="1080000" cy="461665"/>
          </a:xfrm>
        </p:spPr>
        <p:txBody>
          <a:bodyPr wrap="square">
            <a:noAutofit/>
          </a:bodyPr>
          <a:lstStyle>
            <a:lvl1pPr algn="r">
              <a:spcAft>
                <a:spcPts val="0"/>
              </a:spcAft>
              <a:defRPr sz="1000"/>
            </a:lvl1pPr>
            <a:lvl2pPr marL="0" indent="0">
              <a:buNone/>
              <a:defRPr/>
            </a:lvl2pPr>
          </a:lstStyle>
          <a:p>
            <a:pPr lvl="0"/>
            <a:r>
              <a:rPr lang="de-DE"/>
              <a:t>01</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4758C8A2-BB5A-4369-8E47-1B3AD76831CB}"/>
              </a:ext>
            </a:extLst>
          </p:cNvPr>
          <p:cNvSpPr>
            <a:spLocks noGrp="1"/>
          </p:cNvSpPr>
          <p:nvPr>
            <p:ph type="body" sz="quarter" idx="68" hasCustomPrompt="1"/>
          </p:nvPr>
        </p:nvSpPr>
        <p:spPr>
          <a:xfrm>
            <a:off x="6242847"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sp>
        <p:nvSpPr>
          <p:cNvPr id="19" name="Textplatzhalter 3">
            <a:extLst>
              <a:ext uri="{FF2B5EF4-FFF2-40B4-BE49-F238E27FC236}">
                <a16:creationId xmlns:a16="http://schemas.microsoft.com/office/drawing/2014/main" id="{EB3A890A-9CCC-4136-9288-897A93AE1F08}"/>
              </a:ext>
            </a:extLst>
          </p:cNvPr>
          <p:cNvSpPr>
            <a:spLocks noGrp="1"/>
          </p:cNvSpPr>
          <p:nvPr>
            <p:ph type="body" sz="quarter" idx="69" hasCustomPrompt="1"/>
          </p:nvPr>
        </p:nvSpPr>
        <p:spPr>
          <a:xfrm>
            <a:off x="9103918" y="5634172"/>
            <a:ext cx="342680" cy="461665"/>
          </a:xfrm>
        </p:spPr>
        <p:txBody>
          <a:bodyPr wrap="none">
            <a:noAutofit/>
          </a:bodyPr>
          <a:lstStyle>
            <a:lvl1pPr algn="r">
              <a:spcAft>
                <a:spcPts val="0"/>
              </a:spcAft>
              <a:defRPr sz="1000">
                <a:solidFill>
                  <a:schemeClr val="bg2"/>
                </a:solidFill>
              </a:defRPr>
            </a:lvl1pPr>
            <a:lvl2pPr marL="0" indent="0">
              <a:buNone/>
              <a:defRPr/>
            </a:lvl2pPr>
          </a:lstStyle>
          <a:p>
            <a:pPr lvl="0"/>
            <a:r>
              <a:rPr lang="de-DE"/>
              <a:t>01</a:t>
            </a:r>
          </a:p>
        </p:txBody>
      </p:sp>
      <p:cxnSp>
        <p:nvCxnSpPr>
          <p:cNvPr id="20" name="Gerade Verbindung 71">
            <a:extLst>
              <a:ext uri="{FF2B5EF4-FFF2-40B4-BE49-F238E27FC236}">
                <a16:creationId xmlns:a16="http://schemas.microsoft.com/office/drawing/2014/main" id="{DCD48792-2155-489C-A782-DE9270EDD7B6}"/>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F962FD86-F3E7-4444-A66E-F5DC528E3073}"/>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3679179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d- Text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5433216"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9" name="Gerade Verbindung 71">
            <a:extLst>
              <a:ext uri="{FF2B5EF4-FFF2-40B4-BE49-F238E27FC236}">
                <a16:creationId xmlns:a16="http://schemas.microsoft.com/office/drawing/2014/main" id="{B373B185-DA03-4F17-9BE9-B716E16FE702}"/>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3" name="Textplatzhalter 8">
            <a:extLst>
              <a:ext uri="{FF2B5EF4-FFF2-40B4-BE49-F238E27FC236}">
                <a16:creationId xmlns:a16="http://schemas.microsoft.com/office/drawing/2014/main" id="{F1578027-2A9A-485E-94CA-26294C7CB327}"/>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4" name="Textplatzhalter 3">
            <a:extLst>
              <a:ext uri="{FF2B5EF4-FFF2-40B4-BE49-F238E27FC236}">
                <a16:creationId xmlns:a16="http://schemas.microsoft.com/office/drawing/2014/main" id="{02C0F8EF-24A8-485F-AAF4-B9275B071EB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1" name="Gerade Verbindung 71">
            <a:extLst>
              <a:ext uri="{FF2B5EF4-FFF2-40B4-BE49-F238E27FC236}">
                <a16:creationId xmlns:a16="http://schemas.microsoft.com/office/drawing/2014/main" id="{D754BE1D-D807-41C3-AF04-11BE8305EB34}"/>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D74DA190-BDAA-4CB1-8024-FA9327187178}"/>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312973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ild- Textfolie | 2 Bilder">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110DE13-884C-476D-A18E-6F6ED1A03B99}"/>
              </a:ext>
            </a:extLst>
          </p:cNvPr>
          <p:cNvSpPr>
            <a:spLocks noGrp="1"/>
          </p:cNvSpPr>
          <p:nvPr>
            <p:ph type="pic" sz="quarter" idx="57" hasCustomPrompt="1"/>
          </p:nvPr>
        </p:nvSpPr>
        <p:spPr>
          <a:xfrm>
            <a:off x="518319"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sp>
        <p:nvSpPr>
          <p:cNvPr id="11" name="Bildplatzhalter 9">
            <a:extLst>
              <a:ext uri="{FF2B5EF4-FFF2-40B4-BE49-F238E27FC236}">
                <a16:creationId xmlns:a16="http://schemas.microsoft.com/office/drawing/2014/main" id="{5A4E8199-7A92-4A66-8124-B13B4C014735}"/>
              </a:ext>
            </a:extLst>
          </p:cNvPr>
          <p:cNvSpPr>
            <a:spLocks noGrp="1"/>
          </p:cNvSpPr>
          <p:nvPr>
            <p:ph type="pic" sz="quarter" idx="58" hasCustomPrompt="1"/>
          </p:nvPr>
        </p:nvSpPr>
        <p:spPr>
          <a:xfrm>
            <a:off x="3379392" y="1631837"/>
            <a:ext cx="2572145" cy="4464000"/>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2" name="Gerade Verbindung 71">
            <a:extLst>
              <a:ext uri="{FF2B5EF4-FFF2-40B4-BE49-F238E27FC236}">
                <a16:creationId xmlns:a16="http://schemas.microsoft.com/office/drawing/2014/main" id="{507CC524-2144-4589-B013-A85FB1062C25}"/>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5" name="Textplatzhalter 8">
            <a:extLst>
              <a:ext uri="{FF2B5EF4-FFF2-40B4-BE49-F238E27FC236}">
                <a16:creationId xmlns:a16="http://schemas.microsoft.com/office/drawing/2014/main" id="{061F6D30-1E0B-46ED-9FBA-4F7AF9D857E8}"/>
              </a:ext>
            </a:extLst>
          </p:cNvPr>
          <p:cNvSpPr>
            <a:spLocks noGrp="1"/>
          </p:cNvSpPr>
          <p:nvPr>
            <p:ph type="body" sz="quarter" idx="64"/>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6" name="Textplatzhalter 3">
            <a:extLst>
              <a:ext uri="{FF2B5EF4-FFF2-40B4-BE49-F238E27FC236}">
                <a16:creationId xmlns:a16="http://schemas.microsoft.com/office/drawing/2014/main" id="{E782CB96-581D-4138-8E6D-A203BF9A3FAC}"/>
              </a:ext>
            </a:extLst>
          </p:cNvPr>
          <p:cNvSpPr>
            <a:spLocks noGrp="1"/>
          </p:cNvSpPr>
          <p:nvPr>
            <p:ph type="body" sz="quarter" idx="65"/>
          </p:nvPr>
        </p:nvSpPr>
        <p:spPr>
          <a:xfrm>
            <a:off x="6242844" y="1631837"/>
            <a:ext cx="5433219" cy="3618392"/>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CDA597C6-0A4F-4BA3-9D9F-D018CC3CEB6B}"/>
              </a:ext>
            </a:extLst>
          </p:cNvPr>
          <p:cNvSpPr>
            <a:spLocks noGrp="1"/>
          </p:cNvSpPr>
          <p:nvPr>
            <p:ph type="body" sz="quarter" idx="66" hasCustomPrompt="1"/>
          </p:nvPr>
        </p:nvSpPr>
        <p:spPr>
          <a:xfrm>
            <a:off x="7611773"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2</a:t>
            </a:r>
            <a:br>
              <a:rPr lang="de-DE"/>
            </a:br>
            <a:r>
              <a:rPr lang="de-DE"/>
              <a:t>Mastertextformat</a:t>
            </a:r>
            <a:br>
              <a:rPr lang="de-DE"/>
            </a:br>
            <a:r>
              <a:rPr lang="de-DE"/>
              <a:t>bearbeiten</a:t>
            </a:r>
          </a:p>
        </p:txBody>
      </p:sp>
      <p:sp>
        <p:nvSpPr>
          <p:cNvPr id="18" name="Textplatzhalter 3">
            <a:extLst>
              <a:ext uri="{FF2B5EF4-FFF2-40B4-BE49-F238E27FC236}">
                <a16:creationId xmlns:a16="http://schemas.microsoft.com/office/drawing/2014/main" id="{7BB86B27-C1F4-4CF2-B198-5D4BFE7A1B2D}"/>
              </a:ext>
            </a:extLst>
          </p:cNvPr>
          <p:cNvSpPr>
            <a:spLocks noGrp="1"/>
          </p:cNvSpPr>
          <p:nvPr>
            <p:ph type="body" sz="quarter" idx="67" hasCustomPrompt="1"/>
          </p:nvPr>
        </p:nvSpPr>
        <p:spPr>
          <a:xfrm>
            <a:off x="6242846" y="5634172"/>
            <a:ext cx="1080000"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01</a:t>
            </a:r>
            <a:br>
              <a:rPr lang="de-DE"/>
            </a:br>
            <a:r>
              <a:rPr lang="de-DE"/>
              <a:t>Mastertextformat</a:t>
            </a:r>
            <a:br>
              <a:rPr lang="de-DE"/>
            </a:br>
            <a:r>
              <a:rPr lang="de-DE"/>
              <a:t>bearbeiten</a:t>
            </a:r>
          </a:p>
        </p:txBody>
      </p:sp>
      <p:sp>
        <p:nvSpPr>
          <p:cNvPr id="19" name="Textplatzhalter 3">
            <a:extLst>
              <a:ext uri="{FF2B5EF4-FFF2-40B4-BE49-F238E27FC236}">
                <a16:creationId xmlns:a16="http://schemas.microsoft.com/office/drawing/2014/main" id="{EB97C8C8-4903-4649-A7C4-146F348AE411}"/>
              </a:ext>
            </a:extLst>
          </p:cNvPr>
          <p:cNvSpPr>
            <a:spLocks noGrp="1"/>
          </p:cNvSpPr>
          <p:nvPr>
            <p:ph type="body" sz="quarter" idx="68" hasCustomPrompt="1"/>
          </p:nvPr>
        </p:nvSpPr>
        <p:spPr>
          <a:xfrm>
            <a:off x="2747784"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sp>
        <p:nvSpPr>
          <p:cNvPr id="20" name="Textplatzhalter 3">
            <a:extLst>
              <a:ext uri="{FF2B5EF4-FFF2-40B4-BE49-F238E27FC236}">
                <a16:creationId xmlns:a16="http://schemas.microsoft.com/office/drawing/2014/main" id="{6F952D61-AD88-4D90-9FD3-D4025F3F52B4}"/>
              </a:ext>
            </a:extLst>
          </p:cNvPr>
          <p:cNvSpPr>
            <a:spLocks noGrp="1"/>
          </p:cNvSpPr>
          <p:nvPr>
            <p:ph type="body" sz="quarter" idx="69" hasCustomPrompt="1"/>
          </p:nvPr>
        </p:nvSpPr>
        <p:spPr>
          <a:xfrm>
            <a:off x="5608857" y="5634172"/>
            <a:ext cx="342680" cy="461665"/>
          </a:xfrm>
        </p:spPr>
        <p:txBody>
          <a:bodyPr wrap="none">
            <a:noAutofit/>
          </a:bodyPr>
          <a:lstStyle>
            <a:lvl1pPr algn="l">
              <a:spcAft>
                <a:spcPts val="0"/>
              </a:spcAft>
              <a:defRPr sz="1000">
                <a:solidFill>
                  <a:schemeClr val="bg2"/>
                </a:solidFill>
              </a:defRPr>
            </a:lvl1pPr>
            <a:lvl2pPr marL="0" indent="0">
              <a:buNone/>
              <a:defRPr/>
            </a:lvl2pPr>
          </a:lstStyle>
          <a:p>
            <a:pPr lvl="0"/>
            <a:r>
              <a:rPr lang="de-DE"/>
              <a:t>01</a:t>
            </a:r>
          </a:p>
        </p:txBody>
      </p:sp>
      <p:cxnSp>
        <p:nvCxnSpPr>
          <p:cNvPr id="21" name="Gerade Verbindung 71">
            <a:extLst>
              <a:ext uri="{FF2B5EF4-FFF2-40B4-BE49-F238E27FC236}">
                <a16:creationId xmlns:a16="http://schemas.microsoft.com/office/drawing/2014/main" id="{9F0A74BF-6F8E-4358-901D-D493ED7F05C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EF838FAD-B7B0-40C8-A084-8E7E552AD989}"/>
              </a:ext>
            </a:extLst>
          </p:cNvPr>
          <p:cNvSpPr>
            <a:spLocks noGrp="1"/>
          </p:cNvSpPr>
          <p:nvPr>
            <p:ph type="sldNum" sz="quarter" idx="7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49983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d- Textfolie | 3x Bild, 1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vl1pPr>
          </a:lstStyle>
          <a:p>
            <a:r>
              <a:rPr lang="de-DE"/>
              <a:t> </a:t>
            </a:r>
          </a:p>
        </p:txBody>
      </p:sp>
      <p:sp>
        <p:nvSpPr>
          <p:cNvPr id="16" name="Bildplatzhalter 3">
            <a:extLst>
              <a:ext uri="{FF2B5EF4-FFF2-40B4-BE49-F238E27FC236}">
                <a16:creationId xmlns:a16="http://schemas.microsoft.com/office/drawing/2014/main" id="{5D5B8114-B5D9-41DA-B646-7C160DB49805}"/>
              </a:ext>
            </a:extLst>
          </p:cNvPr>
          <p:cNvSpPr>
            <a:spLocks noGrp="1"/>
          </p:cNvSpPr>
          <p:nvPr>
            <p:ph type="pic" sz="quarter" idx="72" hasCustomPrompt="1"/>
          </p:nvPr>
        </p:nvSpPr>
        <p:spPr>
          <a:xfrm>
            <a:off x="3380880" y="1631837"/>
            <a:ext cx="2570061" cy="4460988"/>
          </a:xfrm>
          <a:solidFill>
            <a:schemeClr val="bg2">
              <a:lumMod val="95000"/>
            </a:schemeClr>
          </a:solidFill>
        </p:spPr>
        <p:txBody>
          <a:bodyPr/>
          <a:lstStyle>
            <a:lvl1pPr>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4" name="Gerade Verbindung 71">
            <a:extLst>
              <a:ext uri="{FF2B5EF4-FFF2-40B4-BE49-F238E27FC236}">
                <a16:creationId xmlns:a16="http://schemas.microsoft.com/office/drawing/2014/main" id="{156DDED1-AB20-4327-B15A-E1C685C766CA}"/>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C5EAE03-4888-4842-BFB8-97CBB9A429F0}"/>
              </a:ext>
            </a:extLst>
          </p:cNvPr>
          <p:cNvSpPr>
            <a:spLocks noGrp="1"/>
          </p:cNvSpPr>
          <p:nvPr>
            <p:ph type="sldNum" sz="quarter" idx="75"/>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770870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ld- Textfolie | 2x Bild, 2x Text">
    <p:spTree>
      <p:nvGrpSpPr>
        <p:cNvPr id="1" name=""/>
        <p:cNvGrpSpPr/>
        <p:nvPr/>
      </p:nvGrpSpPr>
      <p:grpSpPr>
        <a:xfrm>
          <a:off x="0" y="0"/>
          <a:ext cx="0" cy="0"/>
          <a:chOff x="0" y="0"/>
          <a:chExt cx="0" cy="0"/>
        </a:xfrm>
      </p:grpSpPr>
      <p:sp>
        <p:nvSpPr>
          <p:cNvPr id="15" name="Bildplatzhalter 3">
            <a:extLst>
              <a:ext uri="{FF2B5EF4-FFF2-40B4-BE49-F238E27FC236}">
                <a16:creationId xmlns:a16="http://schemas.microsoft.com/office/drawing/2014/main" id="{6E754CB4-F023-45A0-B611-0ED33750D9DF}"/>
              </a:ext>
            </a:extLst>
          </p:cNvPr>
          <p:cNvSpPr>
            <a:spLocks noGrp="1"/>
          </p:cNvSpPr>
          <p:nvPr>
            <p:ph type="pic" sz="quarter" idx="71" hasCustomPrompt="1"/>
          </p:nvPr>
        </p:nvSpPr>
        <p:spPr>
          <a:xfrm>
            <a:off x="6243442"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6090A1F3-A7AB-42F7-9FBF-8736DC5882DB}"/>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9" name="Textplatzhalter 3">
            <a:extLst>
              <a:ext uri="{FF2B5EF4-FFF2-40B4-BE49-F238E27FC236}">
                <a16:creationId xmlns:a16="http://schemas.microsoft.com/office/drawing/2014/main" id="{29D348FF-9AC7-4A00-B1A3-468BE3014FEC}"/>
              </a:ext>
            </a:extLst>
          </p:cNvPr>
          <p:cNvSpPr>
            <a:spLocks noGrp="1"/>
          </p:cNvSpPr>
          <p:nvPr>
            <p:ph type="body" sz="quarter" idx="69"/>
          </p:nvPr>
        </p:nvSpPr>
        <p:spPr>
          <a:xfrm>
            <a:off x="9106002"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Bildplatzhalter 3">
            <a:extLst>
              <a:ext uri="{FF2B5EF4-FFF2-40B4-BE49-F238E27FC236}">
                <a16:creationId xmlns:a16="http://schemas.microsoft.com/office/drawing/2014/main" id="{08BEA3D8-5EE9-4798-8C5D-DB778BA72105}"/>
              </a:ext>
            </a:extLst>
          </p:cNvPr>
          <p:cNvSpPr>
            <a:spLocks noGrp="1"/>
          </p:cNvSpPr>
          <p:nvPr>
            <p:ph type="pic" sz="quarter" idx="70" hasCustomPrompt="1"/>
          </p:nvPr>
        </p:nvSpPr>
        <p:spPr>
          <a:xfrm>
            <a:off x="518319" y="1631837"/>
            <a:ext cx="2570061" cy="4460988"/>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20" name="Textplatzhalter 3">
            <a:extLst>
              <a:ext uri="{FF2B5EF4-FFF2-40B4-BE49-F238E27FC236}">
                <a16:creationId xmlns:a16="http://schemas.microsoft.com/office/drawing/2014/main" id="{7ADB94BB-27AF-4A29-A952-D0905290E0FA}"/>
              </a:ext>
            </a:extLst>
          </p:cNvPr>
          <p:cNvSpPr>
            <a:spLocks noGrp="1"/>
          </p:cNvSpPr>
          <p:nvPr>
            <p:ph type="body" sz="quarter" idx="67" hasCustomPrompt="1"/>
          </p:nvPr>
        </p:nvSpPr>
        <p:spPr>
          <a:xfrm>
            <a:off x="9106001"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sp>
        <p:nvSpPr>
          <p:cNvPr id="14" name="Textplatzhalter 3">
            <a:extLst>
              <a:ext uri="{FF2B5EF4-FFF2-40B4-BE49-F238E27FC236}">
                <a16:creationId xmlns:a16="http://schemas.microsoft.com/office/drawing/2014/main" id="{4E465F10-F1D4-4895-B962-24BDBDE68DC0}"/>
              </a:ext>
            </a:extLst>
          </p:cNvPr>
          <p:cNvSpPr>
            <a:spLocks noGrp="1"/>
          </p:cNvSpPr>
          <p:nvPr>
            <p:ph type="body" sz="quarter" idx="72"/>
          </p:nvPr>
        </p:nvSpPr>
        <p:spPr>
          <a:xfrm>
            <a:off x="3380880" y="1631837"/>
            <a:ext cx="2570061" cy="3618387"/>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BD1C0236-2D51-4C28-B36B-9C19644B9B5F}"/>
              </a:ext>
            </a:extLst>
          </p:cNvPr>
          <p:cNvSpPr>
            <a:spLocks noGrp="1"/>
          </p:cNvSpPr>
          <p:nvPr>
            <p:ph type="body" sz="quarter" idx="73" hasCustomPrompt="1"/>
          </p:nvPr>
        </p:nvSpPr>
        <p:spPr>
          <a:xfrm>
            <a:off x="3380880" y="5634172"/>
            <a:ext cx="2570061" cy="461665"/>
          </a:xfrm>
        </p:spPr>
        <p:txBody>
          <a:bodyPr wrap="square">
            <a:noAutofit/>
          </a:bodyPr>
          <a:lstStyle>
            <a:lvl1pPr algn="l">
              <a:spcAft>
                <a:spcPts val="0"/>
              </a:spcAft>
              <a:defRPr sz="1000">
                <a:latin typeface="ZEISS Frutiger Next W1G"/>
                <a:cs typeface="Arial" panose="020B0604020202020204" pitchFamily="34" charset="0"/>
              </a:defRPr>
            </a:lvl1pPr>
            <a:lvl2pPr marL="0" indent="0">
              <a:buNone/>
              <a:defRPr/>
            </a:lvl2pPr>
          </a:lstStyle>
          <a:p>
            <a:pPr lvl="0"/>
            <a:r>
              <a:rPr lang="de-DE"/>
              <a:t>Mastertextformat</a:t>
            </a:r>
            <a:br>
              <a:rPr lang="de-DE"/>
            </a:br>
            <a:r>
              <a:rPr lang="de-DE"/>
              <a:t>bearbeiten</a:t>
            </a:r>
          </a:p>
        </p:txBody>
      </p:sp>
      <p:cxnSp>
        <p:nvCxnSpPr>
          <p:cNvPr id="16" name="Gerade Verbindung 71">
            <a:extLst>
              <a:ext uri="{FF2B5EF4-FFF2-40B4-BE49-F238E27FC236}">
                <a16:creationId xmlns:a16="http://schemas.microsoft.com/office/drawing/2014/main" id="{B80848F1-2462-4919-81BF-023DB1F5427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B5F2D4D1-58F5-41C5-A804-52C04C2A0B5D}"/>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2915814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ld- Textfolie | 2x Bild, 2x Text - unter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1" name="Textplatzhalter 3">
            <a:extLst>
              <a:ext uri="{FF2B5EF4-FFF2-40B4-BE49-F238E27FC236}">
                <a16:creationId xmlns:a16="http://schemas.microsoft.com/office/drawing/2014/main" id="{2A5093DB-E40A-443C-AE2F-5BD6332BA4DD}"/>
              </a:ext>
            </a:extLst>
          </p:cNvPr>
          <p:cNvSpPr>
            <a:spLocks noGrp="1"/>
          </p:cNvSpPr>
          <p:nvPr>
            <p:ph type="body" sz="quarter" idx="70"/>
          </p:nvPr>
        </p:nvSpPr>
        <p:spPr>
          <a:xfrm>
            <a:off x="6242844" y="1631837"/>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4" name="Bildplatzhalter 4">
            <a:extLst>
              <a:ext uri="{FF2B5EF4-FFF2-40B4-BE49-F238E27FC236}">
                <a16:creationId xmlns:a16="http://schemas.microsoft.com/office/drawing/2014/main" id="{F2E74611-DA65-4DA5-8289-B430E76A77AF}"/>
              </a:ext>
            </a:extLst>
          </p:cNvPr>
          <p:cNvSpPr>
            <a:spLocks noGrp="1"/>
          </p:cNvSpPr>
          <p:nvPr>
            <p:ph type="pic" sz="quarter" idx="73" hasCustomPrompt="1"/>
          </p:nvPr>
        </p:nvSpPr>
        <p:spPr>
          <a:xfrm>
            <a:off x="518318" y="4006299"/>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cxnSp>
        <p:nvCxnSpPr>
          <p:cNvPr id="15" name="Gerade Verbindung 71">
            <a:extLst>
              <a:ext uri="{FF2B5EF4-FFF2-40B4-BE49-F238E27FC236}">
                <a16:creationId xmlns:a16="http://schemas.microsoft.com/office/drawing/2014/main" id="{7F304551-C66B-4CDC-802C-E89380C7CAF2}"/>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9F0C0F5E-7238-4B4A-AC7B-126DDC533F68}"/>
              </a:ext>
            </a:extLst>
          </p:cNvPr>
          <p:cNvSpPr>
            <a:spLocks noGrp="1"/>
          </p:cNvSpPr>
          <p:nvPr>
            <p:ph type="sldNum" sz="quarter" idx="7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966153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Extern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a:lvl1pPr>
          </a:lstStyle>
          <a:p>
            <a:r>
              <a:rPr lang="de-DE"/>
              <a:t>Mastertitelformat bearbeiten</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ZEISS Frutiger Next W1G"/>
                <a:cs typeface="Arial" panose="020B0604020202020204" pitchFamily="34" charset="0"/>
              </a:defRPr>
            </a:lvl1pPr>
          </a:lstStyle>
          <a:p>
            <a:pPr lvl="0"/>
            <a:r>
              <a:rPr lang="de-DE"/>
              <a:t>Mastertextformat bearbeiten</a:t>
            </a:r>
          </a:p>
        </p:txBody>
      </p:sp>
      <p:sp>
        <p:nvSpPr>
          <p:cNvPr id="51" name="Textplatzhalter 14">
            <a:extLst>
              <a:ext uri="{FF2B5EF4-FFF2-40B4-BE49-F238E27FC236}">
                <a16:creationId xmlns:a16="http://schemas.microsoft.com/office/drawing/2014/main" id="{501BEDEB-A8AE-4EFD-9CDF-207454EBAE70}"/>
              </a:ext>
            </a:extLst>
          </p:cNvPr>
          <p:cNvSpPr>
            <a:spLocks noGrp="1"/>
          </p:cNvSpPr>
          <p:nvPr>
            <p:ph type="body" sz="quarter" idx="13" hasCustomPrompt="1"/>
          </p:nvPr>
        </p:nvSpPr>
        <p:spPr>
          <a:xfrm>
            <a:off x="518319" y="4963183"/>
            <a:ext cx="4319999" cy="184666"/>
          </a:xfrm>
        </p:spPr>
        <p:txBody>
          <a:bodyPr>
            <a:spAutoFit/>
          </a:bodyPr>
          <a:lstStyle>
            <a:lvl1pPr>
              <a:defRPr sz="1200" b="1">
                <a:solidFill>
                  <a:schemeClr val="tx1"/>
                </a:solidFill>
                <a:latin typeface="ZEISS Frutiger Next W1G"/>
                <a:cs typeface="Arial" panose="020B0604020202020204" pitchFamily="34" charset="0"/>
              </a:defRPr>
            </a:lvl1pPr>
          </a:lstStyle>
          <a:p>
            <a:pPr lvl="0"/>
            <a:r>
              <a:rPr lang="de-DE"/>
              <a:t>Ersteller</a:t>
            </a:r>
          </a:p>
        </p:txBody>
      </p:sp>
      <p:sp>
        <p:nvSpPr>
          <p:cNvPr id="52" name="Textplatzhalter 14">
            <a:extLst>
              <a:ext uri="{FF2B5EF4-FFF2-40B4-BE49-F238E27FC236}">
                <a16:creationId xmlns:a16="http://schemas.microsoft.com/office/drawing/2014/main" id="{D7F978A2-D352-4AAC-BEB1-0402A13EE71A}"/>
              </a:ext>
            </a:extLst>
          </p:cNvPr>
          <p:cNvSpPr>
            <a:spLocks noGrp="1"/>
          </p:cNvSpPr>
          <p:nvPr>
            <p:ph type="body" sz="quarter" idx="14" hasCustomPrompt="1"/>
          </p:nvPr>
        </p:nvSpPr>
        <p:spPr>
          <a:xfrm>
            <a:off x="518319" y="5139395"/>
            <a:ext cx="4319999" cy="184666"/>
          </a:xfrm>
        </p:spPr>
        <p:txBody>
          <a:bodyPr>
            <a:spAutoFit/>
          </a:bodyPr>
          <a:lstStyle>
            <a:lvl1pPr>
              <a:defRPr sz="1200" b="0">
                <a:solidFill>
                  <a:schemeClr val="tx1"/>
                </a:solidFill>
                <a:latin typeface="ZEISS Frutiger Next W1G"/>
                <a:cs typeface="Arial" panose="020B0604020202020204" pitchFamily="34" charset="0"/>
              </a:defRPr>
            </a:lvl1pPr>
          </a:lstStyle>
          <a:p>
            <a:pPr lvl="0"/>
            <a:r>
              <a:rPr lang="de-DE"/>
              <a:t>Abteilung</a:t>
            </a:r>
          </a:p>
        </p:txBody>
      </p:sp>
      <p:cxnSp>
        <p:nvCxnSpPr>
          <p:cNvPr id="53" name="Gerade Verbindung 22">
            <a:extLst>
              <a:ext uri="{FF2B5EF4-FFF2-40B4-BE49-F238E27FC236}">
                <a16:creationId xmlns:a16="http://schemas.microsoft.com/office/drawing/2014/main" id="{9D058BB7-35BD-4743-A2CE-335778ABA86A}"/>
              </a:ext>
            </a:extLst>
          </p:cNvPr>
          <p:cNvCxnSpPr>
            <a:cxnSpLocks/>
          </p:cNvCxnSpPr>
          <p:nvPr/>
        </p:nvCxnSpPr>
        <p:spPr>
          <a:xfrm>
            <a:off x="518319" y="4887206"/>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4" name="Gerade Verbindung 22">
            <a:extLst>
              <a:ext uri="{FF2B5EF4-FFF2-40B4-BE49-F238E27FC236}">
                <a16:creationId xmlns:a16="http://schemas.microsoft.com/office/drawing/2014/main" id="{B1AAF8F8-2819-4C84-B15F-6801F5454C9E}"/>
              </a:ext>
            </a:extLst>
          </p:cNvPr>
          <p:cNvCxnSpPr>
            <a:cxnSpLocks/>
          </p:cNvCxnSpPr>
          <p:nvPr/>
        </p:nvCxnSpPr>
        <p:spPr>
          <a:xfrm>
            <a:off x="518319" y="5575864"/>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5" name="Gerade Verbindung 22">
            <a:extLst>
              <a:ext uri="{FF2B5EF4-FFF2-40B4-BE49-F238E27FC236}">
                <a16:creationId xmlns:a16="http://schemas.microsoft.com/office/drawing/2014/main" id="{9BD901D7-DE81-4C82-B0AD-09E48E69503F}"/>
              </a:ext>
            </a:extLst>
          </p:cNvPr>
          <p:cNvCxnSpPr>
            <a:cxnSpLocks/>
          </p:cNvCxnSpPr>
          <p:nvPr/>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28" name="Gerade Verbindung 22">
            <a:extLst>
              <a:ext uri="{FF2B5EF4-FFF2-40B4-BE49-F238E27FC236}">
                <a16:creationId xmlns:a16="http://schemas.microsoft.com/office/drawing/2014/main" id="{89ECB648-6558-4C1A-B652-7EF5CAECC96D}"/>
              </a:ext>
            </a:extLst>
          </p:cNvPr>
          <p:cNvCxnSpPr>
            <a:cxnSpLocks/>
          </p:cNvCxnSpPr>
          <p:nvPr userDrawn="1"/>
        </p:nvCxnSpPr>
        <p:spPr>
          <a:xfrm>
            <a:off x="518319"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48" name="Datumsplatzhalter 1">
            <a:extLst>
              <a:ext uri="{FF2B5EF4-FFF2-40B4-BE49-F238E27FC236}">
                <a16:creationId xmlns:a16="http://schemas.microsoft.com/office/drawing/2014/main" id="{2A4B3BE6-913A-4465-BEEB-46F60DD5DA84}"/>
              </a:ext>
            </a:extLst>
          </p:cNvPr>
          <p:cNvSpPr>
            <a:spLocks noGrp="1"/>
          </p:cNvSpPr>
          <p:nvPr>
            <p:ph type="dt" sz="half" idx="16"/>
          </p:nvPr>
        </p:nvSpPr>
        <p:spPr>
          <a:xfrm>
            <a:off x="518319" y="5651841"/>
            <a:ext cx="1825821" cy="184666"/>
          </a:xfrm>
          <a:prstGeom prst="rect">
            <a:avLst/>
          </a:prstGeom>
        </p:spPr>
        <p:txBody>
          <a:bodyPr vert="horz" lIns="0" tIns="0" rIns="0" bIns="0" rtlCol="0" anchor="t" anchorCtr="0">
            <a:spAutoFit/>
          </a:bodyPr>
          <a:lstStyle>
            <a:lvl1pPr>
              <a:defRPr lang="de-DE" sz="1200" b="1" smtClean="0">
                <a:latin typeface="ZEISS Frutiger Next W1G"/>
                <a:cs typeface="Arial" panose="020B0604020202020204" pitchFamily="34" charset="0"/>
              </a:defRPr>
            </a:lvl1pPr>
          </a:lstStyle>
          <a:p>
            <a:pPr>
              <a:spcAft>
                <a:spcPts val="800"/>
              </a:spcAft>
              <a:buFont typeface="Arial" panose="020B0604020202020204" pitchFamily="34" charset="0"/>
              <a:buNone/>
            </a:pPr>
            <a:r>
              <a:rPr lang="en-US"/>
              <a:t>Tuesday, October 8, 2024</a:t>
            </a:r>
            <a:endParaRPr lang="de-DE"/>
          </a:p>
        </p:txBody>
      </p:sp>
      <p:grpSp>
        <p:nvGrpSpPr>
          <p:cNvPr id="46" name="Gruppieren 45">
            <a:extLst>
              <a:ext uri="{FF2B5EF4-FFF2-40B4-BE49-F238E27FC236}">
                <a16:creationId xmlns:a16="http://schemas.microsoft.com/office/drawing/2014/main" id="{B9B08A74-6918-4896-B3CC-5EC9B14AF7AF}"/>
              </a:ext>
            </a:extLst>
          </p:cNvPr>
          <p:cNvGrpSpPr/>
          <p:nvPr userDrawn="1"/>
        </p:nvGrpSpPr>
        <p:grpSpPr>
          <a:xfrm>
            <a:off x="299275" y="-697714"/>
            <a:ext cx="11375605" cy="411956"/>
            <a:chOff x="299275" y="6944502"/>
            <a:chExt cx="11375605" cy="411956"/>
          </a:xfrm>
        </p:grpSpPr>
        <p:grpSp>
          <p:nvGrpSpPr>
            <p:cNvPr id="47" name="Gruppieren 46">
              <a:extLst>
                <a:ext uri="{FF2B5EF4-FFF2-40B4-BE49-F238E27FC236}">
                  <a16:creationId xmlns:a16="http://schemas.microsoft.com/office/drawing/2014/main" id="{10CDC35F-3363-4C6A-800A-D19612163477}"/>
                </a:ext>
              </a:extLst>
            </p:cNvPr>
            <p:cNvGrpSpPr/>
            <p:nvPr/>
          </p:nvGrpSpPr>
          <p:grpSpPr>
            <a:xfrm rot="16200000">
              <a:off x="201628" y="7042149"/>
              <a:ext cx="411956" cy="216662"/>
              <a:chOff x="-615197" y="4295013"/>
              <a:chExt cx="411956" cy="216662"/>
            </a:xfrm>
          </p:grpSpPr>
          <p:cxnSp>
            <p:nvCxnSpPr>
              <p:cNvPr id="66" name="Gerader Verbinder 65">
                <a:extLst>
                  <a:ext uri="{FF2B5EF4-FFF2-40B4-BE49-F238E27FC236}">
                    <a16:creationId xmlns:a16="http://schemas.microsoft.com/office/drawing/2014/main" id="{C0943440-DDFE-469F-B9B5-0E58AD6A924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Textfeld 82">
                <a:extLst>
                  <a:ext uri="{FF2B5EF4-FFF2-40B4-BE49-F238E27FC236}">
                    <a16:creationId xmlns:a16="http://schemas.microsoft.com/office/drawing/2014/main" id="{7185C30C-099F-4E61-ABB9-CDE19474EC5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2665B96F-96D0-4AFB-989F-365519FA8C38}"/>
                </a:ext>
              </a:extLst>
            </p:cNvPr>
            <p:cNvGrpSpPr/>
            <p:nvPr/>
          </p:nvGrpSpPr>
          <p:grpSpPr>
            <a:xfrm rot="16200000">
              <a:off x="5637228" y="7042149"/>
              <a:ext cx="411956" cy="216662"/>
              <a:chOff x="-615197" y="4295013"/>
              <a:chExt cx="411956" cy="216662"/>
            </a:xfrm>
          </p:grpSpPr>
          <p:cxnSp>
            <p:nvCxnSpPr>
              <p:cNvPr id="62" name="Gerader Verbinder 61">
                <a:extLst>
                  <a:ext uri="{FF2B5EF4-FFF2-40B4-BE49-F238E27FC236}">
                    <a16:creationId xmlns:a16="http://schemas.microsoft.com/office/drawing/2014/main" id="{A72BC813-A3E2-4DFF-A52D-0322177253C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EF28719C-6C46-425F-8047-859630BEDBC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0" name="Gruppieren 49">
              <a:extLst>
                <a:ext uri="{FF2B5EF4-FFF2-40B4-BE49-F238E27FC236}">
                  <a16:creationId xmlns:a16="http://schemas.microsoft.com/office/drawing/2014/main" id="{34D83414-AF9D-4E67-869D-417D60D91887}"/>
                </a:ext>
              </a:extLst>
            </p:cNvPr>
            <p:cNvGrpSpPr/>
            <p:nvPr/>
          </p:nvGrpSpPr>
          <p:grpSpPr>
            <a:xfrm rot="5400000">
              <a:off x="6093326" y="7042149"/>
              <a:ext cx="411956" cy="216662"/>
              <a:chOff x="-615197" y="4346120"/>
              <a:chExt cx="411956" cy="216662"/>
            </a:xfrm>
          </p:grpSpPr>
          <p:cxnSp>
            <p:nvCxnSpPr>
              <p:cNvPr id="60" name="Gerader Verbinder 59">
                <a:extLst>
                  <a:ext uri="{FF2B5EF4-FFF2-40B4-BE49-F238E27FC236}">
                    <a16:creationId xmlns:a16="http://schemas.microsoft.com/office/drawing/2014/main" id="{2C52F9F0-652B-45E8-95BB-71427B24CA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feld 60">
                <a:extLst>
                  <a:ext uri="{FF2B5EF4-FFF2-40B4-BE49-F238E27FC236}">
                    <a16:creationId xmlns:a16="http://schemas.microsoft.com/office/drawing/2014/main" id="{95837572-3495-4B31-AED9-21AC0EEC9FED}"/>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CEBE2F24-DC34-4248-9FDD-4B998A1B05D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7" name="Gruppieren 56">
              <a:extLst>
                <a:ext uri="{FF2B5EF4-FFF2-40B4-BE49-F238E27FC236}">
                  <a16:creationId xmlns:a16="http://schemas.microsoft.com/office/drawing/2014/main" id="{40A74123-125F-4A91-996F-8CA721E84DE2}"/>
                </a:ext>
              </a:extLst>
            </p:cNvPr>
            <p:cNvGrpSpPr/>
            <p:nvPr/>
          </p:nvGrpSpPr>
          <p:grpSpPr>
            <a:xfrm rot="16200000">
              <a:off x="11360571" y="7042149"/>
              <a:ext cx="411956" cy="216662"/>
              <a:chOff x="-615197" y="4295013"/>
              <a:chExt cx="411956" cy="216662"/>
            </a:xfrm>
          </p:grpSpPr>
          <p:cxnSp>
            <p:nvCxnSpPr>
              <p:cNvPr id="58" name="Gerader Verbinder 57">
                <a:extLst>
                  <a:ext uri="{FF2B5EF4-FFF2-40B4-BE49-F238E27FC236}">
                    <a16:creationId xmlns:a16="http://schemas.microsoft.com/office/drawing/2014/main" id="{5D3FB217-A7F1-4465-9D59-77BCEB055C9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4935C03B-E9A2-4DE0-931D-CD9D14E48AE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100" name="Gruppieren 99">
            <a:extLst>
              <a:ext uri="{FF2B5EF4-FFF2-40B4-BE49-F238E27FC236}">
                <a16:creationId xmlns:a16="http://schemas.microsoft.com/office/drawing/2014/main" id="{351DE1A0-FBFF-46D0-8348-2048EF4045D8}"/>
              </a:ext>
            </a:extLst>
          </p:cNvPr>
          <p:cNvGrpSpPr/>
          <p:nvPr userDrawn="1"/>
        </p:nvGrpSpPr>
        <p:grpSpPr>
          <a:xfrm>
            <a:off x="-697714" y="80201"/>
            <a:ext cx="411956" cy="6729801"/>
            <a:chOff x="-502267" y="80201"/>
            <a:chExt cx="411956" cy="6729801"/>
          </a:xfrm>
        </p:grpSpPr>
        <p:grpSp>
          <p:nvGrpSpPr>
            <p:cNvPr id="101" name="Gruppieren 100">
              <a:extLst>
                <a:ext uri="{FF2B5EF4-FFF2-40B4-BE49-F238E27FC236}">
                  <a16:creationId xmlns:a16="http://schemas.microsoft.com/office/drawing/2014/main" id="{02FD3DF8-3D25-40DA-B56C-2DBFAE084507}"/>
                </a:ext>
              </a:extLst>
            </p:cNvPr>
            <p:cNvGrpSpPr/>
            <p:nvPr/>
          </p:nvGrpSpPr>
          <p:grpSpPr>
            <a:xfrm>
              <a:off x="-502267" y="6593340"/>
              <a:ext cx="411956" cy="216662"/>
              <a:chOff x="-615197" y="4452994"/>
              <a:chExt cx="411956" cy="216662"/>
            </a:xfrm>
          </p:grpSpPr>
          <p:sp>
            <p:nvSpPr>
              <p:cNvPr id="117" name="Textfeld 116">
                <a:extLst>
                  <a:ext uri="{FF2B5EF4-FFF2-40B4-BE49-F238E27FC236}">
                    <a16:creationId xmlns:a16="http://schemas.microsoft.com/office/drawing/2014/main" id="{0F0F86A8-95B3-4BD2-B06D-9BCD7756ABF4}"/>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18" name="Gerader Verbinder 117">
                <a:extLst>
                  <a:ext uri="{FF2B5EF4-FFF2-40B4-BE49-F238E27FC236}">
                    <a16:creationId xmlns:a16="http://schemas.microsoft.com/office/drawing/2014/main" id="{8E38CADC-1D31-4B5D-98B0-9CABB15624CD}"/>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2" name="Gruppieren 101">
              <a:extLst>
                <a:ext uri="{FF2B5EF4-FFF2-40B4-BE49-F238E27FC236}">
                  <a16:creationId xmlns:a16="http://schemas.microsoft.com/office/drawing/2014/main" id="{BA01828F-49E3-4DD1-8A18-488DC0EC04E9}"/>
                </a:ext>
              </a:extLst>
            </p:cNvPr>
            <p:cNvGrpSpPr/>
            <p:nvPr/>
          </p:nvGrpSpPr>
          <p:grpSpPr>
            <a:xfrm>
              <a:off x="-502267" y="5876163"/>
              <a:ext cx="411956" cy="216662"/>
              <a:chOff x="-615197" y="4295013"/>
              <a:chExt cx="411956" cy="216662"/>
            </a:xfrm>
          </p:grpSpPr>
          <p:cxnSp>
            <p:nvCxnSpPr>
              <p:cNvPr id="115" name="Gerader Verbinder 114">
                <a:extLst>
                  <a:ext uri="{FF2B5EF4-FFF2-40B4-BE49-F238E27FC236}">
                    <a16:creationId xmlns:a16="http://schemas.microsoft.com/office/drawing/2014/main" id="{7F807E15-F6EF-4990-B8E4-5280D91908A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6" name="Textfeld 115">
                <a:extLst>
                  <a:ext uri="{FF2B5EF4-FFF2-40B4-BE49-F238E27FC236}">
                    <a16:creationId xmlns:a16="http://schemas.microsoft.com/office/drawing/2014/main" id="{DDBAFB5F-C33D-4EFE-844A-DF67DBF78A9C}"/>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3" name="Gruppieren 102">
              <a:extLst>
                <a:ext uri="{FF2B5EF4-FFF2-40B4-BE49-F238E27FC236}">
                  <a16:creationId xmlns:a16="http://schemas.microsoft.com/office/drawing/2014/main" id="{C12AE862-D696-42EE-909F-D64C492CBCCA}"/>
                </a:ext>
              </a:extLst>
            </p:cNvPr>
            <p:cNvGrpSpPr/>
            <p:nvPr/>
          </p:nvGrpSpPr>
          <p:grpSpPr>
            <a:xfrm>
              <a:off x="-502267" y="3212338"/>
              <a:ext cx="411956" cy="216662"/>
              <a:chOff x="-615197" y="4295013"/>
              <a:chExt cx="411956" cy="216662"/>
            </a:xfrm>
          </p:grpSpPr>
          <p:cxnSp>
            <p:nvCxnSpPr>
              <p:cNvPr id="113" name="Gerader Verbinder 112">
                <a:extLst>
                  <a:ext uri="{FF2B5EF4-FFF2-40B4-BE49-F238E27FC236}">
                    <a16:creationId xmlns:a16="http://schemas.microsoft.com/office/drawing/2014/main" id="{E0FEF2C4-C2F3-4A23-8C07-B061DD00120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4" name="Textfeld 113">
                <a:extLst>
                  <a:ext uri="{FF2B5EF4-FFF2-40B4-BE49-F238E27FC236}">
                    <a16:creationId xmlns:a16="http://schemas.microsoft.com/office/drawing/2014/main" id="{5D8511BC-B7F5-4BC6-A815-5C125B4F276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4" name="Gruppieren 103">
              <a:extLst>
                <a:ext uri="{FF2B5EF4-FFF2-40B4-BE49-F238E27FC236}">
                  <a16:creationId xmlns:a16="http://schemas.microsoft.com/office/drawing/2014/main" id="{DA380AA3-7C1A-45EC-8A6C-CBD47FB056A1}"/>
                </a:ext>
              </a:extLst>
            </p:cNvPr>
            <p:cNvGrpSpPr/>
            <p:nvPr/>
          </p:nvGrpSpPr>
          <p:grpSpPr>
            <a:xfrm>
              <a:off x="-502267" y="835851"/>
              <a:ext cx="411956" cy="216662"/>
              <a:chOff x="-615197" y="4295013"/>
              <a:chExt cx="411956" cy="216662"/>
            </a:xfrm>
          </p:grpSpPr>
          <p:cxnSp>
            <p:nvCxnSpPr>
              <p:cNvPr id="111" name="Gerader Verbinder 110">
                <a:extLst>
                  <a:ext uri="{FF2B5EF4-FFF2-40B4-BE49-F238E27FC236}">
                    <a16:creationId xmlns:a16="http://schemas.microsoft.com/office/drawing/2014/main" id="{8C5A3431-647C-47F6-BCEE-D6F56C64EE7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2" name="Textfeld 111">
                <a:extLst>
                  <a:ext uri="{FF2B5EF4-FFF2-40B4-BE49-F238E27FC236}">
                    <a16:creationId xmlns:a16="http://schemas.microsoft.com/office/drawing/2014/main" id="{B736E92D-E681-43BE-A592-348085922C9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05" name="Gruppieren 104">
              <a:extLst>
                <a:ext uri="{FF2B5EF4-FFF2-40B4-BE49-F238E27FC236}">
                  <a16:creationId xmlns:a16="http://schemas.microsoft.com/office/drawing/2014/main" id="{C638EB2F-3EE6-4C30-8EA4-8D94CA2AAB13}"/>
                </a:ext>
              </a:extLst>
            </p:cNvPr>
            <p:cNvGrpSpPr/>
            <p:nvPr/>
          </p:nvGrpSpPr>
          <p:grpSpPr>
            <a:xfrm>
              <a:off x="-502267" y="1412113"/>
              <a:ext cx="411956" cy="216662"/>
              <a:chOff x="-615197" y="4295013"/>
              <a:chExt cx="411956" cy="216662"/>
            </a:xfrm>
          </p:grpSpPr>
          <p:cxnSp>
            <p:nvCxnSpPr>
              <p:cNvPr id="109" name="Gerader Verbinder 108">
                <a:extLst>
                  <a:ext uri="{FF2B5EF4-FFF2-40B4-BE49-F238E27FC236}">
                    <a16:creationId xmlns:a16="http://schemas.microsoft.com/office/drawing/2014/main" id="{83505431-2E6D-4471-A2FB-429BF6CAF35C}"/>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0" name="Textfeld 109">
                <a:extLst>
                  <a:ext uri="{FF2B5EF4-FFF2-40B4-BE49-F238E27FC236}">
                    <a16:creationId xmlns:a16="http://schemas.microsoft.com/office/drawing/2014/main" id="{73E21654-6ACF-49D3-9B56-11E08AB624A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06" name="Gruppieren 105">
              <a:extLst>
                <a:ext uri="{FF2B5EF4-FFF2-40B4-BE49-F238E27FC236}">
                  <a16:creationId xmlns:a16="http://schemas.microsoft.com/office/drawing/2014/main" id="{C6A401CF-3A9B-4C6E-A900-71B9790430DC}"/>
                </a:ext>
              </a:extLst>
            </p:cNvPr>
            <p:cNvGrpSpPr/>
            <p:nvPr/>
          </p:nvGrpSpPr>
          <p:grpSpPr>
            <a:xfrm>
              <a:off x="-502267" y="80201"/>
              <a:ext cx="411956" cy="216662"/>
              <a:chOff x="-615197" y="4258501"/>
              <a:chExt cx="411956" cy="216662"/>
            </a:xfrm>
          </p:grpSpPr>
          <p:cxnSp>
            <p:nvCxnSpPr>
              <p:cNvPr id="107" name="Gerader Verbinder 106">
                <a:extLst>
                  <a:ext uri="{FF2B5EF4-FFF2-40B4-BE49-F238E27FC236}">
                    <a16:creationId xmlns:a16="http://schemas.microsoft.com/office/drawing/2014/main" id="{3A04E890-52B7-4B48-89D4-BB93B4B54B57}"/>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8" name="Textfeld 107">
                <a:extLst>
                  <a:ext uri="{FF2B5EF4-FFF2-40B4-BE49-F238E27FC236}">
                    <a16:creationId xmlns:a16="http://schemas.microsoft.com/office/drawing/2014/main" id="{CD3C7EB7-2F3F-42D0-A4E9-D77AA3C72338}"/>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CBA4CF82-D6CA-42BD-C109-236CBF0A32B8}"/>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2552064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ild- Textfolie | 2x Bild, 2x Text - nebeneinan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2" name="Textplatzhalter 8">
            <a:extLst>
              <a:ext uri="{FF2B5EF4-FFF2-40B4-BE49-F238E27FC236}">
                <a16:creationId xmlns:a16="http://schemas.microsoft.com/office/drawing/2014/main" id="{A276B4CC-8E3B-49AA-A6D3-2C309ED8CFEE}"/>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2" name="Textplatzhalter 3">
            <a:extLst>
              <a:ext uri="{FF2B5EF4-FFF2-40B4-BE49-F238E27FC236}">
                <a16:creationId xmlns:a16="http://schemas.microsoft.com/office/drawing/2014/main" id="{8E5BB036-1A1C-4EB9-AF21-69D3C12FF402}"/>
              </a:ext>
            </a:extLst>
          </p:cNvPr>
          <p:cNvSpPr>
            <a:spLocks noGrp="1"/>
          </p:cNvSpPr>
          <p:nvPr>
            <p:ph type="body" sz="quarter" idx="71"/>
          </p:nvPr>
        </p:nvSpPr>
        <p:spPr>
          <a:xfrm>
            <a:off x="6242844"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Bildplatzhalter 4">
            <a:extLst>
              <a:ext uri="{FF2B5EF4-FFF2-40B4-BE49-F238E27FC236}">
                <a16:creationId xmlns:a16="http://schemas.microsoft.com/office/drawing/2014/main" id="{773FBE26-823C-44A4-9918-6F7FC142C360}"/>
              </a:ext>
            </a:extLst>
          </p:cNvPr>
          <p:cNvSpPr>
            <a:spLocks noGrp="1"/>
          </p:cNvSpPr>
          <p:nvPr>
            <p:ph type="pic" sz="quarter" idx="72" hasCustomPrompt="1"/>
          </p:nvPr>
        </p:nvSpPr>
        <p:spPr>
          <a:xfrm>
            <a:off x="518318"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5" name="Bildplatzhalter 4">
            <a:extLst>
              <a:ext uri="{FF2B5EF4-FFF2-40B4-BE49-F238E27FC236}">
                <a16:creationId xmlns:a16="http://schemas.microsoft.com/office/drawing/2014/main" id="{870DAB1F-D24A-4A98-83A6-AFA36A6FC73E}"/>
              </a:ext>
            </a:extLst>
          </p:cNvPr>
          <p:cNvSpPr>
            <a:spLocks noGrp="1"/>
          </p:cNvSpPr>
          <p:nvPr>
            <p:ph type="pic" sz="quarter" idx="73" hasCustomPrompt="1"/>
          </p:nvPr>
        </p:nvSpPr>
        <p:spPr>
          <a:xfrm>
            <a:off x="6242844" y="1631837"/>
            <a:ext cx="5433219" cy="2086517"/>
          </a:xfrm>
          <a:solidFill>
            <a:schemeClr val="bg2">
              <a:lumMod val="95000"/>
            </a:schemeClr>
          </a:solidFill>
        </p:spPr>
        <p:txBody>
          <a:bodyPr/>
          <a:lstStyle>
            <a:lvl1pPr>
              <a:defRPr>
                <a:latin typeface="ZEISS Frutiger Next W1G"/>
                <a:cs typeface="Arial" panose="020B0604020202020204" pitchFamily="34" charset="0"/>
              </a:defRPr>
            </a:lvl1pPr>
          </a:lstStyle>
          <a:p>
            <a:r>
              <a:rPr lang="de-DE"/>
              <a:t> </a:t>
            </a:r>
          </a:p>
        </p:txBody>
      </p:sp>
      <p:sp>
        <p:nvSpPr>
          <p:cNvPr id="16" name="Textplatzhalter 3">
            <a:extLst>
              <a:ext uri="{FF2B5EF4-FFF2-40B4-BE49-F238E27FC236}">
                <a16:creationId xmlns:a16="http://schemas.microsoft.com/office/drawing/2014/main" id="{A7040DB9-A329-4F37-A50E-67E566A8CCC6}"/>
              </a:ext>
            </a:extLst>
          </p:cNvPr>
          <p:cNvSpPr>
            <a:spLocks noGrp="1"/>
          </p:cNvSpPr>
          <p:nvPr>
            <p:ph type="body" sz="quarter" idx="74"/>
          </p:nvPr>
        </p:nvSpPr>
        <p:spPr>
          <a:xfrm>
            <a:off x="518318" y="4006299"/>
            <a:ext cx="5433219" cy="2086521"/>
          </a:xfrm>
        </p:spPr>
        <p:txBody>
          <a:bodyPr/>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C6865517-E7AB-479B-B301-361C9726E50F}"/>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8" name="Foliennummernplatzhalter 7">
            <a:extLst>
              <a:ext uri="{FF2B5EF4-FFF2-40B4-BE49-F238E27FC236}">
                <a16:creationId xmlns:a16="http://schemas.microsoft.com/office/drawing/2014/main" id="{D1524C14-E513-43FD-AAD7-E2FF2C1AC8FE}"/>
              </a:ext>
            </a:extLst>
          </p:cNvPr>
          <p:cNvSpPr>
            <a:spLocks noGrp="1"/>
          </p:cNvSpPr>
          <p:nvPr>
            <p:ph type="sldNum" sz="quarter" idx="77"/>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56637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Nur Titel | Freie Gestal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35D2E05C-DF1C-4C7B-B878-BC14435387A5}"/>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cxnSp>
        <p:nvCxnSpPr>
          <p:cNvPr id="10" name="Gerade Verbindung 71">
            <a:extLst>
              <a:ext uri="{FF2B5EF4-FFF2-40B4-BE49-F238E27FC236}">
                <a16:creationId xmlns:a16="http://schemas.microsoft.com/office/drawing/2014/main" id="{7DF7DF9F-1FE6-4E11-A1E5-13620458417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C70D9C1F-041C-4A29-8F89-6A9A0C45C77E}"/>
              </a:ext>
            </a:extLst>
          </p:cNvPr>
          <p:cNvSpPr>
            <a:spLocks noGrp="1"/>
          </p:cNvSpPr>
          <p:nvPr>
            <p:ph type="sldNum" sz="quarter" idx="62"/>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489594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chlussfolie">
    <p:spTree>
      <p:nvGrpSpPr>
        <p:cNvPr id="1" name=""/>
        <p:cNvGrpSpPr/>
        <p:nvPr/>
      </p:nvGrpSpPr>
      <p:grpSpPr>
        <a:xfrm>
          <a:off x="0" y="0"/>
          <a:ext cx="0" cy="0"/>
          <a:chOff x="0" y="0"/>
          <a:chExt cx="0" cy="0"/>
        </a:xfrm>
      </p:grpSpPr>
      <p:grpSp>
        <p:nvGrpSpPr>
          <p:cNvPr id="37" name="Gruppieren 36">
            <a:extLst>
              <a:ext uri="{FF2B5EF4-FFF2-40B4-BE49-F238E27FC236}">
                <a16:creationId xmlns:a16="http://schemas.microsoft.com/office/drawing/2014/main" id="{B3215F83-2EC1-4CAC-953F-78BF5F10A0D6}"/>
              </a:ext>
            </a:extLst>
          </p:cNvPr>
          <p:cNvGrpSpPr/>
          <p:nvPr userDrawn="1"/>
        </p:nvGrpSpPr>
        <p:grpSpPr>
          <a:xfrm>
            <a:off x="299275" y="-697714"/>
            <a:ext cx="11375605" cy="411956"/>
            <a:chOff x="299275" y="6944502"/>
            <a:chExt cx="11375605" cy="411956"/>
          </a:xfrm>
        </p:grpSpPr>
        <p:grpSp>
          <p:nvGrpSpPr>
            <p:cNvPr id="38" name="Gruppieren 37">
              <a:extLst>
                <a:ext uri="{FF2B5EF4-FFF2-40B4-BE49-F238E27FC236}">
                  <a16:creationId xmlns:a16="http://schemas.microsoft.com/office/drawing/2014/main" id="{EC69B38E-3636-4F61-BC0D-11B8EC2035C3}"/>
                </a:ext>
              </a:extLst>
            </p:cNvPr>
            <p:cNvGrpSpPr/>
            <p:nvPr/>
          </p:nvGrpSpPr>
          <p:grpSpPr>
            <a:xfrm rot="16200000">
              <a:off x="201628" y="7042149"/>
              <a:ext cx="411956" cy="216662"/>
              <a:chOff x="-615197" y="4295013"/>
              <a:chExt cx="411956" cy="216662"/>
            </a:xfrm>
          </p:grpSpPr>
          <p:cxnSp>
            <p:nvCxnSpPr>
              <p:cNvPr id="49" name="Gerader Verbinder 48">
                <a:extLst>
                  <a:ext uri="{FF2B5EF4-FFF2-40B4-BE49-F238E27FC236}">
                    <a16:creationId xmlns:a16="http://schemas.microsoft.com/office/drawing/2014/main" id="{7FA8B8E5-9220-4F6C-86EE-E001B5D669C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1BC8D282-94B0-4E74-9FCB-AC7D976B4F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39" name="Gruppieren 38">
              <a:extLst>
                <a:ext uri="{FF2B5EF4-FFF2-40B4-BE49-F238E27FC236}">
                  <a16:creationId xmlns:a16="http://schemas.microsoft.com/office/drawing/2014/main" id="{64951DA6-F963-4A0C-96A1-7528EEA0610B}"/>
                </a:ext>
              </a:extLst>
            </p:cNvPr>
            <p:cNvGrpSpPr/>
            <p:nvPr/>
          </p:nvGrpSpPr>
          <p:grpSpPr>
            <a:xfrm rot="16200000">
              <a:off x="5637228" y="7042149"/>
              <a:ext cx="411956" cy="216662"/>
              <a:chOff x="-615197" y="4295013"/>
              <a:chExt cx="411956" cy="216662"/>
            </a:xfrm>
          </p:grpSpPr>
          <p:cxnSp>
            <p:nvCxnSpPr>
              <p:cNvPr id="47" name="Gerader Verbinder 46">
                <a:extLst>
                  <a:ext uri="{FF2B5EF4-FFF2-40B4-BE49-F238E27FC236}">
                    <a16:creationId xmlns:a16="http://schemas.microsoft.com/office/drawing/2014/main" id="{B609D040-0754-4342-B1E2-54FC0A4E1BB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D431B656-0234-4F51-AC65-009A508354BE}"/>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0" name="Gruppieren 39">
              <a:extLst>
                <a:ext uri="{FF2B5EF4-FFF2-40B4-BE49-F238E27FC236}">
                  <a16:creationId xmlns:a16="http://schemas.microsoft.com/office/drawing/2014/main" id="{EBE74C80-4D3E-4301-A865-31956C228E22}"/>
                </a:ext>
              </a:extLst>
            </p:cNvPr>
            <p:cNvGrpSpPr/>
            <p:nvPr/>
          </p:nvGrpSpPr>
          <p:grpSpPr>
            <a:xfrm rot="5400000">
              <a:off x="6093326" y="7042149"/>
              <a:ext cx="411956" cy="216662"/>
              <a:chOff x="-615197" y="4346120"/>
              <a:chExt cx="411956" cy="216662"/>
            </a:xfrm>
          </p:grpSpPr>
          <p:cxnSp>
            <p:nvCxnSpPr>
              <p:cNvPr id="45" name="Gerader Verbinder 44">
                <a:extLst>
                  <a:ext uri="{FF2B5EF4-FFF2-40B4-BE49-F238E27FC236}">
                    <a16:creationId xmlns:a16="http://schemas.microsoft.com/office/drawing/2014/main" id="{A7686FD8-C641-4673-95C0-F05C1B71866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77525E5E-2FC8-4E8B-84DF-E406B4374875}"/>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1" name="Gerader Verbinder 40">
              <a:extLst>
                <a:ext uri="{FF2B5EF4-FFF2-40B4-BE49-F238E27FC236}">
                  <a16:creationId xmlns:a16="http://schemas.microsoft.com/office/drawing/2014/main" id="{51EE6560-8FBF-4C36-90A5-9F6D9B6B8604}"/>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2" name="Gruppieren 41">
              <a:extLst>
                <a:ext uri="{FF2B5EF4-FFF2-40B4-BE49-F238E27FC236}">
                  <a16:creationId xmlns:a16="http://schemas.microsoft.com/office/drawing/2014/main" id="{B419D3BC-DFC0-4A03-922D-32827ABA0832}"/>
                </a:ext>
              </a:extLst>
            </p:cNvPr>
            <p:cNvGrpSpPr/>
            <p:nvPr/>
          </p:nvGrpSpPr>
          <p:grpSpPr>
            <a:xfrm rot="16200000">
              <a:off x="11360571" y="7042149"/>
              <a:ext cx="411956" cy="216662"/>
              <a:chOff x="-615197" y="4295013"/>
              <a:chExt cx="411956" cy="216662"/>
            </a:xfrm>
          </p:grpSpPr>
          <p:cxnSp>
            <p:nvCxnSpPr>
              <p:cNvPr id="43" name="Gerader Verbinder 42">
                <a:extLst>
                  <a:ext uri="{FF2B5EF4-FFF2-40B4-BE49-F238E27FC236}">
                    <a16:creationId xmlns:a16="http://schemas.microsoft.com/office/drawing/2014/main" id="{744B679A-6F28-4AFB-8BF5-4305049195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F34B0ECC-B5B1-4DA1-A3F1-4B04F49D3CB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51" name="Gruppieren 50">
            <a:extLst>
              <a:ext uri="{FF2B5EF4-FFF2-40B4-BE49-F238E27FC236}">
                <a16:creationId xmlns:a16="http://schemas.microsoft.com/office/drawing/2014/main" id="{FCB7BD6C-26FB-4151-A97E-8A2A947FCB9E}"/>
              </a:ext>
            </a:extLst>
          </p:cNvPr>
          <p:cNvGrpSpPr/>
          <p:nvPr userDrawn="1"/>
        </p:nvGrpSpPr>
        <p:grpSpPr>
          <a:xfrm>
            <a:off x="-697714" y="80201"/>
            <a:ext cx="411956" cy="6729801"/>
            <a:chOff x="-502267" y="80201"/>
            <a:chExt cx="411956" cy="6729801"/>
          </a:xfrm>
        </p:grpSpPr>
        <p:grpSp>
          <p:nvGrpSpPr>
            <p:cNvPr id="52" name="Gruppieren 51">
              <a:extLst>
                <a:ext uri="{FF2B5EF4-FFF2-40B4-BE49-F238E27FC236}">
                  <a16:creationId xmlns:a16="http://schemas.microsoft.com/office/drawing/2014/main" id="{36CAC4A9-FA2E-4A55-9CB1-1DB0EAAB5442}"/>
                </a:ext>
              </a:extLst>
            </p:cNvPr>
            <p:cNvGrpSpPr/>
            <p:nvPr/>
          </p:nvGrpSpPr>
          <p:grpSpPr>
            <a:xfrm>
              <a:off x="-502267" y="6593340"/>
              <a:ext cx="411956" cy="216662"/>
              <a:chOff x="-615197" y="4452994"/>
              <a:chExt cx="411956" cy="216662"/>
            </a:xfrm>
          </p:grpSpPr>
          <p:sp>
            <p:nvSpPr>
              <p:cNvPr id="103" name="Textfeld 102">
                <a:extLst>
                  <a:ext uri="{FF2B5EF4-FFF2-40B4-BE49-F238E27FC236}">
                    <a16:creationId xmlns:a16="http://schemas.microsoft.com/office/drawing/2014/main" id="{FB11088B-3E40-4E9D-8C60-2FCA0E75B9A5}"/>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4" name="Gerader Verbinder 103">
                <a:extLst>
                  <a:ext uri="{FF2B5EF4-FFF2-40B4-BE49-F238E27FC236}">
                    <a16:creationId xmlns:a16="http://schemas.microsoft.com/office/drawing/2014/main" id="{F8EA552B-BF98-4042-A8DE-B538FCB26234}"/>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3" name="Gruppieren 52">
              <a:extLst>
                <a:ext uri="{FF2B5EF4-FFF2-40B4-BE49-F238E27FC236}">
                  <a16:creationId xmlns:a16="http://schemas.microsoft.com/office/drawing/2014/main" id="{ABA93755-D1C1-4606-B5AE-6C011A947E57}"/>
                </a:ext>
              </a:extLst>
            </p:cNvPr>
            <p:cNvGrpSpPr/>
            <p:nvPr/>
          </p:nvGrpSpPr>
          <p:grpSpPr>
            <a:xfrm>
              <a:off x="-502267" y="5876163"/>
              <a:ext cx="411956" cy="216662"/>
              <a:chOff x="-615197" y="4295013"/>
              <a:chExt cx="411956" cy="216662"/>
            </a:xfrm>
          </p:grpSpPr>
          <p:cxnSp>
            <p:nvCxnSpPr>
              <p:cNvPr id="101" name="Gerader Verbinder 100">
                <a:extLst>
                  <a:ext uri="{FF2B5EF4-FFF2-40B4-BE49-F238E27FC236}">
                    <a16:creationId xmlns:a16="http://schemas.microsoft.com/office/drawing/2014/main" id="{AE32DE81-FA6C-4CE0-ADE2-8627D3B99622}"/>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id="{267B9C0F-5D3A-4581-AE5D-1D5AF24A644D}"/>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54" name="Gruppieren 53">
              <a:extLst>
                <a:ext uri="{FF2B5EF4-FFF2-40B4-BE49-F238E27FC236}">
                  <a16:creationId xmlns:a16="http://schemas.microsoft.com/office/drawing/2014/main" id="{CEAF86A3-26D5-433B-A74B-662B221E11C5}"/>
                </a:ext>
              </a:extLst>
            </p:cNvPr>
            <p:cNvGrpSpPr/>
            <p:nvPr/>
          </p:nvGrpSpPr>
          <p:grpSpPr>
            <a:xfrm>
              <a:off x="-502267" y="3212338"/>
              <a:ext cx="411956" cy="216662"/>
              <a:chOff x="-615197" y="4295013"/>
              <a:chExt cx="411956" cy="216662"/>
            </a:xfrm>
          </p:grpSpPr>
          <p:cxnSp>
            <p:nvCxnSpPr>
              <p:cNvPr id="99" name="Gerader Verbinder 98">
                <a:extLst>
                  <a:ext uri="{FF2B5EF4-FFF2-40B4-BE49-F238E27FC236}">
                    <a16:creationId xmlns:a16="http://schemas.microsoft.com/office/drawing/2014/main" id="{3A630D2D-4125-4640-9CD0-6ED0841A91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0" name="Textfeld 99">
                <a:extLst>
                  <a:ext uri="{FF2B5EF4-FFF2-40B4-BE49-F238E27FC236}">
                    <a16:creationId xmlns:a16="http://schemas.microsoft.com/office/drawing/2014/main" id="{B2E90D2A-74C5-49E0-B7F1-0B995DAB3D7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57" name="Gruppieren 56">
              <a:extLst>
                <a:ext uri="{FF2B5EF4-FFF2-40B4-BE49-F238E27FC236}">
                  <a16:creationId xmlns:a16="http://schemas.microsoft.com/office/drawing/2014/main" id="{1A7BDCCA-7560-4EA4-8604-D1723EC217FC}"/>
                </a:ext>
              </a:extLst>
            </p:cNvPr>
            <p:cNvGrpSpPr/>
            <p:nvPr/>
          </p:nvGrpSpPr>
          <p:grpSpPr>
            <a:xfrm>
              <a:off x="-502267" y="835851"/>
              <a:ext cx="411956" cy="216662"/>
              <a:chOff x="-615197" y="4295013"/>
              <a:chExt cx="411956" cy="216662"/>
            </a:xfrm>
          </p:grpSpPr>
          <p:cxnSp>
            <p:nvCxnSpPr>
              <p:cNvPr id="97" name="Gerader Verbinder 96">
                <a:extLst>
                  <a:ext uri="{FF2B5EF4-FFF2-40B4-BE49-F238E27FC236}">
                    <a16:creationId xmlns:a16="http://schemas.microsoft.com/office/drawing/2014/main" id="{C0AB8F62-5467-483E-A4EA-591E34AF53A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Textfeld 97">
                <a:extLst>
                  <a:ext uri="{FF2B5EF4-FFF2-40B4-BE49-F238E27FC236}">
                    <a16:creationId xmlns:a16="http://schemas.microsoft.com/office/drawing/2014/main" id="{4AC61C99-FAD6-454A-9C8A-F818C313B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4" name="Gruppieren 73">
              <a:extLst>
                <a:ext uri="{FF2B5EF4-FFF2-40B4-BE49-F238E27FC236}">
                  <a16:creationId xmlns:a16="http://schemas.microsoft.com/office/drawing/2014/main" id="{9A270D1F-5B98-4B34-9BC0-F608802F63F2}"/>
                </a:ext>
              </a:extLst>
            </p:cNvPr>
            <p:cNvGrpSpPr/>
            <p:nvPr/>
          </p:nvGrpSpPr>
          <p:grpSpPr>
            <a:xfrm>
              <a:off x="-502267" y="1412113"/>
              <a:ext cx="411956" cy="216662"/>
              <a:chOff x="-615197" y="4295013"/>
              <a:chExt cx="411956" cy="216662"/>
            </a:xfrm>
          </p:grpSpPr>
          <p:cxnSp>
            <p:nvCxnSpPr>
              <p:cNvPr id="95" name="Gerader Verbinder 94">
                <a:extLst>
                  <a:ext uri="{FF2B5EF4-FFF2-40B4-BE49-F238E27FC236}">
                    <a16:creationId xmlns:a16="http://schemas.microsoft.com/office/drawing/2014/main" id="{C7247493-8BA4-42C0-91A8-66C4F2F0C916}"/>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6" name="Textfeld 95">
                <a:extLst>
                  <a:ext uri="{FF2B5EF4-FFF2-40B4-BE49-F238E27FC236}">
                    <a16:creationId xmlns:a16="http://schemas.microsoft.com/office/drawing/2014/main" id="{5F6E0F25-8820-4F75-8A2A-305DB28489B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2" name="Gruppieren 91">
              <a:extLst>
                <a:ext uri="{FF2B5EF4-FFF2-40B4-BE49-F238E27FC236}">
                  <a16:creationId xmlns:a16="http://schemas.microsoft.com/office/drawing/2014/main" id="{E5CB483E-9488-4E5C-9E7E-D3D41CC665F3}"/>
                </a:ext>
              </a:extLst>
            </p:cNvPr>
            <p:cNvGrpSpPr/>
            <p:nvPr/>
          </p:nvGrpSpPr>
          <p:grpSpPr>
            <a:xfrm>
              <a:off x="-502267" y="80201"/>
              <a:ext cx="411956" cy="216662"/>
              <a:chOff x="-615197" y="4258501"/>
              <a:chExt cx="411956" cy="216662"/>
            </a:xfrm>
          </p:grpSpPr>
          <p:cxnSp>
            <p:nvCxnSpPr>
              <p:cNvPr id="93" name="Gerader Verbinder 92">
                <a:extLst>
                  <a:ext uri="{FF2B5EF4-FFF2-40B4-BE49-F238E27FC236}">
                    <a16:creationId xmlns:a16="http://schemas.microsoft.com/office/drawing/2014/main" id="{2641CCA9-84B5-48C5-857D-4DC9DA045DA2}"/>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Textfeld 93">
                <a:extLst>
                  <a:ext uri="{FF2B5EF4-FFF2-40B4-BE49-F238E27FC236}">
                    <a16:creationId xmlns:a16="http://schemas.microsoft.com/office/drawing/2014/main" id="{57664E9D-1E21-42C1-BE41-432F0E9603C5}"/>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2" name="Grafik 1">
            <a:extLst>
              <a:ext uri="{FF2B5EF4-FFF2-40B4-BE49-F238E27FC236}">
                <a16:creationId xmlns:a16="http://schemas.microsoft.com/office/drawing/2014/main" id="{92F106FB-E60C-5D38-8154-42D2B20B7D47}"/>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7507"/>
          <a:stretch/>
        </p:blipFill>
        <p:spPr>
          <a:xfrm>
            <a:off x="2775320" y="2595160"/>
            <a:ext cx="6933520" cy="1667680"/>
          </a:xfrm>
          <a:prstGeom prst="rect">
            <a:avLst/>
          </a:prstGeom>
        </p:spPr>
      </p:pic>
    </p:spTree>
    <p:extLst>
      <p:ext uri="{BB962C8B-B14F-4D97-AF65-F5344CB8AC3E}">
        <p14:creationId xmlns:p14="http://schemas.microsoft.com/office/powerpoint/2010/main" val="81625968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F629EA-DE05-4C01-9F06-D25F1A8C22E5}"/>
              </a:ext>
            </a:extLst>
          </p:cNvPr>
          <p:cNvSpPr>
            <a:spLocks noGrp="1"/>
          </p:cNvSpPr>
          <p:nvPr>
            <p:ph type="ctrTitle"/>
          </p:nvPr>
        </p:nvSpPr>
        <p:spPr>
          <a:xfrm>
            <a:off x="1524000" y="1663304"/>
            <a:ext cx="9144000" cy="1846659"/>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4C0B651E-82FF-4E81-8275-1648A55358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5" name="Fußzeilenplatzhalter 4">
            <a:extLst>
              <a:ext uri="{FF2B5EF4-FFF2-40B4-BE49-F238E27FC236}">
                <a16:creationId xmlns:a16="http://schemas.microsoft.com/office/drawing/2014/main" id="{82D2813B-4BE8-4882-B0FA-05AA2860C53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2C7B495-015B-46DF-B926-A0D118D9BE6D}"/>
              </a:ext>
            </a:extLst>
          </p:cNvPr>
          <p:cNvSpPr>
            <a:spLocks noGrp="1"/>
          </p:cNvSpPr>
          <p:nvPr>
            <p:ph type="sldNum" sz="quarter" idx="12"/>
          </p:nvPr>
        </p:nvSpPr>
        <p:spPr/>
        <p:txBody>
          <a:bodyPr/>
          <a:lstStyle/>
          <a:p>
            <a:fld id="{03A904B3-5160-4A42-BE05-3A7A1F9AD063}" type="slidenum">
              <a:rPr lang="de-DE" smtClean="0"/>
              <a:t>‹Nr.›</a:t>
            </a:fld>
            <a:endParaRPr lang="de-DE"/>
          </a:p>
        </p:txBody>
      </p:sp>
    </p:spTree>
    <p:extLst>
      <p:ext uri="{BB962C8B-B14F-4D97-AF65-F5344CB8AC3E}">
        <p14:creationId xmlns:p14="http://schemas.microsoft.com/office/powerpoint/2010/main" val="12024897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8E4AE3-D9DB-46CF-9345-9B80F5730D69}"/>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153D208-D124-450F-9690-26785CB487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6C32FE4-55F3-41FA-94A6-AC9B799C92C4}"/>
              </a:ext>
            </a:extLst>
          </p:cNvPr>
          <p:cNvSpPr>
            <a:spLocks noGrp="1"/>
          </p:cNvSpPr>
          <p:nvPr>
            <p:ph type="dt" sz="half" idx="10"/>
          </p:nvPr>
        </p:nvSpPr>
        <p:spPr/>
        <p:txBody>
          <a:bodyPr/>
          <a:lstStyle/>
          <a:p>
            <a:fld id="{3007B752-09EC-450F-9C4A-4B807178D026}" type="datetime4">
              <a:rPr lang="de-DE" smtClean="0"/>
              <a:t>17. Februar 2025</a:t>
            </a:fld>
            <a:endParaRPr lang="de-DE"/>
          </a:p>
        </p:txBody>
      </p:sp>
      <p:sp>
        <p:nvSpPr>
          <p:cNvPr id="5" name="Fußzeilenplatzhalter 4">
            <a:extLst>
              <a:ext uri="{FF2B5EF4-FFF2-40B4-BE49-F238E27FC236}">
                <a16:creationId xmlns:a16="http://schemas.microsoft.com/office/drawing/2014/main" id="{2ED6BC56-0ABB-4258-946C-D4D98A4A62E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468463B-F3C7-443C-BF22-ACB55E431BFC}"/>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049761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64130F-03E2-491A-B826-42C1CAB49D9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1A6C4A3-00DE-4441-AC30-3250FF14ACA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8FE9E15-EA9D-48FF-A897-1A9679D67EBD}"/>
              </a:ext>
            </a:extLst>
          </p:cNvPr>
          <p:cNvSpPr>
            <a:spLocks noGrp="1"/>
          </p:cNvSpPr>
          <p:nvPr>
            <p:ph type="dt" sz="half" idx="10"/>
          </p:nvPr>
        </p:nvSpPr>
        <p:spPr/>
        <p:txBody>
          <a:bodyPr/>
          <a:lstStyle/>
          <a:p>
            <a:fld id="{1D88731D-CDEE-4903-9AB5-6442E0FA9D0B}" type="datetime4">
              <a:rPr lang="de-DE" smtClean="0"/>
              <a:t>17. Februar 2025</a:t>
            </a:fld>
            <a:endParaRPr lang="de-DE"/>
          </a:p>
        </p:txBody>
      </p:sp>
      <p:sp>
        <p:nvSpPr>
          <p:cNvPr id="5" name="Fußzeilenplatzhalter 4">
            <a:extLst>
              <a:ext uri="{FF2B5EF4-FFF2-40B4-BE49-F238E27FC236}">
                <a16:creationId xmlns:a16="http://schemas.microsoft.com/office/drawing/2014/main" id="{44B43A78-170E-49B2-9A95-42CEDEDE8EE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279EEF3-75A5-42E5-A3F1-F3C7E72ECD1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3117217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E4AF0A-28FA-4A23-AE73-D135AFB0A75E}"/>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7C0DD9BC-EDE6-4EB6-9228-EE92CB3BC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EB01E5C-26D9-4B01-995A-D7066A85C630}"/>
              </a:ext>
            </a:extLst>
          </p:cNvPr>
          <p:cNvSpPr>
            <a:spLocks noGrp="1"/>
          </p:cNvSpPr>
          <p:nvPr>
            <p:ph type="dt" sz="half" idx="10"/>
          </p:nvPr>
        </p:nvSpPr>
        <p:spPr/>
        <p:txBody>
          <a:bodyPr/>
          <a:lstStyle/>
          <a:p>
            <a:fld id="{80A4E3E2-A545-49C6-A14E-65F58F1E1A3C}" type="datetime4">
              <a:rPr lang="de-DE" smtClean="0"/>
              <a:t>17. Februar 2025</a:t>
            </a:fld>
            <a:endParaRPr lang="de-DE"/>
          </a:p>
        </p:txBody>
      </p:sp>
      <p:sp>
        <p:nvSpPr>
          <p:cNvPr id="5" name="Fußzeilenplatzhalter 4">
            <a:extLst>
              <a:ext uri="{FF2B5EF4-FFF2-40B4-BE49-F238E27FC236}">
                <a16:creationId xmlns:a16="http://schemas.microsoft.com/office/drawing/2014/main" id="{FC7A3444-6C39-4F40-8B1F-A7979F08BC3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5FA6340-AF15-4A72-AD5D-1E6019E23D50}"/>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090160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C61492-C9A9-4B90-9CD6-1228F3ED8A0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5F15B62-1AF0-4CB3-9A98-BE537D11BDD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3DFCE06-6A3D-4A84-9FDC-CA92794524A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5D97094D-B0DB-42EA-88B4-D3E9FF50EBAF}"/>
              </a:ext>
            </a:extLst>
          </p:cNvPr>
          <p:cNvSpPr>
            <a:spLocks noGrp="1"/>
          </p:cNvSpPr>
          <p:nvPr>
            <p:ph type="dt" sz="half" idx="10"/>
          </p:nvPr>
        </p:nvSpPr>
        <p:spPr/>
        <p:txBody>
          <a:bodyPr/>
          <a:lstStyle/>
          <a:p>
            <a:fld id="{6171B2B5-9650-455D-9DF5-46BB81D2E3D6}" type="datetime4">
              <a:rPr lang="de-DE" smtClean="0"/>
              <a:t>17. Februar 2025</a:t>
            </a:fld>
            <a:endParaRPr lang="de-DE"/>
          </a:p>
        </p:txBody>
      </p:sp>
      <p:sp>
        <p:nvSpPr>
          <p:cNvPr id="6" name="Fußzeilenplatzhalter 5">
            <a:extLst>
              <a:ext uri="{FF2B5EF4-FFF2-40B4-BE49-F238E27FC236}">
                <a16:creationId xmlns:a16="http://schemas.microsoft.com/office/drawing/2014/main" id="{D83D3D3E-E602-4446-B94B-CBBDC63E12E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775F61A-6FBE-4C19-B20E-42236C1D356D}"/>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41125651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2ADA5C-EA6C-44B5-9F01-C04A48B5C365}"/>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EADEBE49-28CB-4437-8EAA-E384A97552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52D719CE-F787-4E76-9B96-583ADC03EC4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87045919-4F15-4C81-8DE1-F688261B6D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D7B90C8C-DC91-4D4B-BF8D-CF20DF37890A}"/>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6AB3D94-43DF-4AC1-9941-8ACD4174BC8E}"/>
              </a:ext>
            </a:extLst>
          </p:cNvPr>
          <p:cNvSpPr>
            <a:spLocks noGrp="1"/>
          </p:cNvSpPr>
          <p:nvPr>
            <p:ph type="dt" sz="half" idx="10"/>
          </p:nvPr>
        </p:nvSpPr>
        <p:spPr/>
        <p:txBody>
          <a:bodyPr/>
          <a:lstStyle/>
          <a:p>
            <a:fld id="{0E104AA1-C71F-48D6-ACBD-88ACA60F196B}" type="datetime4">
              <a:rPr lang="de-DE" smtClean="0"/>
              <a:t>17. Februar 2025</a:t>
            </a:fld>
            <a:endParaRPr lang="de-DE"/>
          </a:p>
        </p:txBody>
      </p:sp>
      <p:sp>
        <p:nvSpPr>
          <p:cNvPr id="8" name="Fußzeilenplatzhalter 7">
            <a:extLst>
              <a:ext uri="{FF2B5EF4-FFF2-40B4-BE49-F238E27FC236}">
                <a16:creationId xmlns:a16="http://schemas.microsoft.com/office/drawing/2014/main" id="{B3E04DAF-CA16-4870-A9F2-9FDC340EFC36}"/>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1F30E33-5A09-4818-92EB-F1FA6E378A9F}"/>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5762091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4B9398-63F1-43FA-8A33-77C3452B60D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9974D093-D852-413F-AFBB-01A5E5A5264A}"/>
              </a:ext>
            </a:extLst>
          </p:cNvPr>
          <p:cNvSpPr>
            <a:spLocks noGrp="1"/>
          </p:cNvSpPr>
          <p:nvPr>
            <p:ph type="dt" sz="half" idx="10"/>
          </p:nvPr>
        </p:nvSpPr>
        <p:spPr/>
        <p:txBody>
          <a:bodyPr/>
          <a:lstStyle/>
          <a:p>
            <a:fld id="{702FABD3-5069-4195-9AAA-8016D1AB4489}" type="datetime4">
              <a:rPr lang="de-DE" smtClean="0"/>
              <a:t>17. Februar 2025</a:t>
            </a:fld>
            <a:endParaRPr lang="de-DE"/>
          </a:p>
        </p:txBody>
      </p:sp>
      <p:sp>
        <p:nvSpPr>
          <p:cNvPr id="4" name="Fußzeilenplatzhalter 3">
            <a:extLst>
              <a:ext uri="{FF2B5EF4-FFF2-40B4-BE49-F238E27FC236}">
                <a16:creationId xmlns:a16="http://schemas.microsoft.com/office/drawing/2014/main" id="{5AD4E05E-7350-4974-BC18-3BA7566FCA8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DC596C5-2603-484C-8636-1D1B68E7C3E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982060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In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92DD91-EAE8-4850-A1F1-29F8A7A57DEA}"/>
              </a:ext>
            </a:extLst>
          </p:cNvPr>
          <p:cNvSpPr>
            <a:spLocks noGrp="1"/>
          </p:cNvSpPr>
          <p:nvPr>
            <p:ph type="title"/>
          </p:nvPr>
        </p:nvSpPr>
        <p:spPr>
          <a:xfrm>
            <a:off x="518319" y="2213089"/>
            <a:ext cx="11157744" cy="738664"/>
          </a:xfrm>
        </p:spPr>
        <p:txBody>
          <a:bodyPr anchor="b" anchorCtr="0"/>
          <a:lstStyle>
            <a:lvl1pPr>
              <a:defRPr sz="4800" b="1"/>
            </a:lvl1pPr>
          </a:lstStyle>
          <a:p>
            <a:r>
              <a:rPr lang="de-DE"/>
              <a:t>Mastertitelformat bearbeiten</a:t>
            </a:r>
          </a:p>
        </p:txBody>
      </p:sp>
      <p:sp>
        <p:nvSpPr>
          <p:cNvPr id="15" name="Textplatzhalter 14">
            <a:extLst>
              <a:ext uri="{FF2B5EF4-FFF2-40B4-BE49-F238E27FC236}">
                <a16:creationId xmlns:a16="http://schemas.microsoft.com/office/drawing/2014/main" id="{1810713E-3804-4787-B0E9-28105C274813}"/>
              </a:ext>
            </a:extLst>
          </p:cNvPr>
          <p:cNvSpPr>
            <a:spLocks noGrp="1"/>
          </p:cNvSpPr>
          <p:nvPr>
            <p:ph type="body" sz="quarter" idx="11" hasCustomPrompt="1"/>
          </p:nvPr>
        </p:nvSpPr>
        <p:spPr>
          <a:xfrm>
            <a:off x="1609725" y="4965080"/>
            <a:ext cx="3228592" cy="184666"/>
          </a:xfrm>
        </p:spPr>
        <p:txBody>
          <a:bodyPr wrap="square">
            <a:spAutoFit/>
          </a:bodyPr>
          <a:lstStyle>
            <a:lvl1pPr>
              <a:defRPr sz="1200" b="0">
                <a:solidFill>
                  <a:schemeClr val="tx1"/>
                </a:solidFill>
                <a:latin typeface="+mn-lt"/>
              </a:defRPr>
            </a:lvl1pPr>
          </a:lstStyle>
          <a:p>
            <a:pPr lvl="0"/>
            <a:r>
              <a:rPr lang="de-DE"/>
              <a:t>Zielgruppe</a:t>
            </a:r>
          </a:p>
        </p:txBody>
      </p:sp>
      <p:sp>
        <p:nvSpPr>
          <p:cNvPr id="18" name="Textplatzhalter 14">
            <a:extLst>
              <a:ext uri="{FF2B5EF4-FFF2-40B4-BE49-F238E27FC236}">
                <a16:creationId xmlns:a16="http://schemas.microsoft.com/office/drawing/2014/main" id="{5E062E4E-FEC5-4007-94FA-E26B3F377E44}"/>
              </a:ext>
            </a:extLst>
          </p:cNvPr>
          <p:cNvSpPr>
            <a:spLocks noGrp="1"/>
          </p:cNvSpPr>
          <p:nvPr>
            <p:ph type="body" sz="quarter" idx="12" hasCustomPrompt="1"/>
          </p:nvPr>
        </p:nvSpPr>
        <p:spPr>
          <a:xfrm>
            <a:off x="1609725" y="5141291"/>
            <a:ext cx="3228592" cy="697105"/>
          </a:xfrm>
        </p:spPr>
        <p:txBody>
          <a:bodyPr wrap="square">
            <a:noAutofit/>
          </a:bodyPr>
          <a:lstStyle>
            <a:lvl1pPr>
              <a:defRPr sz="1200" b="0">
                <a:solidFill>
                  <a:schemeClr val="tx1"/>
                </a:solidFill>
                <a:latin typeface="+mn-lt"/>
              </a:defRPr>
            </a:lvl1pPr>
          </a:lstStyle>
          <a:p>
            <a:pPr lvl="0"/>
            <a:r>
              <a:rPr lang="de-DE"/>
              <a:t>Ziel</a:t>
            </a:r>
          </a:p>
        </p:txBody>
      </p:sp>
      <p:sp>
        <p:nvSpPr>
          <p:cNvPr id="19" name="Textplatzhalter 14">
            <a:extLst>
              <a:ext uri="{FF2B5EF4-FFF2-40B4-BE49-F238E27FC236}">
                <a16:creationId xmlns:a16="http://schemas.microsoft.com/office/drawing/2014/main" id="{B988E013-D7EA-4250-95FD-1943849D45DE}"/>
              </a:ext>
            </a:extLst>
          </p:cNvPr>
          <p:cNvSpPr>
            <a:spLocks noGrp="1"/>
          </p:cNvSpPr>
          <p:nvPr>
            <p:ph type="body" sz="quarter" idx="13" hasCustomPrompt="1"/>
          </p:nvPr>
        </p:nvSpPr>
        <p:spPr>
          <a:xfrm>
            <a:off x="5096107" y="4965080"/>
            <a:ext cx="4319999" cy="184666"/>
          </a:xfrm>
        </p:spPr>
        <p:txBody>
          <a:bodyPr>
            <a:spAutoFit/>
          </a:bodyPr>
          <a:lstStyle>
            <a:lvl1pPr>
              <a:defRPr sz="1200" b="1">
                <a:solidFill>
                  <a:schemeClr val="tx1"/>
                </a:solidFill>
                <a:latin typeface="+mn-lt"/>
              </a:defRPr>
            </a:lvl1pPr>
          </a:lstStyle>
          <a:p>
            <a:pPr lvl="0"/>
            <a:r>
              <a:rPr lang="de-DE"/>
              <a:t>Ersteller</a:t>
            </a:r>
          </a:p>
        </p:txBody>
      </p:sp>
      <p:sp>
        <p:nvSpPr>
          <p:cNvPr id="20" name="Textplatzhalter 14">
            <a:extLst>
              <a:ext uri="{FF2B5EF4-FFF2-40B4-BE49-F238E27FC236}">
                <a16:creationId xmlns:a16="http://schemas.microsoft.com/office/drawing/2014/main" id="{FCFD2F7D-2405-47CC-ADE1-89F4F050B1B8}"/>
              </a:ext>
            </a:extLst>
          </p:cNvPr>
          <p:cNvSpPr>
            <a:spLocks noGrp="1"/>
          </p:cNvSpPr>
          <p:nvPr>
            <p:ph type="body" sz="quarter" idx="14" hasCustomPrompt="1"/>
          </p:nvPr>
        </p:nvSpPr>
        <p:spPr>
          <a:xfrm>
            <a:off x="5096107" y="5141292"/>
            <a:ext cx="4319999" cy="184666"/>
          </a:xfrm>
        </p:spPr>
        <p:txBody>
          <a:bodyPr>
            <a:spAutoFit/>
          </a:bodyPr>
          <a:lstStyle>
            <a:lvl1pPr>
              <a:defRPr sz="1200" b="0">
                <a:solidFill>
                  <a:schemeClr val="tx1"/>
                </a:solidFill>
                <a:latin typeface="+mn-lt"/>
              </a:defRPr>
            </a:lvl1pPr>
          </a:lstStyle>
          <a:p>
            <a:pPr lvl="0"/>
            <a:r>
              <a:rPr lang="de-DE"/>
              <a:t>Abteilung</a:t>
            </a:r>
          </a:p>
        </p:txBody>
      </p:sp>
      <p:sp>
        <p:nvSpPr>
          <p:cNvPr id="26" name="Textplatzhalter 8">
            <a:extLst>
              <a:ext uri="{FF2B5EF4-FFF2-40B4-BE49-F238E27FC236}">
                <a16:creationId xmlns:a16="http://schemas.microsoft.com/office/drawing/2014/main" id="{F52AEE9E-B08F-4C0A-BEEE-04C7FFB48E71}"/>
              </a:ext>
            </a:extLst>
          </p:cNvPr>
          <p:cNvSpPr>
            <a:spLocks noGrp="1"/>
          </p:cNvSpPr>
          <p:nvPr>
            <p:ph type="body" sz="quarter" idx="20"/>
          </p:nvPr>
        </p:nvSpPr>
        <p:spPr>
          <a:xfrm>
            <a:off x="518319" y="2872085"/>
            <a:ext cx="11157744" cy="738664"/>
          </a:xfrm>
        </p:spPr>
        <p:txBody>
          <a:bodyPr wrap="square">
            <a:noAutofit/>
          </a:bodyPr>
          <a:lstStyle>
            <a:lvl1pPr>
              <a:lnSpc>
                <a:spcPct val="100000"/>
              </a:lnSpc>
              <a:spcAft>
                <a:spcPts val="0"/>
              </a:spcAft>
              <a:defRPr sz="4800">
                <a:latin typeface="+mn-lt"/>
                <a:cs typeface="ZEISS Frutiger Next W1G Lt" panose="020B0302030202020203" pitchFamily="34" charset="0"/>
              </a:defRPr>
            </a:lvl1pPr>
          </a:lstStyle>
          <a:p>
            <a:pPr lvl="0"/>
            <a:r>
              <a:rPr lang="de-DE"/>
              <a:t>Mastertextformat bearbeiten</a:t>
            </a:r>
          </a:p>
        </p:txBody>
      </p:sp>
      <p:cxnSp>
        <p:nvCxnSpPr>
          <p:cNvPr id="55" name="Gerade Verbindung 22">
            <a:extLst>
              <a:ext uri="{FF2B5EF4-FFF2-40B4-BE49-F238E27FC236}">
                <a16:creationId xmlns:a16="http://schemas.microsoft.com/office/drawing/2014/main" id="{0FD81930-1AB6-453C-8CF7-2246B3482FB4}"/>
              </a:ext>
            </a:extLst>
          </p:cNvPr>
          <p:cNvCxnSpPr>
            <a:cxnSpLocks/>
          </p:cNvCxnSpPr>
          <p:nvPr/>
        </p:nvCxnSpPr>
        <p:spPr>
          <a:xfrm>
            <a:off x="509610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7" name="Gerade Verbindung 22">
            <a:extLst>
              <a:ext uri="{FF2B5EF4-FFF2-40B4-BE49-F238E27FC236}">
                <a16:creationId xmlns:a16="http://schemas.microsoft.com/office/drawing/2014/main" id="{F4D114BB-7210-400E-8A65-8B658E626712}"/>
              </a:ext>
            </a:extLst>
          </p:cNvPr>
          <p:cNvCxnSpPr>
            <a:cxnSpLocks/>
          </p:cNvCxnSpPr>
          <p:nvPr/>
        </p:nvCxnSpPr>
        <p:spPr>
          <a:xfrm>
            <a:off x="5096107" y="5577761"/>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60" name="Gerade Verbindung 22">
            <a:extLst>
              <a:ext uri="{FF2B5EF4-FFF2-40B4-BE49-F238E27FC236}">
                <a16:creationId xmlns:a16="http://schemas.microsoft.com/office/drawing/2014/main" id="{71C425F1-6606-4095-917F-0A5EABB8E022}"/>
              </a:ext>
            </a:extLst>
          </p:cNvPr>
          <p:cNvCxnSpPr>
            <a:cxnSpLocks/>
          </p:cNvCxnSpPr>
          <p:nvPr/>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131" name="Gerade Verbindung 22">
            <a:extLst>
              <a:ext uri="{FF2B5EF4-FFF2-40B4-BE49-F238E27FC236}">
                <a16:creationId xmlns:a16="http://schemas.microsoft.com/office/drawing/2014/main" id="{929C78D0-9AC5-4AD0-BA80-D1DBD8376211}"/>
              </a:ext>
            </a:extLst>
          </p:cNvPr>
          <p:cNvCxnSpPr>
            <a:cxnSpLocks/>
          </p:cNvCxnSpPr>
          <p:nvPr userDrawn="1"/>
        </p:nvCxnSpPr>
        <p:spPr>
          <a:xfrm>
            <a:off x="5096107" y="6093705"/>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53" name="Gerade Verbindung 22">
            <a:extLst>
              <a:ext uri="{FF2B5EF4-FFF2-40B4-BE49-F238E27FC236}">
                <a16:creationId xmlns:a16="http://schemas.microsoft.com/office/drawing/2014/main" id="{B7AC5EDF-D9FB-40CE-BD44-B44AB9AF273D}"/>
              </a:ext>
            </a:extLst>
          </p:cNvPr>
          <p:cNvCxnSpPr>
            <a:cxnSpLocks/>
          </p:cNvCxnSpPr>
          <p:nvPr userDrawn="1"/>
        </p:nvCxnSpPr>
        <p:spPr>
          <a:xfrm>
            <a:off x="518318" y="4889103"/>
            <a:ext cx="4319998"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6B3858EA-1E2B-40BB-88B6-70384BC3466D}"/>
              </a:ext>
            </a:extLst>
          </p:cNvPr>
          <p:cNvSpPr txBox="1"/>
          <p:nvPr userDrawn="1"/>
        </p:nvSpPr>
        <p:spPr>
          <a:xfrm>
            <a:off x="518318" y="4965080"/>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1" i="0" u="none" strike="noStrike" kern="1200" cap="none" spc="0" normalizeH="0" baseline="0" noProof="0">
                <a:ln>
                  <a:noFill/>
                </a:ln>
                <a:solidFill>
                  <a:srgbClr val="000000"/>
                </a:solidFill>
                <a:effectLst/>
                <a:uLnTx/>
                <a:uFillTx/>
                <a:latin typeface="ZEISS Frutiger Next W1G"/>
                <a:ea typeface="+mn-ea"/>
                <a:cs typeface="+mn-cs"/>
              </a:rPr>
              <a:t>Zielgruppe:</a:t>
            </a:r>
          </a:p>
        </p:txBody>
      </p:sp>
      <p:sp>
        <p:nvSpPr>
          <p:cNvPr id="54" name="Textfeld 53">
            <a:extLst>
              <a:ext uri="{FF2B5EF4-FFF2-40B4-BE49-F238E27FC236}">
                <a16:creationId xmlns:a16="http://schemas.microsoft.com/office/drawing/2014/main" id="{53F235B6-8F15-44AD-A35D-04C9940BCC70}"/>
              </a:ext>
            </a:extLst>
          </p:cNvPr>
          <p:cNvSpPr txBox="1"/>
          <p:nvPr userDrawn="1"/>
        </p:nvSpPr>
        <p:spPr>
          <a:xfrm>
            <a:off x="518318" y="5141292"/>
            <a:ext cx="899160" cy="18466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800"/>
              </a:spcAft>
              <a:buClrTx/>
              <a:buSzTx/>
              <a:buFont typeface="Wingdings" panose="05000000000000000000" pitchFamily="2" charset="2"/>
              <a:buNone/>
              <a:tabLst/>
            </a:pPr>
            <a:r>
              <a:rPr kumimoji="0" lang="de-DE" sz="1200" b="0" i="0" u="none" strike="noStrike" kern="1200" cap="none" spc="0" normalizeH="0" baseline="0" noProof="0">
                <a:ln>
                  <a:noFill/>
                </a:ln>
                <a:solidFill>
                  <a:srgbClr val="000000"/>
                </a:solidFill>
                <a:effectLst/>
                <a:uLnTx/>
                <a:uFillTx/>
                <a:latin typeface="ZEISS Frutiger Next W1G"/>
                <a:ea typeface="+mn-ea"/>
                <a:cs typeface="+mn-cs"/>
              </a:rPr>
              <a:t>Ziel:</a:t>
            </a:r>
          </a:p>
        </p:txBody>
      </p:sp>
      <p:sp>
        <p:nvSpPr>
          <p:cNvPr id="56" name="Datumsplatzhalter 1">
            <a:extLst>
              <a:ext uri="{FF2B5EF4-FFF2-40B4-BE49-F238E27FC236}">
                <a16:creationId xmlns:a16="http://schemas.microsoft.com/office/drawing/2014/main" id="{3454106C-2ACB-473E-BEB9-6CD72BA5D955}"/>
              </a:ext>
            </a:extLst>
          </p:cNvPr>
          <p:cNvSpPr>
            <a:spLocks noGrp="1"/>
          </p:cNvSpPr>
          <p:nvPr>
            <p:ph type="dt" sz="half" idx="16"/>
          </p:nvPr>
        </p:nvSpPr>
        <p:spPr>
          <a:xfrm>
            <a:off x="5096107" y="5651841"/>
            <a:ext cx="1178208" cy="184666"/>
          </a:xfrm>
          <a:prstGeom prst="rect">
            <a:avLst/>
          </a:prstGeom>
        </p:spPr>
        <p:txBody>
          <a:bodyPr vert="horz" lIns="0" tIns="0" rIns="0" bIns="0" rtlCol="0" anchor="t" anchorCtr="0">
            <a:spAutoFit/>
          </a:bodyPr>
          <a:lstStyle>
            <a:lvl1pPr>
              <a:defRPr lang="de-DE" sz="1200" b="1" smtClean="0">
                <a:cs typeface="+mn-cs"/>
              </a:defRPr>
            </a:lvl1pPr>
          </a:lstStyle>
          <a:p>
            <a:pPr>
              <a:spcAft>
                <a:spcPts val="800"/>
              </a:spcAft>
              <a:buFont typeface="Arial" panose="020B0604020202020204" pitchFamily="34" charset="0"/>
              <a:buNone/>
            </a:pPr>
            <a:fld id="{00D4B15A-12AA-4F65-A681-0A2A5378D5B1}" type="datetime4">
              <a:rPr lang="de-DE" smtClean="0"/>
              <a:t>17. Februar 2025</a:t>
            </a:fld>
            <a:endParaRPr lang="de-DE"/>
          </a:p>
        </p:txBody>
      </p:sp>
      <p:grpSp>
        <p:nvGrpSpPr>
          <p:cNvPr id="51" name="Gruppieren 50">
            <a:extLst>
              <a:ext uri="{FF2B5EF4-FFF2-40B4-BE49-F238E27FC236}">
                <a16:creationId xmlns:a16="http://schemas.microsoft.com/office/drawing/2014/main" id="{DE3F12D7-D968-45FF-97C5-EE698332055B}"/>
              </a:ext>
            </a:extLst>
          </p:cNvPr>
          <p:cNvGrpSpPr/>
          <p:nvPr userDrawn="1"/>
        </p:nvGrpSpPr>
        <p:grpSpPr>
          <a:xfrm>
            <a:off x="299275" y="-697714"/>
            <a:ext cx="11375605" cy="411956"/>
            <a:chOff x="299275" y="6944502"/>
            <a:chExt cx="11375605" cy="411956"/>
          </a:xfrm>
        </p:grpSpPr>
        <p:grpSp>
          <p:nvGrpSpPr>
            <p:cNvPr id="52" name="Gruppieren 51">
              <a:extLst>
                <a:ext uri="{FF2B5EF4-FFF2-40B4-BE49-F238E27FC236}">
                  <a16:creationId xmlns:a16="http://schemas.microsoft.com/office/drawing/2014/main" id="{72FDE1AE-6C26-4AEA-B813-968E3FA84E45}"/>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91E1ABA-279E-42BE-A471-0665792380F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1CB283-6586-422E-A364-5B59963EA1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58" name="Gruppieren 57">
              <a:extLst>
                <a:ext uri="{FF2B5EF4-FFF2-40B4-BE49-F238E27FC236}">
                  <a16:creationId xmlns:a16="http://schemas.microsoft.com/office/drawing/2014/main" id="{0DF1696E-3E10-42C0-87B2-EC94416ABDD7}"/>
                </a:ext>
              </a:extLst>
            </p:cNvPr>
            <p:cNvGrpSpPr/>
            <p:nvPr/>
          </p:nvGrpSpPr>
          <p:grpSpPr>
            <a:xfrm rot="16200000">
              <a:off x="5637228" y="7042149"/>
              <a:ext cx="411956" cy="216662"/>
              <a:chOff x="-615197" y="4295013"/>
              <a:chExt cx="411956" cy="216662"/>
            </a:xfrm>
          </p:grpSpPr>
          <p:cxnSp>
            <p:nvCxnSpPr>
              <p:cNvPr id="67" name="Gerader Verbinder 66">
                <a:extLst>
                  <a:ext uri="{FF2B5EF4-FFF2-40B4-BE49-F238E27FC236}">
                    <a16:creationId xmlns:a16="http://schemas.microsoft.com/office/drawing/2014/main" id="{BE529AD2-E754-43F8-9BF1-A71DDC97706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61F84B31-21D7-4645-94FB-2E2C3D0875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9" name="Gruppieren 58">
              <a:extLst>
                <a:ext uri="{FF2B5EF4-FFF2-40B4-BE49-F238E27FC236}">
                  <a16:creationId xmlns:a16="http://schemas.microsoft.com/office/drawing/2014/main" id="{7666289F-95B3-42CA-9894-E8382EEDD363}"/>
                </a:ext>
              </a:extLst>
            </p:cNvPr>
            <p:cNvGrpSpPr/>
            <p:nvPr/>
          </p:nvGrpSpPr>
          <p:grpSpPr>
            <a:xfrm rot="5400000">
              <a:off x="6093326" y="7042149"/>
              <a:ext cx="411956" cy="216662"/>
              <a:chOff x="-615197" y="4346120"/>
              <a:chExt cx="411956" cy="216662"/>
            </a:xfrm>
          </p:grpSpPr>
          <p:cxnSp>
            <p:nvCxnSpPr>
              <p:cNvPr id="65" name="Gerader Verbinder 64">
                <a:extLst>
                  <a:ext uri="{FF2B5EF4-FFF2-40B4-BE49-F238E27FC236}">
                    <a16:creationId xmlns:a16="http://schemas.microsoft.com/office/drawing/2014/main" id="{A283C2BC-ADCB-4686-B92F-49DD699B610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C03614CA-20E4-461C-8B07-C939BFB72E28}"/>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61" name="Gerader Verbinder 60">
              <a:extLst>
                <a:ext uri="{FF2B5EF4-FFF2-40B4-BE49-F238E27FC236}">
                  <a16:creationId xmlns:a16="http://schemas.microsoft.com/office/drawing/2014/main" id="{664268DC-D962-4CCE-9B3A-8E490709CE6C}"/>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BA562E17-33AB-4950-A73C-23DB7258315E}"/>
                </a:ext>
              </a:extLst>
            </p:cNvPr>
            <p:cNvGrpSpPr/>
            <p:nvPr/>
          </p:nvGrpSpPr>
          <p:grpSpPr>
            <a:xfrm rot="16200000">
              <a:off x="11360571" y="7042149"/>
              <a:ext cx="411956" cy="216662"/>
              <a:chOff x="-615197" y="4295013"/>
              <a:chExt cx="411956" cy="216662"/>
            </a:xfrm>
          </p:grpSpPr>
          <p:cxnSp>
            <p:nvCxnSpPr>
              <p:cNvPr id="63" name="Gerader Verbinder 62">
                <a:extLst>
                  <a:ext uri="{FF2B5EF4-FFF2-40B4-BE49-F238E27FC236}">
                    <a16:creationId xmlns:a16="http://schemas.microsoft.com/office/drawing/2014/main" id="{5980CC73-B1B3-400D-B426-6EB953D9926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5D103127-8A82-4D11-A5CE-BF0E3A73AF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9" name="Gruppieren 88">
            <a:extLst>
              <a:ext uri="{FF2B5EF4-FFF2-40B4-BE49-F238E27FC236}">
                <a16:creationId xmlns:a16="http://schemas.microsoft.com/office/drawing/2014/main" id="{5CDD8002-7AD1-416E-B505-410900BC2903}"/>
              </a:ext>
            </a:extLst>
          </p:cNvPr>
          <p:cNvGrpSpPr/>
          <p:nvPr userDrawn="1"/>
        </p:nvGrpSpPr>
        <p:grpSpPr>
          <a:xfrm>
            <a:off x="-697714" y="80201"/>
            <a:ext cx="411956" cy="6729801"/>
            <a:chOff x="-502267" y="80201"/>
            <a:chExt cx="411956" cy="6729801"/>
          </a:xfrm>
        </p:grpSpPr>
        <p:grpSp>
          <p:nvGrpSpPr>
            <p:cNvPr id="106" name="Gruppieren 105">
              <a:extLst>
                <a:ext uri="{FF2B5EF4-FFF2-40B4-BE49-F238E27FC236}">
                  <a16:creationId xmlns:a16="http://schemas.microsoft.com/office/drawing/2014/main" id="{22298FC9-D43F-401F-B1B1-71F1D9452654}"/>
                </a:ext>
              </a:extLst>
            </p:cNvPr>
            <p:cNvGrpSpPr/>
            <p:nvPr/>
          </p:nvGrpSpPr>
          <p:grpSpPr>
            <a:xfrm>
              <a:off x="-502267" y="6593340"/>
              <a:ext cx="411956" cy="216662"/>
              <a:chOff x="-615197" y="4452994"/>
              <a:chExt cx="411956" cy="216662"/>
            </a:xfrm>
          </p:grpSpPr>
          <p:sp>
            <p:nvSpPr>
              <p:cNvPr id="122" name="Textfeld 121">
                <a:extLst>
                  <a:ext uri="{FF2B5EF4-FFF2-40B4-BE49-F238E27FC236}">
                    <a16:creationId xmlns:a16="http://schemas.microsoft.com/office/drawing/2014/main" id="{B2A35812-FBAC-40B1-BB5C-14BE0906D3A6}"/>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23" name="Gerader Verbinder 122">
                <a:extLst>
                  <a:ext uri="{FF2B5EF4-FFF2-40B4-BE49-F238E27FC236}">
                    <a16:creationId xmlns:a16="http://schemas.microsoft.com/office/drawing/2014/main" id="{BBD32DB6-A18D-49E6-873F-487940E302D0}"/>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14DBCEAA-78E9-491F-9AF2-E2669BB34E3F}"/>
                </a:ext>
              </a:extLst>
            </p:cNvPr>
            <p:cNvGrpSpPr/>
            <p:nvPr/>
          </p:nvGrpSpPr>
          <p:grpSpPr>
            <a:xfrm>
              <a:off x="-502267" y="5876163"/>
              <a:ext cx="411956" cy="216662"/>
              <a:chOff x="-615197" y="4295013"/>
              <a:chExt cx="411956" cy="216662"/>
            </a:xfrm>
          </p:grpSpPr>
          <p:cxnSp>
            <p:nvCxnSpPr>
              <p:cNvPr id="120" name="Gerader Verbinder 119">
                <a:extLst>
                  <a:ext uri="{FF2B5EF4-FFF2-40B4-BE49-F238E27FC236}">
                    <a16:creationId xmlns:a16="http://schemas.microsoft.com/office/drawing/2014/main" id="{E1F04B3A-51E9-4420-81F8-033430342D08}"/>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26FB21A6-6566-4E54-9F20-79BAEEA2A24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108" name="Gruppieren 107">
              <a:extLst>
                <a:ext uri="{FF2B5EF4-FFF2-40B4-BE49-F238E27FC236}">
                  <a16:creationId xmlns:a16="http://schemas.microsoft.com/office/drawing/2014/main" id="{CAB92BD1-5C1A-4FE9-A42A-5E490896E829}"/>
                </a:ext>
              </a:extLst>
            </p:cNvPr>
            <p:cNvGrpSpPr/>
            <p:nvPr/>
          </p:nvGrpSpPr>
          <p:grpSpPr>
            <a:xfrm>
              <a:off x="-502267" y="3212338"/>
              <a:ext cx="411956" cy="216662"/>
              <a:chOff x="-615197" y="4295013"/>
              <a:chExt cx="411956" cy="216662"/>
            </a:xfrm>
          </p:grpSpPr>
          <p:cxnSp>
            <p:nvCxnSpPr>
              <p:cNvPr id="118" name="Gerader Verbinder 117">
                <a:extLst>
                  <a:ext uri="{FF2B5EF4-FFF2-40B4-BE49-F238E27FC236}">
                    <a16:creationId xmlns:a16="http://schemas.microsoft.com/office/drawing/2014/main" id="{1359EBEA-50DB-4672-903B-010118452BDB}"/>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Textfeld 118">
                <a:extLst>
                  <a:ext uri="{FF2B5EF4-FFF2-40B4-BE49-F238E27FC236}">
                    <a16:creationId xmlns:a16="http://schemas.microsoft.com/office/drawing/2014/main" id="{72B1BA01-3E35-4B6D-B278-DEFD6AC4F162}"/>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109" name="Gruppieren 108">
              <a:extLst>
                <a:ext uri="{FF2B5EF4-FFF2-40B4-BE49-F238E27FC236}">
                  <a16:creationId xmlns:a16="http://schemas.microsoft.com/office/drawing/2014/main" id="{0E960B3D-121E-489F-8583-F1A1A12BADC8}"/>
                </a:ext>
              </a:extLst>
            </p:cNvPr>
            <p:cNvGrpSpPr/>
            <p:nvPr/>
          </p:nvGrpSpPr>
          <p:grpSpPr>
            <a:xfrm>
              <a:off x="-502267" y="835851"/>
              <a:ext cx="411956" cy="216662"/>
              <a:chOff x="-615197" y="4295013"/>
              <a:chExt cx="411956" cy="216662"/>
            </a:xfrm>
          </p:grpSpPr>
          <p:cxnSp>
            <p:nvCxnSpPr>
              <p:cNvPr id="116" name="Gerader Verbinder 115">
                <a:extLst>
                  <a:ext uri="{FF2B5EF4-FFF2-40B4-BE49-F238E27FC236}">
                    <a16:creationId xmlns:a16="http://schemas.microsoft.com/office/drawing/2014/main" id="{DDC265A6-1155-4DAB-B5FD-05C71CEACAEA}"/>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7" name="Textfeld 116">
                <a:extLst>
                  <a:ext uri="{FF2B5EF4-FFF2-40B4-BE49-F238E27FC236}">
                    <a16:creationId xmlns:a16="http://schemas.microsoft.com/office/drawing/2014/main" id="{1EDB2519-37D8-4181-B6A1-FBC78D49AF5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110" name="Gruppieren 109">
              <a:extLst>
                <a:ext uri="{FF2B5EF4-FFF2-40B4-BE49-F238E27FC236}">
                  <a16:creationId xmlns:a16="http://schemas.microsoft.com/office/drawing/2014/main" id="{E7D6D417-2C0A-4171-9090-79BEC182C0E0}"/>
                </a:ext>
              </a:extLst>
            </p:cNvPr>
            <p:cNvGrpSpPr/>
            <p:nvPr/>
          </p:nvGrpSpPr>
          <p:grpSpPr>
            <a:xfrm>
              <a:off x="-502267" y="1412113"/>
              <a:ext cx="411956" cy="216662"/>
              <a:chOff x="-615197" y="4295013"/>
              <a:chExt cx="411956" cy="216662"/>
            </a:xfrm>
          </p:grpSpPr>
          <p:cxnSp>
            <p:nvCxnSpPr>
              <p:cNvPr id="114" name="Gerader Verbinder 113">
                <a:extLst>
                  <a:ext uri="{FF2B5EF4-FFF2-40B4-BE49-F238E27FC236}">
                    <a16:creationId xmlns:a16="http://schemas.microsoft.com/office/drawing/2014/main" id="{2FE163FB-290C-440B-A523-B05DE7CDE01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Textfeld 114">
                <a:extLst>
                  <a:ext uri="{FF2B5EF4-FFF2-40B4-BE49-F238E27FC236}">
                    <a16:creationId xmlns:a16="http://schemas.microsoft.com/office/drawing/2014/main" id="{EF1AABF4-52E2-4E0A-AF0B-7DD96FF7601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111" name="Gruppieren 110">
              <a:extLst>
                <a:ext uri="{FF2B5EF4-FFF2-40B4-BE49-F238E27FC236}">
                  <a16:creationId xmlns:a16="http://schemas.microsoft.com/office/drawing/2014/main" id="{9031660F-3F40-42E2-A9B2-8B22C61D7700}"/>
                </a:ext>
              </a:extLst>
            </p:cNvPr>
            <p:cNvGrpSpPr/>
            <p:nvPr/>
          </p:nvGrpSpPr>
          <p:grpSpPr>
            <a:xfrm>
              <a:off x="-502267" y="80201"/>
              <a:ext cx="411956" cy="216662"/>
              <a:chOff x="-615197" y="4258501"/>
              <a:chExt cx="411956" cy="216662"/>
            </a:xfrm>
          </p:grpSpPr>
          <p:cxnSp>
            <p:nvCxnSpPr>
              <p:cNvPr id="112" name="Gerader Verbinder 111">
                <a:extLst>
                  <a:ext uri="{FF2B5EF4-FFF2-40B4-BE49-F238E27FC236}">
                    <a16:creationId xmlns:a16="http://schemas.microsoft.com/office/drawing/2014/main" id="{CE78153C-4DD5-40DA-941B-BF81D7569DDB}"/>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E5BC182-797A-42A9-A488-DF25F3387444}"/>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4" name="Grafik 3">
            <a:extLst>
              <a:ext uri="{FF2B5EF4-FFF2-40B4-BE49-F238E27FC236}">
                <a16:creationId xmlns:a16="http://schemas.microsoft.com/office/drawing/2014/main" id="{991A978D-32DF-E272-AB92-63C3D247E88B}"/>
              </a:ext>
            </a:extLst>
          </p:cNvPr>
          <p:cNvPicPr>
            <a:picLocks noChangeAspect="1"/>
          </p:cNvPicPr>
          <p:nvPr userDrawn="1"/>
        </p:nvPicPr>
        <p:blipFill>
          <a:blip r:embed="rId2">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37475790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81714DB-9690-4B9C-AE71-D69C194A8565}"/>
              </a:ext>
            </a:extLst>
          </p:cNvPr>
          <p:cNvSpPr>
            <a:spLocks noGrp="1"/>
          </p:cNvSpPr>
          <p:nvPr>
            <p:ph type="dt" sz="half" idx="10"/>
          </p:nvPr>
        </p:nvSpPr>
        <p:spPr/>
        <p:txBody>
          <a:bodyPr/>
          <a:lstStyle/>
          <a:p>
            <a:fld id="{AB8FEBE3-C9EC-4CCE-B552-6508001DE3C7}" type="datetime4">
              <a:rPr lang="de-DE" smtClean="0"/>
              <a:t>17. Februar 2025</a:t>
            </a:fld>
            <a:endParaRPr lang="de-DE"/>
          </a:p>
        </p:txBody>
      </p:sp>
      <p:sp>
        <p:nvSpPr>
          <p:cNvPr id="3" name="Fußzeilenplatzhalter 2">
            <a:extLst>
              <a:ext uri="{FF2B5EF4-FFF2-40B4-BE49-F238E27FC236}">
                <a16:creationId xmlns:a16="http://schemas.microsoft.com/office/drawing/2014/main" id="{446C72EA-DE60-466F-AE20-8773B06AD3B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F84CBC0E-37BD-40AE-98B2-59274338CA38}"/>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4042860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6D2307-1BB1-4D6C-A036-CD30D42B7F9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6F6C89B-561E-4500-84E2-B35A914F6C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C301CC53-78F7-4D58-BDA7-841FBE244D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97156A7-1F4A-44B4-81C3-B22157C179E0}"/>
              </a:ext>
            </a:extLst>
          </p:cNvPr>
          <p:cNvSpPr>
            <a:spLocks noGrp="1"/>
          </p:cNvSpPr>
          <p:nvPr>
            <p:ph type="dt" sz="half" idx="10"/>
          </p:nvPr>
        </p:nvSpPr>
        <p:spPr/>
        <p:txBody>
          <a:bodyPr/>
          <a:lstStyle/>
          <a:p>
            <a:fld id="{D67AFFC4-A85B-40D8-815C-2736C44950C1}" type="datetime4">
              <a:rPr lang="de-DE" smtClean="0"/>
              <a:t>17. Februar 2025</a:t>
            </a:fld>
            <a:endParaRPr lang="de-DE"/>
          </a:p>
        </p:txBody>
      </p:sp>
      <p:sp>
        <p:nvSpPr>
          <p:cNvPr id="6" name="Fußzeilenplatzhalter 5">
            <a:extLst>
              <a:ext uri="{FF2B5EF4-FFF2-40B4-BE49-F238E27FC236}">
                <a16:creationId xmlns:a16="http://schemas.microsoft.com/office/drawing/2014/main" id="{0A7E7222-50EF-4776-B29A-D45DB2217EC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CFEBCBE-640E-4628-A4F1-E20F09EFBB76}"/>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910336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8C782-4265-4F8B-93FA-7CF8BE7F406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5E05E7B-42D8-4BA6-A5FA-1CD2B0D917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7FDADFA-A26F-45D8-8103-AD4B63F3D5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B7C7AD2-69E3-463C-9A6D-9BFBC2DDC899}"/>
              </a:ext>
            </a:extLst>
          </p:cNvPr>
          <p:cNvSpPr>
            <a:spLocks noGrp="1"/>
          </p:cNvSpPr>
          <p:nvPr>
            <p:ph type="dt" sz="half" idx="10"/>
          </p:nvPr>
        </p:nvSpPr>
        <p:spPr/>
        <p:txBody>
          <a:bodyPr/>
          <a:lstStyle/>
          <a:p>
            <a:fld id="{0C618044-4876-4979-959F-D033556A73FB}" type="datetime4">
              <a:rPr lang="de-DE" smtClean="0"/>
              <a:t>17. Februar 2025</a:t>
            </a:fld>
            <a:endParaRPr lang="de-DE"/>
          </a:p>
        </p:txBody>
      </p:sp>
      <p:sp>
        <p:nvSpPr>
          <p:cNvPr id="6" name="Fußzeilenplatzhalter 5">
            <a:extLst>
              <a:ext uri="{FF2B5EF4-FFF2-40B4-BE49-F238E27FC236}">
                <a16:creationId xmlns:a16="http://schemas.microsoft.com/office/drawing/2014/main" id="{55FB86C2-F937-4060-A604-CFACE76110D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87A6F5E-3BFB-40B2-B004-A2E1BE0C9F7E}"/>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1823355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4C8553-049C-4B6E-AEB5-E7FFA56993E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1DFCB248-C750-4805-B315-6A8A12EDC60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B543F2A-EAA1-48CF-BA39-62E89142DB9F}"/>
              </a:ext>
            </a:extLst>
          </p:cNvPr>
          <p:cNvSpPr>
            <a:spLocks noGrp="1"/>
          </p:cNvSpPr>
          <p:nvPr>
            <p:ph type="dt" sz="half" idx="10"/>
          </p:nvPr>
        </p:nvSpPr>
        <p:spPr/>
        <p:txBody>
          <a:bodyPr/>
          <a:lstStyle/>
          <a:p>
            <a:fld id="{72791E3A-FFA6-4D9B-B566-B93557A04D79}" type="datetime4">
              <a:rPr lang="de-DE" smtClean="0"/>
              <a:t>17. Februar 2025</a:t>
            </a:fld>
            <a:endParaRPr lang="de-DE"/>
          </a:p>
        </p:txBody>
      </p:sp>
      <p:sp>
        <p:nvSpPr>
          <p:cNvPr id="5" name="Fußzeilenplatzhalter 4">
            <a:extLst>
              <a:ext uri="{FF2B5EF4-FFF2-40B4-BE49-F238E27FC236}">
                <a16:creationId xmlns:a16="http://schemas.microsoft.com/office/drawing/2014/main" id="{C8E384F6-0AFA-4F60-B106-014C554609B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D352746-02A0-4E10-9E38-06B590D0A5B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31156638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9C763DD-34E5-402E-8080-C9A589B0FF84}"/>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514266B-F91F-4BE9-BB03-B360EB22977B}"/>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199DCB2-0AF4-47D6-AADA-E7AD42265A7F}"/>
              </a:ext>
            </a:extLst>
          </p:cNvPr>
          <p:cNvSpPr>
            <a:spLocks noGrp="1"/>
          </p:cNvSpPr>
          <p:nvPr>
            <p:ph type="dt" sz="half" idx="10"/>
          </p:nvPr>
        </p:nvSpPr>
        <p:spPr/>
        <p:txBody>
          <a:bodyPr/>
          <a:lstStyle/>
          <a:p>
            <a:fld id="{4A6C71D2-62CE-450F-8772-B6759F3C0EFD}" type="datetime4">
              <a:rPr lang="de-DE" smtClean="0"/>
              <a:t>17. Februar 2025</a:t>
            </a:fld>
            <a:endParaRPr lang="de-DE"/>
          </a:p>
        </p:txBody>
      </p:sp>
      <p:sp>
        <p:nvSpPr>
          <p:cNvPr id="5" name="Fußzeilenplatzhalter 4">
            <a:extLst>
              <a:ext uri="{FF2B5EF4-FFF2-40B4-BE49-F238E27FC236}">
                <a16:creationId xmlns:a16="http://schemas.microsoft.com/office/drawing/2014/main" id="{5EBEB7FA-BE28-4072-BA2C-D90E10735ED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DE06519-F145-4279-B3D6-C1BF2222850B}"/>
              </a:ext>
            </a:extLst>
          </p:cNvPr>
          <p:cNvSpPr>
            <a:spLocks noGrp="1"/>
          </p:cNvSpPr>
          <p:nvPr>
            <p:ph type="sldNum" sz="quarter" idx="12"/>
          </p:nvPr>
        </p:nvSpPr>
        <p:spPr/>
        <p:txBody>
          <a:bodyPr/>
          <a:lstStyle/>
          <a:p>
            <a:fld id="{63851B7C-8F40-4CA7-88A3-3ED2BD8838B0}" type="slidenum">
              <a:rPr lang="de-DE" smtClean="0"/>
              <a:t>‹Nr.›</a:t>
            </a:fld>
            <a:endParaRPr lang="de-DE"/>
          </a:p>
        </p:txBody>
      </p:sp>
    </p:spTree>
    <p:extLst>
      <p:ext uri="{BB962C8B-B14F-4D97-AF65-F5344CB8AC3E}">
        <p14:creationId xmlns:p14="http://schemas.microsoft.com/office/powerpoint/2010/main" val="2223486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5" name="Textplatzhalter 12">
            <a:extLst>
              <a:ext uri="{FF2B5EF4-FFF2-40B4-BE49-F238E27FC236}">
                <a16:creationId xmlns:a16="http://schemas.microsoft.com/office/drawing/2014/main" id="{F2C8B787-6095-434A-9C6C-78A5108C8B6D}"/>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36" name="Textplatzhalter 12">
            <a:extLst>
              <a:ext uri="{FF2B5EF4-FFF2-40B4-BE49-F238E27FC236}">
                <a16:creationId xmlns:a16="http://schemas.microsoft.com/office/drawing/2014/main" id="{EDBC396B-1D3D-4E70-9A15-834458035ED8}"/>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37" name="Textplatzhalter 12">
            <a:extLst>
              <a:ext uri="{FF2B5EF4-FFF2-40B4-BE49-F238E27FC236}">
                <a16:creationId xmlns:a16="http://schemas.microsoft.com/office/drawing/2014/main" id="{16496151-4C59-4CA7-9171-93A5E6FD0E38}"/>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38" name="Textplatzhalter 12">
            <a:extLst>
              <a:ext uri="{FF2B5EF4-FFF2-40B4-BE49-F238E27FC236}">
                <a16:creationId xmlns:a16="http://schemas.microsoft.com/office/drawing/2014/main" id="{2E872B50-F58D-4049-829B-5D4FC3DD44BB}"/>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39" name="Textplatzhalter 12">
            <a:extLst>
              <a:ext uri="{FF2B5EF4-FFF2-40B4-BE49-F238E27FC236}">
                <a16:creationId xmlns:a16="http://schemas.microsoft.com/office/drawing/2014/main" id="{365BC96D-ED2D-464E-BC70-A23FF37E8D5D}"/>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40" name="Textplatzhalter 12">
            <a:extLst>
              <a:ext uri="{FF2B5EF4-FFF2-40B4-BE49-F238E27FC236}">
                <a16:creationId xmlns:a16="http://schemas.microsoft.com/office/drawing/2014/main" id="{B065DB6D-E88A-4417-88AE-F3BDA7535DFA}"/>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41" name="Textplatzhalter 12">
            <a:extLst>
              <a:ext uri="{FF2B5EF4-FFF2-40B4-BE49-F238E27FC236}">
                <a16:creationId xmlns:a16="http://schemas.microsoft.com/office/drawing/2014/main" id="{AEB6ADF8-03FE-4219-AC3D-60860EB9B1E0}"/>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42" name="Textplatzhalter 12">
            <a:extLst>
              <a:ext uri="{FF2B5EF4-FFF2-40B4-BE49-F238E27FC236}">
                <a16:creationId xmlns:a16="http://schemas.microsoft.com/office/drawing/2014/main" id="{39606005-B38E-44BD-9756-AFE8B8BBACA0}"/>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33" name="Textplatzhalter 12">
            <a:extLst>
              <a:ext uri="{FF2B5EF4-FFF2-40B4-BE49-F238E27FC236}">
                <a16:creationId xmlns:a16="http://schemas.microsoft.com/office/drawing/2014/main" id="{552BBB7B-042B-4EB3-835B-819E155C7D34}"/>
              </a:ext>
            </a:extLst>
          </p:cNvPr>
          <p:cNvSpPr>
            <a:spLocks noGrp="1"/>
          </p:cNvSpPr>
          <p:nvPr>
            <p:ph type="body" sz="quarter" idx="14" hasCustomPrompt="1"/>
          </p:nvPr>
        </p:nvSpPr>
        <p:spPr>
          <a:xfrm>
            <a:off x="0" y="1670595"/>
            <a:ext cx="946800" cy="539942"/>
          </a:xfrm>
          <a:noFill/>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1</a:t>
            </a:r>
          </a:p>
        </p:txBody>
      </p:sp>
      <p:sp>
        <p:nvSpPr>
          <p:cNvPr id="43" name="Textplatzhalter 12">
            <a:extLst>
              <a:ext uri="{FF2B5EF4-FFF2-40B4-BE49-F238E27FC236}">
                <a16:creationId xmlns:a16="http://schemas.microsoft.com/office/drawing/2014/main" id="{794860D3-268B-4144-8AB0-52365C4C9C25}"/>
              </a:ext>
            </a:extLst>
          </p:cNvPr>
          <p:cNvSpPr>
            <a:spLocks noGrp="1"/>
          </p:cNvSpPr>
          <p:nvPr>
            <p:ph type="body" sz="quarter" idx="16" hasCustomPrompt="1"/>
          </p:nvPr>
        </p:nvSpPr>
        <p:spPr>
          <a:xfrm>
            <a:off x="0" y="295254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3</a:t>
            </a:r>
          </a:p>
        </p:txBody>
      </p:sp>
      <p:sp>
        <p:nvSpPr>
          <p:cNvPr id="45" name="Textplatzhalter 12">
            <a:extLst>
              <a:ext uri="{FF2B5EF4-FFF2-40B4-BE49-F238E27FC236}">
                <a16:creationId xmlns:a16="http://schemas.microsoft.com/office/drawing/2014/main" id="{7227C327-0142-4EA6-AEFB-173EFCBAE0C6}"/>
              </a:ext>
            </a:extLst>
          </p:cNvPr>
          <p:cNvSpPr>
            <a:spLocks noGrp="1"/>
          </p:cNvSpPr>
          <p:nvPr>
            <p:ph type="body" sz="quarter" idx="17" hasCustomPrompt="1"/>
          </p:nvPr>
        </p:nvSpPr>
        <p:spPr>
          <a:xfrm>
            <a:off x="0" y="359352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4</a:t>
            </a:r>
          </a:p>
        </p:txBody>
      </p:sp>
      <p:sp>
        <p:nvSpPr>
          <p:cNvPr id="46" name="Textplatzhalter 12">
            <a:extLst>
              <a:ext uri="{FF2B5EF4-FFF2-40B4-BE49-F238E27FC236}">
                <a16:creationId xmlns:a16="http://schemas.microsoft.com/office/drawing/2014/main" id="{C5438030-4C98-4CAF-B3C0-CE976BED34CC}"/>
              </a:ext>
            </a:extLst>
          </p:cNvPr>
          <p:cNvSpPr>
            <a:spLocks noGrp="1"/>
          </p:cNvSpPr>
          <p:nvPr>
            <p:ph type="body" sz="quarter" idx="18" hasCustomPrompt="1"/>
          </p:nvPr>
        </p:nvSpPr>
        <p:spPr>
          <a:xfrm>
            <a:off x="0" y="4234495"/>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5</a:t>
            </a:r>
          </a:p>
        </p:txBody>
      </p:sp>
      <p:sp>
        <p:nvSpPr>
          <p:cNvPr id="47" name="Textplatzhalter 12">
            <a:extLst>
              <a:ext uri="{FF2B5EF4-FFF2-40B4-BE49-F238E27FC236}">
                <a16:creationId xmlns:a16="http://schemas.microsoft.com/office/drawing/2014/main" id="{16E2D676-DB17-4B9A-AA0D-A3F245644FB6}"/>
              </a:ext>
            </a:extLst>
          </p:cNvPr>
          <p:cNvSpPr>
            <a:spLocks noGrp="1"/>
          </p:cNvSpPr>
          <p:nvPr>
            <p:ph type="body" sz="quarter" idx="19" hasCustomPrompt="1"/>
          </p:nvPr>
        </p:nvSpPr>
        <p:spPr>
          <a:xfrm>
            <a:off x="0" y="48754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6</a:t>
            </a:r>
          </a:p>
        </p:txBody>
      </p:sp>
      <p:sp>
        <p:nvSpPr>
          <p:cNvPr id="48" name="Textplatzhalter 12">
            <a:extLst>
              <a:ext uri="{FF2B5EF4-FFF2-40B4-BE49-F238E27FC236}">
                <a16:creationId xmlns:a16="http://schemas.microsoft.com/office/drawing/2014/main" id="{79FCABAB-1D64-41D4-9EB2-F6F60A885028}"/>
              </a:ext>
            </a:extLst>
          </p:cNvPr>
          <p:cNvSpPr>
            <a:spLocks noGrp="1"/>
          </p:cNvSpPr>
          <p:nvPr>
            <p:ph type="body" sz="quarter" idx="20" hasCustomPrompt="1"/>
          </p:nvPr>
        </p:nvSpPr>
        <p:spPr>
          <a:xfrm>
            <a:off x="0" y="5516447"/>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7</a:t>
            </a:r>
          </a:p>
        </p:txBody>
      </p:sp>
      <p:sp>
        <p:nvSpPr>
          <p:cNvPr id="49" name="Textplatzhalter 12">
            <a:extLst>
              <a:ext uri="{FF2B5EF4-FFF2-40B4-BE49-F238E27FC236}">
                <a16:creationId xmlns:a16="http://schemas.microsoft.com/office/drawing/2014/main" id="{BBCB46D3-00EC-450B-A636-FB52817DBCD1}"/>
              </a:ext>
            </a:extLst>
          </p:cNvPr>
          <p:cNvSpPr>
            <a:spLocks noGrp="1"/>
          </p:cNvSpPr>
          <p:nvPr>
            <p:ph type="body" sz="quarter" idx="44" hasCustomPrompt="1"/>
          </p:nvPr>
        </p:nvSpPr>
        <p:spPr>
          <a:xfrm>
            <a:off x="0" y="2311570"/>
            <a:ext cx="946800" cy="539942"/>
          </a:xfrm>
        </p:spPr>
        <p:txBody>
          <a:bodyPr wrap="square" lIns="518400" tIns="54000" bIns="54000" anchor="ctr" anchorCtr="0">
            <a:sp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Zahl muss überschrieben werden; </a:t>
            </a:r>
            <a:r>
              <a:rPr lang="de-DE" err="1"/>
              <a:t>Agendapunkt</a:t>
            </a:r>
            <a:r>
              <a:rPr lang="de-DE"/>
              <a:t> hinzufügen</a:t>
            </a:r>
          </a:p>
        </p:txBody>
      </p:sp>
      <p:sp>
        <p:nvSpPr>
          <p:cNvPr id="3" name="Datumsplatzhalter 2">
            <a:extLst>
              <a:ext uri="{FF2B5EF4-FFF2-40B4-BE49-F238E27FC236}">
                <a16:creationId xmlns:a16="http://schemas.microsoft.com/office/drawing/2014/main" id="{B9366EC2-D105-48A7-B8E4-3E5DD841504A}"/>
              </a:ext>
            </a:extLst>
          </p:cNvPr>
          <p:cNvSpPr>
            <a:spLocks noGrp="1"/>
          </p:cNvSpPr>
          <p:nvPr>
            <p:ph type="dt" sz="half" idx="41"/>
          </p:nvPr>
        </p:nvSpPr>
        <p:spPr/>
        <p:txBody>
          <a:bodyPr/>
          <a:lstStyle/>
          <a:p>
            <a:fld id="{476DA324-C85F-47E6-B523-9F944315266C}" type="datetime4">
              <a:rPr lang="de-DE" smtClean="0"/>
              <a:t>17. Februar 2025</a:t>
            </a:fld>
            <a:endParaRPr lang="de-DE"/>
          </a:p>
        </p:txBody>
      </p:sp>
      <p:sp>
        <p:nvSpPr>
          <p:cNvPr id="5" name="Foliennummernplatzhalter 4">
            <a:extLst>
              <a:ext uri="{FF2B5EF4-FFF2-40B4-BE49-F238E27FC236}">
                <a16:creationId xmlns:a16="http://schemas.microsoft.com/office/drawing/2014/main" id="{67267479-09D9-4A9B-BD11-49CBF9C1E4A8}"/>
              </a:ext>
            </a:extLst>
          </p:cNvPr>
          <p:cNvSpPr>
            <a:spLocks noGrp="1"/>
          </p:cNvSpPr>
          <p:nvPr>
            <p:ph type="sldNum" sz="quarter" idx="43"/>
          </p:nvPr>
        </p:nvSpPr>
        <p:spPr/>
        <p:txBody>
          <a:bodyPr/>
          <a:lstStyle/>
          <a:p>
            <a:fld id="{C6A4AD45-2621-4550-9DC5-4911F1B5FA4D}" type="slidenum">
              <a:rPr lang="de-DE" smtClean="0"/>
              <a:pPr/>
              <a:t>‹Nr.›</a:t>
            </a:fld>
            <a:endParaRPr lang="de-DE"/>
          </a:p>
        </p:txBody>
      </p:sp>
      <p:sp>
        <p:nvSpPr>
          <p:cNvPr id="50" name="Textplatzhalter 27">
            <a:extLst>
              <a:ext uri="{FF2B5EF4-FFF2-40B4-BE49-F238E27FC236}">
                <a16:creationId xmlns:a16="http://schemas.microsoft.com/office/drawing/2014/main" id="{1AF8F226-D83E-4A8A-A0F2-15D5C1B6E316}"/>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1" name="Textplatzhalter 27">
            <a:extLst>
              <a:ext uri="{FF2B5EF4-FFF2-40B4-BE49-F238E27FC236}">
                <a16:creationId xmlns:a16="http://schemas.microsoft.com/office/drawing/2014/main" id="{6FD107AB-96B0-4BD6-AA8D-8799FA2AFB4B}"/>
              </a:ext>
            </a:extLst>
          </p:cNvPr>
          <p:cNvSpPr>
            <a:spLocks noGrp="1"/>
          </p:cNvSpPr>
          <p:nvPr>
            <p:ph type="body" sz="quarter" idx="46" hasCustomPrompt="1"/>
          </p:nvPr>
        </p:nvSpPr>
        <p:spPr>
          <a:xfrm>
            <a:off x="10509624" y="17131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2" name="Textplatzhalter 27">
            <a:extLst>
              <a:ext uri="{FF2B5EF4-FFF2-40B4-BE49-F238E27FC236}">
                <a16:creationId xmlns:a16="http://schemas.microsoft.com/office/drawing/2014/main" id="{260CEC10-1DA2-4B47-96EB-E91F197E94C0}"/>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3" name="Textplatzhalter 27">
            <a:extLst>
              <a:ext uri="{FF2B5EF4-FFF2-40B4-BE49-F238E27FC236}">
                <a16:creationId xmlns:a16="http://schemas.microsoft.com/office/drawing/2014/main" id="{3CB1FA78-3D03-4648-8CF3-239710E730AB}"/>
              </a:ext>
            </a:extLst>
          </p:cNvPr>
          <p:cNvSpPr>
            <a:spLocks noGrp="1"/>
          </p:cNvSpPr>
          <p:nvPr>
            <p:ph type="body" sz="quarter" idx="48" hasCustomPrompt="1"/>
          </p:nvPr>
        </p:nvSpPr>
        <p:spPr>
          <a:xfrm>
            <a:off x="10509624" y="5559049"/>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6" name="Textplatzhalter 27">
            <a:extLst>
              <a:ext uri="{FF2B5EF4-FFF2-40B4-BE49-F238E27FC236}">
                <a16:creationId xmlns:a16="http://schemas.microsoft.com/office/drawing/2014/main" id="{B8CD5CD3-C498-4463-935E-A1A5B7094D4D}"/>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57" name="Textplatzhalter 27">
            <a:extLst>
              <a:ext uri="{FF2B5EF4-FFF2-40B4-BE49-F238E27FC236}">
                <a16:creationId xmlns:a16="http://schemas.microsoft.com/office/drawing/2014/main" id="{F12392E6-1DEE-4FFE-AACA-C660C921C8EE}"/>
              </a:ext>
            </a:extLst>
          </p:cNvPr>
          <p:cNvSpPr>
            <a:spLocks noGrp="1"/>
          </p:cNvSpPr>
          <p:nvPr>
            <p:ph type="body" sz="quarter" idx="50" hasCustomPrompt="1"/>
          </p:nvPr>
        </p:nvSpPr>
        <p:spPr>
          <a:xfrm>
            <a:off x="10509624" y="49180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9C2CDE80-05B4-473F-86D1-7AF509E7F16A}"/>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6" name="Textplatzhalter 27">
            <a:extLst>
              <a:ext uri="{FF2B5EF4-FFF2-40B4-BE49-F238E27FC236}">
                <a16:creationId xmlns:a16="http://schemas.microsoft.com/office/drawing/2014/main" id="{6F050946-F4C0-4031-9035-83228F2CD332}"/>
              </a:ext>
            </a:extLst>
          </p:cNvPr>
          <p:cNvSpPr>
            <a:spLocks noGrp="1"/>
          </p:cNvSpPr>
          <p:nvPr>
            <p:ph type="body" sz="quarter" idx="52" hasCustomPrompt="1"/>
          </p:nvPr>
        </p:nvSpPr>
        <p:spPr>
          <a:xfrm>
            <a:off x="10509624" y="427709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7" name="Textplatzhalter 27">
            <a:extLst>
              <a:ext uri="{FF2B5EF4-FFF2-40B4-BE49-F238E27FC236}">
                <a16:creationId xmlns:a16="http://schemas.microsoft.com/office/drawing/2014/main" id="{67A6646C-34B1-41AF-974A-7701924B8F1A}"/>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68" name="Textplatzhalter 27">
            <a:extLst>
              <a:ext uri="{FF2B5EF4-FFF2-40B4-BE49-F238E27FC236}">
                <a16:creationId xmlns:a16="http://schemas.microsoft.com/office/drawing/2014/main" id="{F0A6D2DF-DEFC-4205-A445-87CB0A2F598A}"/>
              </a:ext>
            </a:extLst>
          </p:cNvPr>
          <p:cNvSpPr>
            <a:spLocks noGrp="1"/>
          </p:cNvSpPr>
          <p:nvPr>
            <p:ph type="body" sz="quarter" idx="54" hasCustomPrompt="1"/>
          </p:nvPr>
        </p:nvSpPr>
        <p:spPr>
          <a:xfrm>
            <a:off x="10509624" y="363612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9" name="Textplatzhalter 27">
            <a:extLst>
              <a:ext uri="{FF2B5EF4-FFF2-40B4-BE49-F238E27FC236}">
                <a16:creationId xmlns:a16="http://schemas.microsoft.com/office/drawing/2014/main" id="{F6E464A8-67B0-4D57-BDEA-D593750802D6}"/>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0" name="Textplatzhalter 27">
            <a:extLst>
              <a:ext uri="{FF2B5EF4-FFF2-40B4-BE49-F238E27FC236}">
                <a16:creationId xmlns:a16="http://schemas.microsoft.com/office/drawing/2014/main" id="{AE18289F-C070-4C49-BD27-4B3B71C4F2BC}"/>
              </a:ext>
            </a:extLst>
          </p:cNvPr>
          <p:cNvSpPr>
            <a:spLocks noGrp="1"/>
          </p:cNvSpPr>
          <p:nvPr>
            <p:ph type="body" sz="quarter" idx="56" hasCustomPrompt="1"/>
          </p:nvPr>
        </p:nvSpPr>
        <p:spPr>
          <a:xfrm>
            <a:off x="10509624" y="2995147"/>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71" name="Textplatzhalter 27">
            <a:extLst>
              <a:ext uri="{FF2B5EF4-FFF2-40B4-BE49-F238E27FC236}">
                <a16:creationId xmlns:a16="http://schemas.microsoft.com/office/drawing/2014/main" id="{513FBBB8-BEE2-4912-8122-8E23A86C57B5}"/>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Sprecher einfügen</a:t>
            </a:r>
          </a:p>
        </p:txBody>
      </p:sp>
      <p:sp>
        <p:nvSpPr>
          <p:cNvPr id="72" name="Textplatzhalter 27">
            <a:extLst>
              <a:ext uri="{FF2B5EF4-FFF2-40B4-BE49-F238E27FC236}">
                <a16:creationId xmlns:a16="http://schemas.microsoft.com/office/drawing/2014/main" id="{A4D1F226-2C6E-442A-954D-E2B74379D677}"/>
              </a:ext>
            </a:extLst>
          </p:cNvPr>
          <p:cNvSpPr>
            <a:spLocks noGrp="1"/>
          </p:cNvSpPr>
          <p:nvPr>
            <p:ph type="body" sz="quarter" idx="58" hasCustomPrompt="1"/>
          </p:nvPr>
        </p:nvSpPr>
        <p:spPr>
          <a:xfrm>
            <a:off x="10509624" y="2354172"/>
            <a:ext cx="125565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Tree>
    <p:extLst>
      <p:ext uri="{BB962C8B-B14F-4D97-AF65-F5344CB8AC3E}">
        <p14:creationId xmlns:p14="http://schemas.microsoft.com/office/powerpoint/2010/main" val="32916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p:bg>
      <p:bgPr>
        <a:solidFill>
          <a:schemeClr val="bg2"/>
        </a:solidFill>
        <a:effectLst/>
      </p:bgPr>
    </p:bg>
    <p:spTree>
      <p:nvGrpSpPr>
        <p:cNvPr id="1" name=""/>
        <p:cNvGrpSpPr/>
        <p:nvPr/>
      </p:nvGrpSpPr>
      <p:grpSpPr>
        <a:xfrm>
          <a:off x="0" y="0"/>
          <a:ext cx="0" cy="0"/>
          <a:chOff x="0" y="0"/>
          <a:chExt cx="0" cy="0"/>
        </a:xfrm>
      </p:grpSpPr>
      <p:sp>
        <p:nvSpPr>
          <p:cNvPr id="66" name="Textplatzhalter 12">
            <a:extLst>
              <a:ext uri="{FF2B5EF4-FFF2-40B4-BE49-F238E27FC236}">
                <a16:creationId xmlns:a16="http://schemas.microsoft.com/office/drawing/2014/main" id="{9419B69F-23AC-4F0C-AE67-A97725504D6B}"/>
              </a:ext>
            </a:extLst>
          </p:cNvPr>
          <p:cNvSpPr>
            <a:spLocks noGrp="1"/>
          </p:cNvSpPr>
          <p:nvPr>
            <p:ph type="body" sz="quarter" idx="28" hasCustomPrompt="1"/>
          </p:nvPr>
        </p:nvSpPr>
        <p:spPr>
          <a:xfrm>
            <a:off x="518319" y="1632212"/>
            <a:ext cx="11160000" cy="3600"/>
          </a:xfrm>
          <a:solidFill>
            <a:srgbClr val="D0D0D0"/>
          </a:solidFill>
        </p:spPr>
        <p:txBody>
          <a:bodyPr/>
          <a:lstStyle>
            <a:lvl1pPr>
              <a:defRPr/>
            </a:lvl1pPr>
          </a:lstStyle>
          <a:p>
            <a:pPr lvl="0"/>
            <a:r>
              <a:rPr lang="de-DE"/>
              <a:t> </a:t>
            </a:r>
          </a:p>
        </p:txBody>
      </p:sp>
      <p:sp>
        <p:nvSpPr>
          <p:cNvPr id="67" name="Textplatzhalter 12">
            <a:extLst>
              <a:ext uri="{FF2B5EF4-FFF2-40B4-BE49-F238E27FC236}">
                <a16:creationId xmlns:a16="http://schemas.microsoft.com/office/drawing/2014/main" id="{87C23388-79A6-4550-944A-CEFD3A45764D}"/>
              </a:ext>
            </a:extLst>
          </p:cNvPr>
          <p:cNvSpPr>
            <a:spLocks noGrp="1"/>
          </p:cNvSpPr>
          <p:nvPr>
            <p:ph type="body" sz="quarter" idx="29" hasCustomPrompt="1"/>
          </p:nvPr>
        </p:nvSpPr>
        <p:spPr>
          <a:xfrm>
            <a:off x="518319" y="6091175"/>
            <a:ext cx="11160000" cy="3600"/>
          </a:xfrm>
          <a:solidFill>
            <a:srgbClr val="D0D0D0"/>
          </a:solidFill>
        </p:spPr>
        <p:txBody>
          <a:bodyPr/>
          <a:lstStyle>
            <a:lvl1pPr>
              <a:defRPr/>
            </a:lvl1pPr>
          </a:lstStyle>
          <a:p>
            <a:pPr lvl="0"/>
            <a:r>
              <a:rPr lang="de-DE"/>
              <a:t> </a:t>
            </a:r>
          </a:p>
        </p:txBody>
      </p:sp>
      <p:sp>
        <p:nvSpPr>
          <p:cNvPr id="68" name="Textplatzhalter 12">
            <a:extLst>
              <a:ext uri="{FF2B5EF4-FFF2-40B4-BE49-F238E27FC236}">
                <a16:creationId xmlns:a16="http://schemas.microsoft.com/office/drawing/2014/main" id="{DD8CFE88-61CB-4244-8ECE-D7766410BBA0}"/>
              </a:ext>
            </a:extLst>
          </p:cNvPr>
          <p:cNvSpPr>
            <a:spLocks noGrp="1"/>
          </p:cNvSpPr>
          <p:nvPr>
            <p:ph type="body" sz="quarter" idx="30" hasCustomPrompt="1"/>
          </p:nvPr>
        </p:nvSpPr>
        <p:spPr>
          <a:xfrm>
            <a:off x="518319" y="5454182"/>
            <a:ext cx="11160000" cy="3600"/>
          </a:xfrm>
          <a:solidFill>
            <a:srgbClr val="D0D0D0"/>
          </a:solidFill>
        </p:spPr>
        <p:txBody>
          <a:bodyPr/>
          <a:lstStyle>
            <a:lvl1pPr>
              <a:defRPr/>
            </a:lvl1pPr>
          </a:lstStyle>
          <a:p>
            <a:pPr lvl="0"/>
            <a:r>
              <a:rPr lang="de-DE"/>
              <a:t> </a:t>
            </a:r>
          </a:p>
        </p:txBody>
      </p:sp>
      <p:sp>
        <p:nvSpPr>
          <p:cNvPr id="69" name="Textplatzhalter 12">
            <a:extLst>
              <a:ext uri="{FF2B5EF4-FFF2-40B4-BE49-F238E27FC236}">
                <a16:creationId xmlns:a16="http://schemas.microsoft.com/office/drawing/2014/main" id="{FF79CEE5-E40A-4D93-B783-AABDC5F5C7B1}"/>
              </a:ext>
            </a:extLst>
          </p:cNvPr>
          <p:cNvSpPr>
            <a:spLocks noGrp="1"/>
          </p:cNvSpPr>
          <p:nvPr>
            <p:ph type="body" sz="quarter" idx="31" hasCustomPrompt="1"/>
          </p:nvPr>
        </p:nvSpPr>
        <p:spPr>
          <a:xfrm>
            <a:off x="518319" y="4817187"/>
            <a:ext cx="11160000" cy="3600"/>
          </a:xfrm>
          <a:solidFill>
            <a:srgbClr val="D0D0D0"/>
          </a:solidFill>
        </p:spPr>
        <p:txBody>
          <a:bodyPr/>
          <a:lstStyle>
            <a:lvl1pPr>
              <a:defRPr/>
            </a:lvl1pPr>
          </a:lstStyle>
          <a:p>
            <a:pPr lvl="0"/>
            <a:r>
              <a:rPr lang="de-DE"/>
              <a:t> </a:t>
            </a:r>
          </a:p>
        </p:txBody>
      </p:sp>
      <p:sp>
        <p:nvSpPr>
          <p:cNvPr id="70" name="Textplatzhalter 12">
            <a:extLst>
              <a:ext uri="{FF2B5EF4-FFF2-40B4-BE49-F238E27FC236}">
                <a16:creationId xmlns:a16="http://schemas.microsoft.com/office/drawing/2014/main" id="{E25563C2-F390-41DF-8B66-6FE3F35B758B}"/>
              </a:ext>
            </a:extLst>
          </p:cNvPr>
          <p:cNvSpPr>
            <a:spLocks noGrp="1"/>
          </p:cNvSpPr>
          <p:nvPr>
            <p:ph type="body" sz="quarter" idx="32" hasCustomPrompt="1"/>
          </p:nvPr>
        </p:nvSpPr>
        <p:spPr>
          <a:xfrm>
            <a:off x="518319" y="4180192"/>
            <a:ext cx="11160000" cy="3600"/>
          </a:xfrm>
          <a:solidFill>
            <a:srgbClr val="D0D0D0"/>
          </a:solidFill>
        </p:spPr>
        <p:txBody>
          <a:bodyPr/>
          <a:lstStyle>
            <a:lvl1pPr>
              <a:defRPr/>
            </a:lvl1pPr>
          </a:lstStyle>
          <a:p>
            <a:pPr lvl="0"/>
            <a:r>
              <a:rPr lang="de-DE"/>
              <a:t> </a:t>
            </a:r>
          </a:p>
        </p:txBody>
      </p:sp>
      <p:sp>
        <p:nvSpPr>
          <p:cNvPr id="71" name="Textplatzhalter 12">
            <a:extLst>
              <a:ext uri="{FF2B5EF4-FFF2-40B4-BE49-F238E27FC236}">
                <a16:creationId xmlns:a16="http://schemas.microsoft.com/office/drawing/2014/main" id="{170A561E-6932-40A5-BF4F-8E915E25BC1F}"/>
              </a:ext>
            </a:extLst>
          </p:cNvPr>
          <p:cNvSpPr>
            <a:spLocks noGrp="1"/>
          </p:cNvSpPr>
          <p:nvPr>
            <p:ph type="body" sz="quarter" idx="33" hasCustomPrompt="1"/>
          </p:nvPr>
        </p:nvSpPr>
        <p:spPr>
          <a:xfrm>
            <a:off x="518319" y="3543197"/>
            <a:ext cx="11160000" cy="3600"/>
          </a:xfrm>
          <a:solidFill>
            <a:srgbClr val="D0D0D0"/>
          </a:solidFill>
        </p:spPr>
        <p:txBody>
          <a:bodyPr/>
          <a:lstStyle>
            <a:lvl1pPr>
              <a:defRPr/>
            </a:lvl1pPr>
          </a:lstStyle>
          <a:p>
            <a:pPr lvl="0"/>
            <a:r>
              <a:rPr lang="de-DE"/>
              <a:t> </a:t>
            </a:r>
          </a:p>
        </p:txBody>
      </p:sp>
      <p:sp>
        <p:nvSpPr>
          <p:cNvPr id="72" name="Textplatzhalter 12">
            <a:extLst>
              <a:ext uri="{FF2B5EF4-FFF2-40B4-BE49-F238E27FC236}">
                <a16:creationId xmlns:a16="http://schemas.microsoft.com/office/drawing/2014/main" id="{65D0B265-DECE-417F-AB3D-7A87574E2F98}"/>
              </a:ext>
            </a:extLst>
          </p:cNvPr>
          <p:cNvSpPr>
            <a:spLocks noGrp="1"/>
          </p:cNvSpPr>
          <p:nvPr>
            <p:ph type="body" sz="quarter" idx="34" hasCustomPrompt="1"/>
          </p:nvPr>
        </p:nvSpPr>
        <p:spPr>
          <a:xfrm>
            <a:off x="518319" y="2906202"/>
            <a:ext cx="11160000" cy="3600"/>
          </a:xfrm>
          <a:solidFill>
            <a:srgbClr val="D0D0D0"/>
          </a:solidFill>
        </p:spPr>
        <p:txBody>
          <a:bodyPr/>
          <a:lstStyle>
            <a:lvl1pPr>
              <a:defRPr/>
            </a:lvl1pPr>
          </a:lstStyle>
          <a:p>
            <a:pPr lvl="0"/>
            <a:r>
              <a:rPr lang="de-DE"/>
              <a:t> </a:t>
            </a:r>
          </a:p>
        </p:txBody>
      </p:sp>
      <p:sp>
        <p:nvSpPr>
          <p:cNvPr id="73" name="Textplatzhalter 12">
            <a:extLst>
              <a:ext uri="{FF2B5EF4-FFF2-40B4-BE49-F238E27FC236}">
                <a16:creationId xmlns:a16="http://schemas.microsoft.com/office/drawing/2014/main" id="{157B6548-27DE-4EC0-913F-C14F49FA7AFE}"/>
              </a:ext>
            </a:extLst>
          </p:cNvPr>
          <p:cNvSpPr>
            <a:spLocks noGrp="1"/>
          </p:cNvSpPr>
          <p:nvPr>
            <p:ph type="body" sz="quarter" idx="35" hasCustomPrompt="1"/>
          </p:nvPr>
        </p:nvSpPr>
        <p:spPr>
          <a:xfrm>
            <a:off x="518319" y="2269207"/>
            <a:ext cx="11160000" cy="3600"/>
          </a:xfrm>
          <a:solidFill>
            <a:srgbClr val="D0D0D0"/>
          </a:solidFill>
        </p:spPr>
        <p:txBody>
          <a:bodyPr/>
          <a:lstStyle>
            <a:lvl1pPr>
              <a:defRPr/>
            </a:lvl1pPr>
          </a:lstStyle>
          <a:p>
            <a:pPr lvl="0"/>
            <a:r>
              <a:rPr lang="de-DE"/>
              <a:t> </a:t>
            </a:r>
          </a:p>
        </p:txBody>
      </p:sp>
      <p:sp>
        <p:nvSpPr>
          <p:cNvPr id="43" name="Textplatzhalter 12">
            <a:extLst>
              <a:ext uri="{FF2B5EF4-FFF2-40B4-BE49-F238E27FC236}">
                <a16:creationId xmlns:a16="http://schemas.microsoft.com/office/drawing/2014/main" id="{480C8321-1D72-4546-ACBC-6E0787AC9A98}"/>
              </a:ext>
            </a:extLst>
          </p:cNvPr>
          <p:cNvSpPr>
            <a:spLocks noGrp="1"/>
          </p:cNvSpPr>
          <p:nvPr>
            <p:ph type="body" sz="quarter" idx="14" hasCustomPrompt="1"/>
          </p:nvPr>
        </p:nvSpPr>
        <p:spPr>
          <a:xfrm>
            <a:off x="0" y="1609040"/>
            <a:ext cx="12192000" cy="663053"/>
          </a:xfrm>
          <a:solidFill>
            <a:srgbClr val="7F7F7F"/>
          </a:solidFill>
        </p:spPr>
        <p:txBody>
          <a:bodyPr wrap="square" lIns="518400" tIns="54000" bIns="54000" anchor="ctr" anchorCtr="0">
            <a:noAutofit/>
          </a:bodyPr>
          <a:lstStyle>
            <a:lvl1pPr>
              <a:lnSpc>
                <a:spcPct val="100000"/>
              </a:lnSpc>
              <a:spcAft>
                <a:spcPts val="0"/>
              </a:spcAft>
              <a:defRPr sz="2800" b="1">
                <a:solidFill>
                  <a:schemeClr val="bg1"/>
                </a:solidFill>
                <a:latin typeface="ZEISS Frutiger Next W1G"/>
                <a:cs typeface="Arial" panose="020B0604020202020204" pitchFamily="34" charset="0"/>
              </a:defRPr>
            </a:lvl1pPr>
          </a:lstStyle>
          <a:p>
            <a:pPr lvl="0"/>
            <a:r>
              <a:rPr lang="de-DE"/>
              <a:t>1</a:t>
            </a:r>
          </a:p>
        </p:txBody>
      </p:sp>
      <p:sp>
        <p:nvSpPr>
          <p:cNvPr id="47" name="Textplatzhalter 12">
            <a:extLst>
              <a:ext uri="{FF2B5EF4-FFF2-40B4-BE49-F238E27FC236}">
                <a16:creationId xmlns:a16="http://schemas.microsoft.com/office/drawing/2014/main" id="{F113A3A0-3CB1-4582-BBE4-5170002C0C77}"/>
              </a:ext>
            </a:extLst>
          </p:cNvPr>
          <p:cNvSpPr>
            <a:spLocks noGrp="1"/>
          </p:cNvSpPr>
          <p:nvPr>
            <p:ph type="body" sz="quarter" idx="16" hasCustomPrompt="1"/>
          </p:nvPr>
        </p:nvSpPr>
        <p:spPr>
          <a:xfrm>
            <a:off x="0" y="289099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3</a:t>
            </a:r>
          </a:p>
        </p:txBody>
      </p:sp>
      <p:sp>
        <p:nvSpPr>
          <p:cNvPr id="48" name="Textplatzhalter 12">
            <a:extLst>
              <a:ext uri="{FF2B5EF4-FFF2-40B4-BE49-F238E27FC236}">
                <a16:creationId xmlns:a16="http://schemas.microsoft.com/office/drawing/2014/main" id="{5E404E45-039F-4BD3-B00C-A7311E52D534}"/>
              </a:ext>
            </a:extLst>
          </p:cNvPr>
          <p:cNvSpPr>
            <a:spLocks noGrp="1"/>
          </p:cNvSpPr>
          <p:nvPr>
            <p:ph type="body" sz="quarter" idx="17" hasCustomPrompt="1"/>
          </p:nvPr>
        </p:nvSpPr>
        <p:spPr>
          <a:xfrm>
            <a:off x="0" y="353196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4</a:t>
            </a:r>
          </a:p>
        </p:txBody>
      </p:sp>
      <p:sp>
        <p:nvSpPr>
          <p:cNvPr id="49" name="Textplatzhalter 12">
            <a:extLst>
              <a:ext uri="{FF2B5EF4-FFF2-40B4-BE49-F238E27FC236}">
                <a16:creationId xmlns:a16="http://schemas.microsoft.com/office/drawing/2014/main" id="{E15F7779-9874-43F8-9135-D5BE311D3A98}"/>
              </a:ext>
            </a:extLst>
          </p:cNvPr>
          <p:cNvSpPr>
            <a:spLocks noGrp="1"/>
          </p:cNvSpPr>
          <p:nvPr>
            <p:ph type="body" sz="quarter" idx="18" hasCustomPrompt="1"/>
          </p:nvPr>
        </p:nvSpPr>
        <p:spPr>
          <a:xfrm>
            <a:off x="0" y="4172940"/>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a:t>5</a:t>
            </a:r>
          </a:p>
        </p:txBody>
      </p:sp>
      <p:sp>
        <p:nvSpPr>
          <p:cNvPr id="50" name="Textplatzhalter 12">
            <a:extLst>
              <a:ext uri="{FF2B5EF4-FFF2-40B4-BE49-F238E27FC236}">
                <a16:creationId xmlns:a16="http://schemas.microsoft.com/office/drawing/2014/main" id="{5F9C8197-1276-4D10-B7B9-75BFFF1BA0CB}"/>
              </a:ext>
            </a:extLst>
          </p:cNvPr>
          <p:cNvSpPr>
            <a:spLocks noGrp="1"/>
          </p:cNvSpPr>
          <p:nvPr>
            <p:ph type="body" sz="quarter" idx="19" hasCustomPrompt="1"/>
          </p:nvPr>
        </p:nvSpPr>
        <p:spPr>
          <a:xfrm>
            <a:off x="0" y="48139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mn-lt"/>
                <a:cs typeface="ZEISS Frutiger Next W1G Medium" panose="020B0602030202020203" pitchFamily="34" charset="0"/>
              </a:defRPr>
            </a:lvl1pPr>
          </a:lstStyle>
          <a:p>
            <a:pPr lvl="0"/>
            <a:r>
              <a:rPr lang="de-DE"/>
              <a:t>6</a:t>
            </a:r>
          </a:p>
        </p:txBody>
      </p:sp>
      <p:sp>
        <p:nvSpPr>
          <p:cNvPr id="51" name="Textplatzhalter 12">
            <a:extLst>
              <a:ext uri="{FF2B5EF4-FFF2-40B4-BE49-F238E27FC236}">
                <a16:creationId xmlns:a16="http://schemas.microsoft.com/office/drawing/2014/main" id="{409AAE60-F87F-43DF-9C66-F204272E7FEB}"/>
              </a:ext>
            </a:extLst>
          </p:cNvPr>
          <p:cNvSpPr>
            <a:spLocks noGrp="1"/>
          </p:cNvSpPr>
          <p:nvPr>
            <p:ph type="body" sz="quarter" idx="20" hasCustomPrompt="1"/>
          </p:nvPr>
        </p:nvSpPr>
        <p:spPr>
          <a:xfrm>
            <a:off x="0" y="5454892"/>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7</a:t>
            </a:r>
          </a:p>
        </p:txBody>
      </p:sp>
      <p:sp>
        <p:nvSpPr>
          <p:cNvPr id="57" name="Textplatzhalter 12">
            <a:extLst>
              <a:ext uri="{FF2B5EF4-FFF2-40B4-BE49-F238E27FC236}">
                <a16:creationId xmlns:a16="http://schemas.microsoft.com/office/drawing/2014/main" id="{EBD248D3-CAEC-4C8E-885B-E957F3B62F6E}"/>
              </a:ext>
            </a:extLst>
          </p:cNvPr>
          <p:cNvSpPr>
            <a:spLocks noGrp="1"/>
          </p:cNvSpPr>
          <p:nvPr>
            <p:ph type="body" sz="quarter" idx="41" hasCustomPrompt="1"/>
          </p:nvPr>
        </p:nvSpPr>
        <p:spPr>
          <a:xfrm>
            <a:off x="0" y="2250015"/>
            <a:ext cx="12192000" cy="663053"/>
          </a:xfrm>
        </p:spPr>
        <p:txBody>
          <a:bodyPr wrap="square" lIns="518400" tIns="54000" bIns="54000" anchor="ctr" anchorCtr="0">
            <a:noAutofit/>
          </a:bodyPr>
          <a:lstStyle>
            <a:lvl1pPr>
              <a:lnSpc>
                <a:spcPct val="100000"/>
              </a:lnSpc>
              <a:spcAft>
                <a:spcPts val="0"/>
              </a:spcAft>
              <a:defRPr sz="2800" b="1">
                <a:solidFill>
                  <a:srgbClr val="7F7F7F"/>
                </a:solidFill>
                <a:latin typeface="ZEISS Frutiger Next W1G"/>
                <a:cs typeface="Arial" panose="020B0604020202020204" pitchFamily="34" charset="0"/>
              </a:defRPr>
            </a:lvl1pPr>
          </a:lstStyle>
          <a:p>
            <a:pPr lvl="0"/>
            <a:r>
              <a:rPr lang="de-DE"/>
              <a:t>2</a:t>
            </a:r>
          </a:p>
        </p:txBody>
      </p:sp>
      <p:sp>
        <p:nvSpPr>
          <p:cNvPr id="6" name="Titel 5">
            <a:extLst>
              <a:ext uri="{FF2B5EF4-FFF2-40B4-BE49-F238E27FC236}">
                <a16:creationId xmlns:a16="http://schemas.microsoft.com/office/drawing/2014/main" id="{5008D678-508B-4EAC-8996-9B20ADAA3BC3}"/>
              </a:ext>
            </a:extLst>
          </p:cNvPr>
          <p:cNvSpPr>
            <a:spLocks noGrp="1"/>
          </p:cNvSpPr>
          <p:nvPr>
            <p:ph type="title"/>
          </p:nvPr>
        </p:nvSpPr>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44" name="Gerade Verbindung 71">
            <a:extLst>
              <a:ext uri="{FF2B5EF4-FFF2-40B4-BE49-F238E27FC236}">
                <a16:creationId xmlns:a16="http://schemas.microsoft.com/office/drawing/2014/main" id="{25F92CEA-1B2A-4107-853E-0010403CE96B}"/>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54" name="Textplatzhalter 8">
            <a:extLst>
              <a:ext uri="{FF2B5EF4-FFF2-40B4-BE49-F238E27FC236}">
                <a16:creationId xmlns:a16="http://schemas.microsoft.com/office/drawing/2014/main" id="{BB278DD4-3FCE-4782-AF12-45EC18329176}"/>
              </a:ext>
            </a:extLst>
          </p:cNvPr>
          <p:cNvSpPr>
            <a:spLocks noGrp="1"/>
          </p:cNvSpPr>
          <p:nvPr>
            <p:ph type="body" sz="quarter" idx="36"/>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28" name="Textplatzhalter 27">
            <a:extLst>
              <a:ext uri="{FF2B5EF4-FFF2-40B4-BE49-F238E27FC236}">
                <a16:creationId xmlns:a16="http://schemas.microsoft.com/office/drawing/2014/main" id="{10C57EE4-17A8-41AE-AD8F-0C906241B73B}"/>
              </a:ext>
            </a:extLst>
          </p:cNvPr>
          <p:cNvSpPr>
            <a:spLocks noGrp="1"/>
          </p:cNvSpPr>
          <p:nvPr>
            <p:ph type="body" sz="quarter" idx="21" hasCustomPrompt="1"/>
          </p:nvPr>
        </p:nvSpPr>
        <p:spPr>
          <a:xfrm>
            <a:off x="1108694" y="1713197"/>
            <a:ext cx="5131769"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de-DE"/>
              <a:t>Einführung</a:t>
            </a:r>
          </a:p>
        </p:txBody>
      </p:sp>
      <p:sp>
        <p:nvSpPr>
          <p:cNvPr id="29" name="Textplatzhalter 27">
            <a:extLst>
              <a:ext uri="{FF2B5EF4-FFF2-40B4-BE49-F238E27FC236}">
                <a16:creationId xmlns:a16="http://schemas.microsoft.com/office/drawing/2014/main" id="{EDC138DF-81E8-468E-BE50-5A359E245AF8}"/>
              </a:ext>
            </a:extLst>
          </p:cNvPr>
          <p:cNvSpPr>
            <a:spLocks noGrp="1"/>
          </p:cNvSpPr>
          <p:nvPr>
            <p:ph type="body" sz="quarter" idx="22" hasCustomPrompt="1"/>
          </p:nvPr>
        </p:nvSpPr>
        <p:spPr>
          <a:xfrm>
            <a:off x="1108694" y="5559049"/>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Quellen</a:t>
            </a:r>
          </a:p>
        </p:txBody>
      </p:sp>
      <p:sp>
        <p:nvSpPr>
          <p:cNvPr id="30" name="Textplatzhalter 27">
            <a:extLst>
              <a:ext uri="{FF2B5EF4-FFF2-40B4-BE49-F238E27FC236}">
                <a16:creationId xmlns:a16="http://schemas.microsoft.com/office/drawing/2014/main" id="{E67A7442-A1B4-49EA-9268-A28469018AD8}"/>
              </a:ext>
            </a:extLst>
          </p:cNvPr>
          <p:cNvSpPr>
            <a:spLocks noGrp="1"/>
          </p:cNvSpPr>
          <p:nvPr>
            <p:ph type="body" sz="quarter" idx="23" hasCustomPrompt="1"/>
          </p:nvPr>
        </p:nvSpPr>
        <p:spPr>
          <a:xfrm>
            <a:off x="1108694" y="49180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Software und Ausblick </a:t>
            </a:r>
          </a:p>
        </p:txBody>
      </p:sp>
      <p:sp>
        <p:nvSpPr>
          <p:cNvPr id="31" name="Textplatzhalter 27">
            <a:extLst>
              <a:ext uri="{FF2B5EF4-FFF2-40B4-BE49-F238E27FC236}">
                <a16:creationId xmlns:a16="http://schemas.microsoft.com/office/drawing/2014/main" id="{9B7A6C1A-6494-4115-8E54-99DC0DB45D22}"/>
              </a:ext>
            </a:extLst>
          </p:cNvPr>
          <p:cNvSpPr>
            <a:spLocks noGrp="1"/>
          </p:cNvSpPr>
          <p:nvPr>
            <p:ph type="body" sz="quarter" idx="24" hasCustomPrompt="1"/>
          </p:nvPr>
        </p:nvSpPr>
        <p:spPr>
          <a:xfrm>
            <a:off x="1108694" y="427709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3: EMV </a:t>
            </a:r>
          </a:p>
        </p:txBody>
      </p:sp>
      <p:sp>
        <p:nvSpPr>
          <p:cNvPr id="32" name="Textplatzhalter 27">
            <a:extLst>
              <a:ext uri="{FF2B5EF4-FFF2-40B4-BE49-F238E27FC236}">
                <a16:creationId xmlns:a16="http://schemas.microsoft.com/office/drawing/2014/main" id="{9D8685BE-5979-43B0-AC0C-740549877785}"/>
              </a:ext>
            </a:extLst>
          </p:cNvPr>
          <p:cNvSpPr>
            <a:spLocks noGrp="1"/>
          </p:cNvSpPr>
          <p:nvPr>
            <p:ph type="body" sz="quarter" idx="25" hasCustomPrompt="1"/>
          </p:nvPr>
        </p:nvSpPr>
        <p:spPr>
          <a:xfrm>
            <a:off x="1108694" y="363612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2: Schaltplanerläuterung </a:t>
            </a:r>
          </a:p>
        </p:txBody>
      </p:sp>
      <p:sp>
        <p:nvSpPr>
          <p:cNvPr id="34" name="Textplatzhalter 27">
            <a:extLst>
              <a:ext uri="{FF2B5EF4-FFF2-40B4-BE49-F238E27FC236}">
                <a16:creationId xmlns:a16="http://schemas.microsoft.com/office/drawing/2014/main" id="{F5438DE9-D033-4100-9761-E4FFFC202FE2}"/>
              </a:ext>
            </a:extLst>
          </p:cNvPr>
          <p:cNvSpPr>
            <a:spLocks noGrp="1"/>
          </p:cNvSpPr>
          <p:nvPr>
            <p:ph type="body" sz="quarter" idx="27" hasCustomPrompt="1"/>
          </p:nvPr>
        </p:nvSpPr>
        <p:spPr>
          <a:xfrm>
            <a:off x="1108694" y="2354172"/>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Was ist ein Oszilloskop</a:t>
            </a:r>
          </a:p>
        </p:txBody>
      </p:sp>
      <p:sp>
        <p:nvSpPr>
          <p:cNvPr id="55" name="Textplatzhalter 27">
            <a:extLst>
              <a:ext uri="{FF2B5EF4-FFF2-40B4-BE49-F238E27FC236}">
                <a16:creationId xmlns:a16="http://schemas.microsoft.com/office/drawing/2014/main" id="{40334521-65D4-4254-A9E2-9118257ED994}"/>
              </a:ext>
            </a:extLst>
          </p:cNvPr>
          <p:cNvSpPr>
            <a:spLocks noGrp="1"/>
          </p:cNvSpPr>
          <p:nvPr>
            <p:ph type="body" sz="quarter" idx="40" hasCustomPrompt="1"/>
          </p:nvPr>
        </p:nvSpPr>
        <p:spPr>
          <a:xfrm>
            <a:off x="1108694" y="2995147"/>
            <a:ext cx="5131769" cy="454740"/>
          </a:xfrm>
        </p:spPr>
        <p:txBody>
          <a:bodyPr anchor="ctr" anchorCtr="0">
            <a:noAutofit/>
          </a:bodyPr>
          <a:lstStyle>
            <a:lvl1pPr>
              <a:lnSpc>
                <a:spcPts val="1600"/>
              </a:lnSpc>
              <a:spcAft>
                <a:spcPts val="0"/>
              </a:spcAft>
              <a:defRPr sz="1400">
                <a:latin typeface="ZEISS Frutiger Next W1G"/>
                <a:cs typeface="Arial" panose="020B0604020202020204" pitchFamily="34" charset="0"/>
              </a:defRPr>
            </a:lvl1pPr>
          </a:lstStyle>
          <a:p>
            <a:pPr lvl="0"/>
            <a:r>
              <a:rPr lang="de-DE"/>
              <a:t>Phase 1: Konzept und Design </a:t>
            </a:r>
          </a:p>
        </p:txBody>
      </p:sp>
      <p:sp>
        <p:nvSpPr>
          <p:cNvPr id="3" name="Datumsplatzhalter 2">
            <a:extLst>
              <a:ext uri="{FF2B5EF4-FFF2-40B4-BE49-F238E27FC236}">
                <a16:creationId xmlns:a16="http://schemas.microsoft.com/office/drawing/2014/main" id="{EAF805B4-76E3-4826-9409-49DD32B8BDF3}"/>
              </a:ext>
            </a:extLst>
          </p:cNvPr>
          <p:cNvSpPr>
            <a:spLocks noGrp="1"/>
          </p:cNvSpPr>
          <p:nvPr>
            <p:ph type="dt" sz="half" idx="42"/>
          </p:nvPr>
        </p:nvSpPr>
        <p:spPr/>
        <p:txBody>
          <a:bodyPr/>
          <a:lstStyle/>
          <a:p>
            <a:fld id="{595DC657-C01B-431D-91F7-EAB19829DFC3}" type="datetime4">
              <a:rPr lang="de-DE" smtClean="0"/>
              <a:t>17. Februar 2025</a:t>
            </a:fld>
            <a:endParaRPr lang="de-DE"/>
          </a:p>
        </p:txBody>
      </p:sp>
      <p:sp>
        <p:nvSpPr>
          <p:cNvPr id="5" name="Foliennummernplatzhalter 4">
            <a:extLst>
              <a:ext uri="{FF2B5EF4-FFF2-40B4-BE49-F238E27FC236}">
                <a16:creationId xmlns:a16="http://schemas.microsoft.com/office/drawing/2014/main" id="{D4F4D5BA-CD6F-4502-A501-018ECBEDA881}"/>
              </a:ext>
            </a:extLst>
          </p:cNvPr>
          <p:cNvSpPr>
            <a:spLocks noGrp="1"/>
          </p:cNvSpPr>
          <p:nvPr>
            <p:ph type="sldNum" sz="quarter" idx="44"/>
          </p:nvPr>
        </p:nvSpPr>
        <p:spPr/>
        <p:txBody>
          <a:bodyPr/>
          <a:lstStyle/>
          <a:p>
            <a:fld id="{C6A4AD45-2621-4550-9DC5-4911F1B5FA4D}" type="slidenum">
              <a:rPr lang="de-DE" smtClean="0"/>
              <a:pPr/>
              <a:t>‹Nr.›</a:t>
            </a:fld>
            <a:endParaRPr lang="de-DE"/>
          </a:p>
        </p:txBody>
      </p:sp>
      <p:sp>
        <p:nvSpPr>
          <p:cNvPr id="33" name="Textplatzhalter 27">
            <a:extLst>
              <a:ext uri="{FF2B5EF4-FFF2-40B4-BE49-F238E27FC236}">
                <a16:creationId xmlns:a16="http://schemas.microsoft.com/office/drawing/2014/main" id="{0BF1CB17-6946-48DD-86FB-32D08D0822BB}"/>
              </a:ext>
            </a:extLst>
          </p:cNvPr>
          <p:cNvSpPr>
            <a:spLocks noGrp="1"/>
          </p:cNvSpPr>
          <p:nvPr>
            <p:ph type="body" sz="quarter" idx="45" hasCustomPrompt="1"/>
          </p:nvPr>
        </p:nvSpPr>
        <p:spPr>
          <a:xfrm>
            <a:off x="7969191" y="1713197"/>
            <a:ext cx="2289234" cy="454740"/>
          </a:xfrm>
        </p:spPr>
        <p:txBody>
          <a:bodyPr anchor="ctr" anchorCtr="0">
            <a:noAutofit/>
          </a:bodyPr>
          <a:lstStyle>
            <a:lvl1pPr>
              <a:lnSpc>
                <a:spcPts val="1600"/>
              </a:lnSpc>
              <a:spcAft>
                <a:spcPts val="0"/>
              </a:spcAft>
              <a:defRPr sz="1400">
                <a:solidFill>
                  <a:schemeClr val="bg1"/>
                </a:solidFill>
                <a:latin typeface="ZEISS Frutiger Next W1G"/>
                <a:cs typeface="ZEISS Frutiger Next W1G Medium"/>
              </a:defRPr>
            </a:lvl1pPr>
          </a:lstStyle>
          <a:p>
            <a:pPr lvl="0"/>
            <a:r>
              <a:rPr lang="de-DE" noProof="0"/>
              <a:t>Vogel</a:t>
            </a:r>
          </a:p>
        </p:txBody>
      </p:sp>
      <p:sp>
        <p:nvSpPr>
          <p:cNvPr id="45" name="Textplatzhalter 27">
            <a:extLst>
              <a:ext uri="{FF2B5EF4-FFF2-40B4-BE49-F238E27FC236}">
                <a16:creationId xmlns:a16="http://schemas.microsoft.com/office/drawing/2014/main" id="{7343DC8B-15EF-4462-8F1D-8B232DB153C9}"/>
              </a:ext>
            </a:extLst>
          </p:cNvPr>
          <p:cNvSpPr>
            <a:spLocks noGrp="1"/>
          </p:cNvSpPr>
          <p:nvPr>
            <p:ph type="body" sz="quarter" idx="46" hasCustomPrompt="1"/>
          </p:nvPr>
        </p:nvSpPr>
        <p:spPr>
          <a:xfrm>
            <a:off x="10509624" y="1713197"/>
            <a:ext cx="1265816" cy="454740"/>
          </a:xfrm>
        </p:spPr>
        <p:txBody>
          <a:bodyPr anchor="ctr" anchorCtr="0">
            <a:noAutofit/>
          </a:bodyPr>
          <a:lstStyle>
            <a:lvl1pPr>
              <a:lnSpc>
                <a:spcPts val="1600"/>
              </a:lnSpc>
              <a:spcAft>
                <a:spcPts val="0"/>
              </a:spcAft>
              <a:defRPr sz="1400">
                <a:solidFill>
                  <a:schemeClr val="bg1"/>
                </a:solidFill>
                <a:latin typeface="ZEISS Frutiger Next W1G"/>
                <a:cs typeface="Arial" panose="020B0604020202020204" pitchFamily="34" charset="0"/>
              </a:defRPr>
            </a:lvl1pPr>
          </a:lstStyle>
          <a:p>
            <a:pPr lvl="0"/>
            <a:r>
              <a:rPr lang="en-US" noProof="0"/>
              <a:t>Folie 4</a:t>
            </a:r>
          </a:p>
        </p:txBody>
      </p:sp>
      <p:sp>
        <p:nvSpPr>
          <p:cNvPr id="46" name="Textplatzhalter 27">
            <a:extLst>
              <a:ext uri="{FF2B5EF4-FFF2-40B4-BE49-F238E27FC236}">
                <a16:creationId xmlns:a16="http://schemas.microsoft.com/office/drawing/2014/main" id="{0256E43A-F609-4966-88A3-E764C8E933A3}"/>
              </a:ext>
            </a:extLst>
          </p:cNvPr>
          <p:cNvSpPr>
            <a:spLocks noGrp="1"/>
          </p:cNvSpPr>
          <p:nvPr>
            <p:ph type="body" sz="quarter" idx="47" hasCustomPrompt="1"/>
          </p:nvPr>
        </p:nvSpPr>
        <p:spPr>
          <a:xfrm>
            <a:off x="7969191" y="5559049"/>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a:t>
            </a:r>
          </a:p>
        </p:txBody>
      </p:sp>
      <p:sp>
        <p:nvSpPr>
          <p:cNvPr id="52" name="Textplatzhalter 27">
            <a:extLst>
              <a:ext uri="{FF2B5EF4-FFF2-40B4-BE49-F238E27FC236}">
                <a16:creationId xmlns:a16="http://schemas.microsoft.com/office/drawing/2014/main" id="{D314D9B0-545E-4726-9C7D-4B41F1DCC415}"/>
              </a:ext>
            </a:extLst>
          </p:cNvPr>
          <p:cNvSpPr>
            <a:spLocks noGrp="1"/>
          </p:cNvSpPr>
          <p:nvPr>
            <p:ph type="body" sz="quarter" idx="48" hasCustomPrompt="1"/>
          </p:nvPr>
        </p:nvSpPr>
        <p:spPr>
          <a:xfrm>
            <a:off x="10509624" y="5559049"/>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3" name="Textplatzhalter 27">
            <a:extLst>
              <a:ext uri="{FF2B5EF4-FFF2-40B4-BE49-F238E27FC236}">
                <a16:creationId xmlns:a16="http://schemas.microsoft.com/office/drawing/2014/main" id="{5B404D5A-25EC-428D-A164-EDF9F1A1F29F}"/>
              </a:ext>
            </a:extLst>
          </p:cNvPr>
          <p:cNvSpPr>
            <a:spLocks noGrp="1"/>
          </p:cNvSpPr>
          <p:nvPr>
            <p:ph type="body" sz="quarter" idx="49" hasCustomPrompt="1"/>
          </p:nvPr>
        </p:nvSpPr>
        <p:spPr>
          <a:xfrm>
            <a:off x="7969191" y="49180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56" name="Textplatzhalter 27">
            <a:extLst>
              <a:ext uri="{FF2B5EF4-FFF2-40B4-BE49-F238E27FC236}">
                <a16:creationId xmlns:a16="http://schemas.microsoft.com/office/drawing/2014/main" id="{0B3B5724-A642-4D4A-A3DC-96853A6CC70C}"/>
              </a:ext>
            </a:extLst>
          </p:cNvPr>
          <p:cNvSpPr>
            <a:spLocks noGrp="1"/>
          </p:cNvSpPr>
          <p:nvPr>
            <p:ph type="body" sz="quarter" idx="50" hasCustomPrompt="1"/>
          </p:nvPr>
        </p:nvSpPr>
        <p:spPr>
          <a:xfrm>
            <a:off x="10509624" y="49180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58" name="Textplatzhalter 27">
            <a:extLst>
              <a:ext uri="{FF2B5EF4-FFF2-40B4-BE49-F238E27FC236}">
                <a16:creationId xmlns:a16="http://schemas.microsoft.com/office/drawing/2014/main" id="{6B941CAD-84CE-4A6D-93A1-9E846EDD3F7F}"/>
              </a:ext>
            </a:extLst>
          </p:cNvPr>
          <p:cNvSpPr>
            <a:spLocks noGrp="1"/>
          </p:cNvSpPr>
          <p:nvPr>
            <p:ph type="body" sz="quarter" idx="51" hasCustomPrompt="1"/>
          </p:nvPr>
        </p:nvSpPr>
        <p:spPr>
          <a:xfrm>
            <a:off x="7969191" y="427709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59" name="Textplatzhalter 27">
            <a:extLst>
              <a:ext uri="{FF2B5EF4-FFF2-40B4-BE49-F238E27FC236}">
                <a16:creationId xmlns:a16="http://schemas.microsoft.com/office/drawing/2014/main" id="{5E53BCA1-3B77-4670-BD4C-CCC42A156D74}"/>
              </a:ext>
            </a:extLst>
          </p:cNvPr>
          <p:cNvSpPr>
            <a:spLocks noGrp="1"/>
          </p:cNvSpPr>
          <p:nvPr>
            <p:ph type="body" sz="quarter" idx="52" hasCustomPrompt="1"/>
          </p:nvPr>
        </p:nvSpPr>
        <p:spPr>
          <a:xfrm>
            <a:off x="10509624" y="427709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XX:XX – XX:XX</a:t>
            </a:r>
          </a:p>
        </p:txBody>
      </p:sp>
      <p:sp>
        <p:nvSpPr>
          <p:cNvPr id="60" name="Textplatzhalter 27">
            <a:extLst>
              <a:ext uri="{FF2B5EF4-FFF2-40B4-BE49-F238E27FC236}">
                <a16:creationId xmlns:a16="http://schemas.microsoft.com/office/drawing/2014/main" id="{1B2C773C-FA2B-434A-93F1-0569BA6479F5}"/>
              </a:ext>
            </a:extLst>
          </p:cNvPr>
          <p:cNvSpPr>
            <a:spLocks noGrp="1"/>
          </p:cNvSpPr>
          <p:nvPr>
            <p:ph type="body" sz="quarter" idx="53" hasCustomPrompt="1"/>
          </p:nvPr>
        </p:nvSpPr>
        <p:spPr>
          <a:xfrm>
            <a:off x="7969191" y="363612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1" name="Textplatzhalter 27">
            <a:extLst>
              <a:ext uri="{FF2B5EF4-FFF2-40B4-BE49-F238E27FC236}">
                <a16:creationId xmlns:a16="http://schemas.microsoft.com/office/drawing/2014/main" id="{558DB475-3747-473C-A159-2E4289E0AB39}"/>
              </a:ext>
            </a:extLst>
          </p:cNvPr>
          <p:cNvSpPr>
            <a:spLocks noGrp="1"/>
          </p:cNvSpPr>
          <p:nvPr>
            <p:ph type="body" sz="quarter" idx="54" hasCustomPrompt="1"/>
          </p:nvPr>
        </p:nvSpPr>
        <p:spPr>
          <a:xfrm>
            <a:off x="10509624" y="363612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21-29</a:t>
            </a:r>
          </a:p>
        </p:txBody>
      </p:sp>
      <p:sp>
        <p:nvSpPr>
          <p:cNvPr id="62" name="Textplatzhalter 27">
            <a:extLst>
              <a:ext uri="{FF2B5EF4-FFF2-40B4-BE49-F238E27FC236}">
                <a16:creationId xmlns:a16="http://schemas.microsoft.com/office/drawing/2014/main" id="{789CDBD4-662F-4F1C-883C-56A1B71E8371}"/>
              </a:ext>
            </a:extLst>
          </p:cNvPr>
          <p:cNvSpPr>
            <a:spLocks noGrp="1"/>
          </p:cNvSpPr>
          <p:nvPr>
            <p:ph type="body" sz="quarter" idx="55" hasCustomPrompt="1"/>
          </p:nvPr>
        </p:nvSpPr>
        <p:spPr>
          <a:xfrm>
            <a:off x="7969191" y="2995147"/>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 / Bullinger</a:t>
            </a:r>
          </a:p>
        </p:txBody>
      </p:sp>
      <p:sp>
        <p:nvSpPr>
          <p:cNvPr id="63" name="Textplatzhalter 27">
            <a:extLst>
              <a:ext uri="{FF2B5EF4-FFF2-40B4-BE49-F238E27FC236}">
                <a16:creationId xmlns:a16="http://schemas.microsoft.com/office/drawing/2014/main" id="{8546BEDF-CD0C-40AC-9D3E-F322DA4C04A5}"/>
              </a:ext>
            </a:extLst>
          </p:cNvPr>
          <p:cNvSpPr>
            <a:spLocks noGrp="1"/>
          </p:cNvSpPr>
          <p:nvPr>
            <p:ph type="body" sz="quarter" idx="56" hasCustomPrompt="1"/>
          </p:nvPr>
        </p:nvSpPr>
        <p:spPr>
          <a:xfrm>
            <a:off x="10509624" y="2995147"/>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10-19</a:t>
            </a:r>
          </a:p>
        </p:txBody>
      </p:sp>
      <p:sp>
        <p:nvSpPr>
          <p:cNvPr id="64" name="Textplatzhalter 27">
            <a:extLst>
              <a:ext uri="{FF2B5EF4-FFF2-40B4-BE49-F238E27FC236}">
                <a16:creationId xmlns:a16="http://schemas.microsoft.com/office/drawing/2014/main" id="{ADF9A45B-541C-4922-BFDA-4D90116FDC26}"/>
              </a:ext>
            </a:extLst>
          </p:cNvPr>
          <p:cNvSpPr>
            <a:spLocks noGrp="1"/>
          </p:cNvSpPr>
          <p:nvPr>
            <p:ph type="body" sz="quarter" idx="57" hasCustomPrompt="1"/>
          </p:nvPr>
        </p:nvSpPr>
        <p:spPr>
          <a:xfrm>
            <a:off x="7969191" y="2354172"/>
            <a:ext cx="2289234"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de-DE" noProof="0"/>
              <a:t>Vogel</a:t>
            </a:r>
          </a:p>
        </p:txBody>
      </p:sp>
      <p:sp>
        <p:nvSpPr>
          <p:cNvPr id="65" name="Textplatzhalter 27">
            <a:extLst>
              <a:ext uri="{FF2B5EF4-FFF2-40B4-BE49-F238E27FC236}">
                <a16:creationId xmlns:a16="http://schemas.microsoft.com/office/drawing/2014/main" id="{7BAA1323-B2C4-403E-9999-2B75E7B097C6}"/>
              </a:ext>
            </a:extLst>
          </p:cNvPr>
          <p:cNvSpPr>
            <a:spLocks noGrp="1"/>
          </p:cNvSpPr>
          <p:nvPr>
            <p:ph type="body" sz="quarter" idx="58" hasCustomPrompt="1"/>
          </p:nvPr>
        </p:nvSpPr>
        <p:spPr>
          <a:xfrm>
            <a:off x="10509624" y="2354172"/>
            <a:ext cx="1265816" cy="454740"/>
          </a:xfrm>
        </p:spPr>
        <p:txBody>
          <a:bodyPr anchor="ctr" anchorCtr="0">
            <a:noAutofit/>
          </a:bodyPr>
          <a:lstStyle>
            <a:lvl1pPr>
              <a:lnSpc>
                <a:spcPts val="1600"/>
              </a:lnSpc>
              <a:spcAft>
                <a:spcPts val="0"/>
              </a:spcAft>
              <a:defRPr sz="1400">
                <a:solidFill>
                  <a:schemeClr val="tx1"/>
                </a:solidFill>
                <a:latin typeface="ZEISS Frutiger Next W1G"/>
                <a:cs typeface="Arial" panose="020B0604020202020204" pitchFamily="34" charset="0"/>
              </a:defRPr>
            </a:lvl1pPr>
          </a:lstStyle>
          <a:p>
            <a:pPr lvl="0"/>
            <a:r>
              <a:rPr lang="en-US" noProof="0"/>
              <a:t>Folie 6-8</a:t>
            </a:r>
          </a:p>
        </p:txBody>
      </p:sp>
    </p:spTree>
    <p:extLst>
      <p:ext uri="{BB962C8B-B14F-4D97-AF65-F5344CB8AC3E}">
        <p14:creationId xmlns:p14="http://schemas.microsoft.com/office/powerpoint/2010/main" val="153056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iteltrenner | mit Bild">
    <p:spTree>
      <p:nvGrpSpPr>
        <p:cNvPr id="1" name=""/>
        <p:cNvGrpSpPr/>
        <p:nvPr/>
      </p:nvGrpSpPr>
      <p:grpSpPr>
        <a:xfrm>
          <a:off x="0" y="0"/>
          <a:ext cx="0" cy="0"/>
          <a:chOff x="0" y="0"/>
          <a:chExt cx="0" cy="0"/>
        </a:xfrm>
      </p:grpSpPr>
      <p:sp>
        <p:nvSpPr>
          <p:cNvPr id="87" name="Bildplatzhalter 86">
            <a:extLst>
              <a:ext uri="{FF2B5EF4-FFF2-40B4-BE49-F238E27FC236}">
                <a16:creationId xmlns:a16="http://schemas.microsoft.com/office/drawing/2014/main" id="{FB389B10-F29E-47A3-8BD0-A0132B3B5CEB}"/>
              </a:ext>
            </a:extLst>
          </p:cNvPr>
          <p:cNvSpPr>
            <a:spLocks noGrp="1"/>
          </p:cNvSpPr>
          <p:nvPr>
            <p:ph type="pic" sz="quarter" idx="57" hasCustomPrompt="1"/>
          </p:nvPr>
        </p:nvSpPr>
        <p:spPr>
          <a:xfrm>
            <a:off x="0" y="3429000"/>
            <a:ext cx="12191985" cy="3429000"/>
          </a:xfrm>
          <a:prstGeom prst="rect">
            <a:avLst/>
          </a:prstGeom>
          <a:solidFill>
            <a:schemeClr val="bg2">
              <a:lumMod val="95000"/>
            </a:schemeClr>
          </a:solidFill>
        </p:spPr>
        <p:txBody>
          <a:bodyPr wrap="square">
            <a:noAutofit/>
          </a:bodyPr>
          <a:lstStyle>
            <a:lvl1pPr>
              <a:defRPr/>
            </a:lvl1pPr>
          </a:lstStyle>
          <a:p>
            <a:r>
              <a:rPr lang="de-DE"/>
              <a:t> </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p:nvPr>
        </p:nvSpPr>
        <p:spPr>
          <a:xfrm>
            <a:off x="518319" y="2681949"/>
            <a:ext cx="9670705" cy="344710"/>
          </a:xfrm>
        </p:spPr>
        <p:txBody>
          <a:bodyPr wrap="square">
            <a:sp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 bearbeiten</a:t>
            </a:r>
          </a:p>
        </p:txBody>
      </p:sp>
      <p:sp>
        <p:nvSpPr>
          <p:cNvPr id="88" name="Titel 1">
            <a:extLst>
              <a:ext uri="{FF2B5EF4-FFF2-40B4-BE49-F238E27FC236}">
                <a16:creationId xmlns:a16="http://schemas.microsoft.com/office/drawing/2014/main" id="{6E836B88-8EA3-4A7F-B203-70EF11B1F682}"/>
              </a:ext>
            </a:extLst>
          </p:cNvPr>
          <p:cNvSpPr>
            <a:spLocks noGrp="1"/>
          </p:cNvSpPr>
          <p:nvPr>
            <p:ph type="title" hasCustomPrompt="1"/>
          </p:nvPr>
        </p:nvSpPr>
        <p:spPr>
          <a:xfrm>
            <a:off x="518319" y="1052513"/>
            <a:ext cx="9670705" cy="1370806"/>
          </a:xfrm>
        </p:spPr>
        <p:txBody>
          <a:bodyPr wrap="square"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Tree>
    <p:extLst>
      <p:ext uri="{BB962C8B-B14F-4D97-AF65-F5344CB8AC3E}">
        <p14:creationId xmlns:p14="http://schemas.microsoft.com/office/powerpoint/2010/main" val="1225721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Kapiteltrenner | ohne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hasCustomPrompt="1"/>
          </p:nvPr>
        </p:nvSpPr>
        <p:spPr>
          <a:xfrm>
            <a:off x="518319" y="1628776"/>
            <a:ext cx="8663775" cy="1962150"/>
          </a:xfrm>
        </p:spPr>
        <p:txBody>
          <a:bodyPr anchor="b" anchorCtr="0">
            <a:noAutofit/>
          </a:bodyPr>
          <a:lstStyle>
            <a:lvl1pPr>
              <a:lnSpc>
                <a:spcPts val="5000"/>
              </a:lnSpc>
              <a:defRPr sz="4500" b="1">
                <a:latin typeface="ZEISS Frutiger Next W1G"/>
                <a:cs typeface="Arial" panose="020B0604020202020204" pitchFamily="34" charset="0"/>
              </a:defRPr>
            </a:lvl1pPr>
          </a:lstStyle>
          <a:p>
            <a:r>
              <a:rPr lang="de-DE"/>
              <a:t>Mastertitelformat </a:t>
            </a:r>
            <a:br>
              <a:rPr lang="de-DE"/>
            </a:br>
            <a:r>
              <a:rPr lang="de-DE"/>
              <a:t>bearbeiten</a:t>
            </a:r>
          </a:p>
        </p:txBody>
      </p:sp>
      <p:sp>
        <p:nvSpPr>
          <p:cNvPr id="8" name="Textplatzhalter 8">
            <a:extLst>
              <a:ext uri="{FF2B5EF4-FFF2-40B4-BE49-F238E27FC236}">
                <a16:creationId xmlns:a16="http://schemas.microsoft.com/office/drawing/2014/main" id="{5D536C54-AD88-4971-B5AC-E8FD5A475273}"/>
              </a:ext>
            </a:extLst>
          </p:cNvPr>
          <p:cNvSpPr>
            <a:spLocks noGrp="1"/>
          </p:cNvSpPr>
          <p:nvPr>
            <p:ph type="body" sz="quarter" idx="56" hasCustomPrompt="1"/>
          </p:nvPr>
        </p:nvSpPr>
        <p:spPr>
          <a:xfrm>
            <a:off x="518319" y="3849556"/>
            <a:ext cx="8663775" cy="1296124"/>
          </a:xfrm>
        </p:spPr>
        <p:txBody>
          <a:bodyPr wrap="square">
            <a:noAutofit/>
          </a:bodyPr>
          <a:lstStyle>
            <a:lvl1pPr>
              <a:lnSpc>
                <a:spcPct val="120000"/>
              </a:lnSpc>
              <a:spcAft>
                <a:spcPts val="0"/>
              </a:spcAft>
              <a:defRPr sz="2000">
                <a:solidFill>
                  <a:srgbClr val="141E8C"/>
                </a:solidFill>
                <a:latin typeface="ZEISS Frutiger Next W1G"/>
                <a:cs typeface="Arial" panose="020B0604020202020204" pitchFamily="34" charset="0"/>
              </a:defRPr>
            </a:lvl1pPr>
          </a:lstStyle>
          <a:p>
            <a:pPr lvl="0"/>
            <a:r>
              <a:rPr lang="de-DE"/>
              <a:t>Mastertextformat</a:t>
            </a:r>
            <a:br>
              <a:rPr lang="de-DE"/>
            </a:br>
            <a:r>
              <a:rPr lang="de-DE"/>
              <a:t>bearbeiten</a:t>
            </a:r>
          </a:p>
        </p:txBody>
      </p:sp>
      <p:grpSp>
        <p:nvGrpSpPr>
          <p:cNvPr id="39" name="Gruppieren 38">
            <a:extLst>
              <a:ext uri="{FF2B5EF4-FFF2-40B4-BE49-F238E27FC236}">
                <a16:creationId xmlns:a16="http://schemas.microsoft.com/office/drawing/2014/main" id="{C8851101-CF90-45DE-817D-DF9BD412A63A}"/>
              </a:ext>
            </a:extLst>
          </p:cNvPr>
          <p:cNvGrpSpPr/>
          <p:nvPr userDrawn="1"/>
        </p:nvGrpSpPr>
        <p:grpSpPr>
          <a:xfrm>
            <a:off x="299275" y="-697714"/>
            <a:ext cx="11375605" cy="411956"/>
            <a:chOff x="299275" y="6944502"/>
            <a:chExt cx="11375605" cy="411956"/>
          </a:xfrm>
        </p:grpSpPr>
        <p:grpSp>
          <p:nvGrpSpPr>
            <p:cNvPr id="40" name="Gruppieren 39">
              <a:extLst>
                <a:ext uri="{FF2B5EF4-FFF2-40B4-BE49-F238E27FC236}">
                  <a16:creationId xmlns:a16="http://schemas.microsoft.com/office/drawing/2014/main" id="{8D2CB68E-0BEE-4444-89BC-9224017D201A}"/>
                </a:ext>
              </a:extLst>
            </p:cNvPr>
            <p:cNvGrpSpPr/>
            <p:nvPr/>
          </p:nvGrpSpPr>
          <p:grpSpPr>
            <a:xfrm rot="16200000">
              <a:off x="201628" y="7042149"/>
              <a:ext cx="411956" cy="216662"/>
              <a:chOff x="-615197" y="4295013"/>
              <a:chExt cx="411956" cy="216662"/>
            </a:xfrm>
          </p:grpSpPr>
          <p:cxnSp>
            <p:nvCxnSpPr>
              <p:cNvPr id="69" name="Gerader Verbinder 68">
                <a:extLst>
                  <a:ext uri="{FF2B5EF4-FFF2-40B4-BE49-F238E27FC236}">
                    <a16:creationId xmlns:a16="http://schemas.microsoft.com/office/drawing/2014/main" id="{3B55A628-F151-42E2-BBA7-A77BB263AC2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5B3ACA54-FBF7-468C-89BF-B92229E0E6A8}"/>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1" name="Gruppieren 40">
              <a:extLst>
                <a:ext uri="{FF2B5EF4-FFF2-40B4-BE49-F238E27FC236}">
                  <a16:creationId xmlns:a16="http://schemas.microsoft.com/office/drawing/2014/main" id="{A985EFA5-C3EC-41F4-BA42-582F6BBB87DC}"/>
                </a:ext>
              </a:extLst>
            </p:cNvPr>
            <p:cNvGrpSpPr/>
            <p:nvPr/>
          </p:nvGrpSpPr>
          <p:grpSpPr>
            <a:xfrm rot="16200000">
              <a:off x="5637228" y="7042149"/>
              <a:ext cx="411956" cy="216662"/>
              <a:chOff x="-615197" y="4295013"/>
              <a:chExt cx="411956" cy="216662"/>
            </a:xfrm>
          </p:grpSpPr>
          <p:cxnSp>
            <p:nvCxnSpPr>
              <p:cNvPr id="49" name="Gerader Verbinder 48">
                <a:extLst>
                  <a:ext uri="{FF2B5EF4-FFF2-40B4-BE49-F238E27FC236}">
                    <a16:creationId xmlns:a16="http://schemas.microsoft.com/office/drawing/2014/main" id="{A53B3EC3-5408-4A64-9457-103627E8E87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AD70F783-A807-4089-AFCC-84B3D36AF8FF}"/>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42" name="Gruppieren 41">
              <a:extLst>
                <a:ext uri="{FF2B5EF4-FFF2-40B4-BE49-F238E27FC236}">
                  <a16:creationId xmlns:a16="http://schemas.microsoft.com/office/drawing/2014/main" id="{5E00F1D3-083C-419C-A05F-6E840773F8C6}"/>
                </a:ext>
              </a:extLst>
            </p:cNvPr>
            <p:cNvGrpSpPr/>
            <p:nvPr/>
          </p:nvGrpSpPr>
          <p:grpSpPr>
            <a:xfrm rot="5400000">
              <a:off x="6093326" y="7042149"/>
              <a:ext cx="411956" cy="216662"/>
              <a:chOff x="-615197" y="4346120"/>
              <a:chExt cx="411956" cy="216662"/>
            </a:xfrm>
          </p:grpSpPr>
          <p:cxnSp>
            <p:nvCxnSpPr>
              <p:cNvPr id="47" name="Gerader Verbinder 46">
                <a:extLst>
                  <a:ext uri="{FF2B5EF4-FFF2-40B4-BE49-F238E27FC236}">
                    <a16:creationId xmlns:a16="http://schemas.microsoft.com/office/drawing/2014/main" id="{73F688A9-A34C-4E99-8443-41FD9DD554D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054EA4E0-2D3B-40AF-93E7-C4E69DB886F1}"/>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43" name="Gerader Verbinder 42">
              <a:extLst>
                <a:ext uri="{FF2B5EF4-FFF2-40B4-BE49-F238E27FC236}">
                  <a16:creationId xmlns:a16="http://schemas.microsoft.com/office/drawing/2014/main" id="{4EAC7821-B6F6-4B00-93DA-718D985BB18F}"/>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D6D8242D-E611-482B-B644-E20F99E6399A}"/>
                </a:ext>
              </a:extLst>
            </p:cNvPr>
            <p:cNvGrpSpPr/>
            <p:nvPr/>
          </p:nvGrpSpPr>
          <p:grpSpPr>
            <a:xfrm rot="16200000">
              <a:off x="11360571" y="7042149"/>
              <a:ext cx="411956" cy="216662"/>
              <a:chOff x="-615197" y="4295013"/>
              <a:chExt cx="411956" cy="216662"/>
            </a:xfrm>
          </p:grpSpPr>
          <p:cxnSp>
            <p:nvCxnSpPr>
              <p:cNvPr id="45" name="Gerader Verbinder 44">
                <a:extLst>
                  <a:ext uri="{FF2B5EF4-FFF2-40B4-BE49-F238E27FC236}">
                    <a16:creationId xmlns:a16="http://schemas.microsoft.com/office/drawing/2014/main" id="{DEF62B53-F861-4084-A4DA-5B9E4CEC252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feld 45">
                <a:extLst>
                  <a:ext uri="{FF2B5EF4-FFF2-40B4-BE49-F238E27FC236}">
                    <a16:creationId xmlns:a16="http://schemas.microsoft.com/office/drawing/2014/main" id="{8A70FEE0-2D07-4BA1-8837-99C7CB1AD7D9}"/>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7" name="Gruppieren 86">
            <a:extLst>
              <a:ext uri="{FF2B5EF4-FFF2-40B4-BE49-F238E27FC236}">
                <a16:creationId xmlns:a16="http://schemas.microsoft.com/office/drawing/2014/main" id="{BE8C256F-FE6B-489E-8694-29A0B807A6FE}"/>
              </a:ext>
            </a:extLst>
          </p:cNvPr>
          <p:cNvGrpSpPr/>
          <p:nvPr userDrawn="1"/>
        </p:nvGrpSpPr>
        <p:grpSpPr>
          <a:xfrm>
            <a:off x="-697714" y="80201"/>
            <a:ext cx="411956" cy="6729801"/>
            <a:chOff x="-502267" y="80201"/>
            <a:chExt cx="411956" cy="6729801"/>
          </a:xfrm>
        </p:grpSpPr>
        <p:grpSp>
          <p:nvGrpSpPr>
            <p:cNvPr id="88" name="Gruppieren 87">
              <a:extLst>
                <a:ext uri="{FF2B5EF4-FFF2-40B4-BE49-F238E27FC236}">
                  <a16:creationId xmlns:a16="http://schemas.microsoft.com/office/drawing/2014/main" id="{0A234D09-56CF-476A-8C7A-D13F996B21F8}"/>
                </a:ext>
              </a:extLst>
            </p:cNvPr>
            <p:cNvGrpSpPr/>
            <p:nvPr/>
          </p:nvGrpSpPr>
          <p:grpSpPr>
            <a:xfrm>
              <a:off x="-502267" y="6593340"/>
              <a:ext cx="411956" cy="216662"/>
              <a:chOff x="-615197" y="4452994"/>
              <a:chExt cx="411956" cy="216662"/>
            </a:xfrm>
          </p:grpSpPr>
          <p:sp>
            <p:nvSpPr>
              <p:cNvPr id="104" name="Textfeld 103">
                <a:extLst>
                  <a:ext uri="{FF2B5EF4-FFF2-40B4-BE49-F238E27FC236}">
                    <a16:creationId xmlns:a16="http://schemas.microsoft.com/office/drawing/2014/main" id="{CEFFCD59-9BA6-4C0F-9567-D5111D0929F1}"/>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105" name="Gerader Verbinder 104">
                <a:extLst>
                  <a:ext uri="{FF2B5EF4-FFF2-40B4-BE49-F238E27FC236}">
                    <a16:creationId xmlns:a16="http://schemas.microsoft.com/office/drawing/2014/main" id="{AB5C5361-5F0F-482A-8470-DEFDBCA2FC5A}"/>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9" name="Gruppieren 88">
              <a:extLst>
                <a:ext uri="{FF2B5EF4-FFF2-40B4-BE49-F238E27FC236}">
                  <a16:creationId xmlns:a16="http://schemas.microsoft.com/office/drawing/2014/main" id="{39BBFCE8-6F76-45B8-85A8-68C6D7EE2D83}"/>
                </a:ext>
              </a:extLst>
            </p:cNvPr>
            <p:cNvGrpSpPr/>
            <p:nvPr/>
          </p:nvGrpSpPr>
          <p:grpSpPr>
            <a:xfrm>
              <a:off x="-502267" y="5876163"/>
              <a:ext cx="411956" cy="216662"/>
              <a:chOff x="-615197" y="4295013"/>
              <a:chExt cx="411956" cy="216662"/>
            </a:xfrm>
          </p:grpSpPr>
          <p:cxnSp>
            <p:nvCxnSpPr>
              <p:cNvPr id="102" name="Gerader Verbinder 101">
                <a:extLst>
                  <a:ext uri="{FF2B5EF4-FFF2-40B4-BE49-F238E27FC236}">
                    <a16:creationId xmlns:a16="http://schemas.microsoft.com/office/drawing/2014/main" id="{805C3138-5CEA-45F9-94CB-6E51077285C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0E527EA5-913D-4F56-8DB9-C5A07506706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90" name="Gruppieren 89">
              <a:extLst>
                <a:ext uri="{FF2B5EF4-FFF2-40B4-BE49-F238E27FC236}">
                  <a16:creationId xmlns:a16="http://schemas.microsoft.com/office/drawing/2014/main" id="{A4022789-2EEE-46C0-9954-0D2504BEA68B}"/>
                </a:ext>
              </a:extLst>
            </p:cNvPr>
            <p:cNvGrpSpPr/>
            <p:nvPr/>
          </p:nvGrpSpPr>
          <p:grpSpPr>
            <a:xfrm>
              <a:off x="-502267" y="3212338"/>
              <a:ext cx="411956" cy="216662"/>
              <a:chOff x="-615197" y="4295013"/>
              <a:chExt cx="411956" cy="216662"/>
            </a:xfrm>
          </p:grpSpPr>
          <p:cxnSp>
            <p:nvCxnSpPr>
              <p:cNvPr id="100" name="Gerader Verbinder 99">
                <a:extLst>
                  <a:ext uri="{FF2B5EF4-FFF2-40B4-BE49-F238E27FC236}">
                    <a16:creationId xmlns:a16="http://schemas.microsoft.com/office/drawing/2014/main" id="{675E44F3-0329-4CB1-B406-448DCEDA2A89}"/>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feld 100">
                <a:extLst>
                  <a:ext uri="{FF2B5EF4-FFF2-40B4-BE49-F238E27FC236}">
                    <a16:creationId xmlns:a16="http://schemas.microsoft.com/office/drawing/2014/main" id="{158BE42F-E470-47C9-A978-3D3BE2B11B0A}"/>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91" name="Gruppieren 90">
              <a:extLst>
                <a:ext uri="{FF2B5EF4-FFF2-40B4-BE49-F238E27FC236}">
                  <a16:creationId xmlns:a16="http://schemas.microsoft.com/office/drawing/2014/main" id="{7A83B29F-BC79-418C-B072-8FAA9F359DC1}"/>
                </a:ext>
              </a:extLst>
            </p:cNvPr>
            <p:cNvGrpSpPr/>
            <p:nvPr/>
          </p:nvGrpSpPr>
          <p:grpSpPr>
            <a:xfrm>
              <a:off x="-502267" y="835851"/>
              <a:ext cx="411956" cy="216662"/>
              <a:chOff x="-615197" y="4295013"/>
              <a:chExt cx="411956" cy="216662"/>
            </a:xfrm>
          </p:grpSpPr>
          <p:cxnSp>
            <p:nvCxnSpPr>
              <p:cNvPr id="98" name="Gerader Verbinder 97">
                <a:extLst>
                  <a:ext uri="{FF2B5EF4-FFF2-40B4-BE49-F238E27FC236}">
                    <a16:creationId xmlns:a16="http://schemas.microsoft.com/office/drawing/2014/main" id="{6927F45F-C9F3-40DC-ABD3-E8D4F1BE57CF}"/>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A75BB589-CBAF-474E-B7A3-D34833594677}"/>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92" name="Gruppieren 91">
              <a:extLst>
                <a:ext uri="{FF2B5EF4-FFF2-40B4-BE49-F238E27FC236}">
                  <a16:creationId xmlns:a16="http://schemas.microsoft.com/office/drawing/2014/main" id="{A98127A2-7281-42CA-9A29-487EE392A705}"/>
                </a:ext>
              </a:extLst>
            </p:cNvPr>
            <p:cNvGrpSpPr/>
            <p:nvPr/>
          </p:nvGrpSpPr>
          <p:grpSpPr>
            <a:xfrm>
              <a:off x="-502267" y="1412113"/>
              <a:ext cx="411956" cy="216662"/>
              <a:chOff x="-615197" y="4295013"/>
              <a:chExt cx="411956" cy="216662"/>
            </a:xfrm>
          </p:grpSpPr>
          <p:cxnSp>
            <p:nvCxnSpPr>
              <p:cNvPr id="96" name="Gerader Verbinder 95">
                <a:extLst>
                  <a:ext uri="{FF2B5EF4-FFF2-40B4-BE49-F238E27FC236}">
                    <a16:creationId xmlns:a16="http://schemas.microsoft.com/office/drawing/2014/main" id="{A5CBCAAA-AA82-498E-94D9-7A8D55C9A275}"/>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id="{08DED87C-FF0B-4F72-A152-6AAE3EB3FE74}"/>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93" name="Gruppieren 92">
              <a:extLst>
                <a:ext uri="{FF2B5EF4-FFF2-40B4-BE49-F238E27FC236}">
                  <a16:creationId xmlns:a16="http://schemas.microsoft.com/office/drawing/2014/main" id="{A0CAE587-CBBC-46D7-B547-9410C2855CF1}"/>
                </a:ext>
              </a:extLst>
            </p:cNvPr>
            <p:cNvGrpSpPr/>
            <p:nvPr/>
          </p:nvGrpSpPr>
          <p:grpSpPr>
            <a:xfrm>
              <a:off x="-502267" y="80201"/>
              <a:ext cx="411956" cy="216662"/>
              <a:chOff x="-615197" y="4258501"/>
              <a:chExt cx="411956" cy="216662"/>
            </a:xfrm>
          </p:grpSpPr>
          <p:cxnSp>
            <p:nvCxnSpPr>
              <p:cNvPr id="94" name="Gerader Verbinder 93">
                <a:extLst>
                  <a:ext uri="{FF2B5EF4-FFF2-40B4-BE49-F238E27FC236}">
                    <a16:creationId xmlns:a16="http://schemas.microsoft.com/office/drawing/2014/main" id="{F07CD434-12AE-423A-AA17-A75970629D9F}"/>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Textfeld 94">
                <a:extLst>
                  <a:ext uri="{FF2B5EF4-FFF2-40B4-BE49-F238E27FC236}">
                    <a16:creationId xmlns:a16="http://schemas.microsoft.com/office/drawing/2014/main" id="{ACDE4BFD-2CD6-4C92-95D4-E3D45229292A}"/>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pic>
        <p:nvPicPr>
          <p:cNvPr id="3" name="Grafik 2">
            <a:extLst>
              <a:ext uri="{FF2B5EF4-FFF2-40B4-BE49-F238E27FC236}">
                <a16:creationId xmlns:a16="http://schemas.microsoft.com/office/drawing/2014/main" id="{CC3594EE-A331-C02C-BCD7-3265738511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067" y="188532"/>
            <a:ext cx="1241677" cy="518400"/>
          </a:xfrm>
          <a:prstGeom prst="rect">
            <a:avLst/>
          </a:prstGeom>
        </p:spPr>
      </p:pic>
    </p:spTree>
    <p:extLst>
      <p:ext uri="{BB962C8B-B14F-4D97-AF65-F5344CB8AC3E}">
        <p14:creationId xmlns:p14="http://schemas.microsoft.com/office/powerpoint/2010/main" val="4238673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9" name="Textplatzhalter 8">
            <a:extLst>
              <a:ext uri="{FF2B5EF4-FFF2-40B4-BE49-F238E27FC236}">
                <a16:creationId xmlns:a16="http://schemas.microsoft.com/office/drawing/2014/main" id="{FCDF64D8-43C9-4659-8FEB-D25E62DE2319}"/>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4" name="Textplatzhalter 3">
            <a:extLst>
              <a:ext uri="{FF2B5EF4-FFF2-40B4-BE49-F238E27FC236}">
                <a16:creationId xmlns:a16="http://schemas.microsoft.com/office/drawing/2014/main" id="{321D1B0B-1BA8-4136-AF7B-59A487C42E1D}"/>
              </a:ext>
            </a:extLst>
          </p:cNvPr>
          <p:cNvSpPr>
            <a:spLocks noGrp="1"/>
          </p:cNvSpPr>
          <p:nvPr>
            <p:ph type="body" sz="quarter" idx="63"/>
          </p:nvPr>
        </p:nvSpPr>
        <p:spPr>
          <a:xfrm>
            <a:off x="518319" y="1631837"/>
            <a:ext cx="11160000"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0" name="Gerade Verbindung 71">
            <a:extLst>
              <a:ext uri="{FF2B5EF4-FFF2-40B4-BE49-F238E27FC236}">
                <a16:creationId xmlns:a16="http://schemas.microsoft.com/office/drawing/2014/main" id="{06BCC614-210D-45D8-85A7-4DB4D413AA8E}"/>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1D8749DC-32EC-49E7-98D8-A0B4F1E673A7}"/>
              </a:ext>
            </a:extLst>
          </p:cNvPr>
          <p:cNvSpPr>
            <a:spLocks noGrp="1"/>
          </p:cNvSpPr>
          <p:nvPr>
            <p:ph type="dt" sz="half" idx="64"/>
          </p:nvPr>
        </p:nvSpPr>
        <p:spPr/>
        <p:txBody>
          <a:bodyPr/>
          <a:lstStyle/>
          <a:p>
            <a:fld id="{3823075D-91E6-43EC-89B5-724042DC203F}" type="datetime4">
              <a:rPr lang="de-DE" smtClean="0"/>
              <a:t>17. Februar 2025</a:t>
            </a:fld>
            <a:endParaRPr lang="de-DE"/>
          </a:p>
        </p:txBody>
      </p:sp>
      <p:sp>
        <p:nvSpPr>
          <p:cNvPr id="11" name="Foliennummernplatzhalter 10">
            <a:extLst>
              <a:ext uri="{FF2B5EF4-FFF2-40B4-BE49-F238E27FC236}">
                <a16:creationId xmlns:a16="http://schemas.microsoft.com/office/drawing/2014/main" id="{A044AFA5-5C75-4E42-9ABE-DF2BA41D37CC}"/>
              </a:ext>
            </a:extLst>
          </p:cNvPr>
          <p:cNvSpPr>
            <a:spLocks noGrp="1"/>
          </p:cNvSpPr>
          <p:nvPr>
            <p:ph type="sldNum" sz="quarter" idx="66"/>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595020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folie | 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40C2D3-DBDA-4D6C-BBD7-C8CCD961E40D}"/>
              </a:ext>
            </a:extLst>
          </p:cNvPr>
          <p:cNvSpPr>
            <a:spLocks noGrp="1"/>
          </p:cNvSpPr>
          <p:nvPr>
            <p:ph type="title"/>
          </p:nvPr>
        </p:nvSpPr>
        <p:spPr>
          <a:xfrm>
            <a:off x="518319" y="299633"/>
            <a:ext cx="9740106" cy="369332"/>
          </a:xfrm>
        </p:spPr>
        <p:txBody>
          <a:bodyPr/>
          <a:lstStyle>
            <a:lvl1pPr>
              <a:defRPr>
                <a:latin typeface="ZEISS Frutiger Next W1G"/>
                <a:cs typeface="Arial" panose="020B0604020202020204" pitchFamily="34" charset="0"/>
              </a:defRPr>
            </a:lvl1pPr>
          </a:lstStyle>
          <a:p>
            <a:r>
              <a:rPr lang="de-DE"/>
              <a:t>Mastertitelformat bearbeiten</a:t>
            </a:r>
          </a:p>
        </p:txBody>
      </p:sp>
      <p:cxnSp>
        <p:nvCxnSpPr>
          <p:cNvPr id="13" name="Gerade Verbindung 71">
            <a:extLst>
              <a:ext uri="{FF2B5EF4-FFF2-40B4-BE49-F238E27FC236}">
                <a16:creationId xmlns:a16="http://schemas.microsoft.com/office/drawing/2014/main" id="{38C429B3-4EC8-4416-A4E5-3B8711559014}"/>
              </a:ext>
            </a:extLst>
          </p:cNvPr>
          <p:cNvCxnSpPr>
            <a:cxnSpLocks/>
          </p:cNvCxnSpPr>
          <p:nvPr/>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10" name="Textplatzhalter 8">
            <a:extLst>
              <a:ext uri="{FF2B5EF4-FFF2-40B4-BE49-F238E27FC236}">
                <a16:creationId xmlns:a16="http://schemas.microsoft.com/office/drawing/2014/main" id="{162F79FD-685F-4AD0-AD07-F82DCA600046}"/>
              </a:ext>
            </a:extLst>
          </p:cNvPr>
          <p:cNvSpPr>
            <a:spLocks noGrp="1"/>
          </p:cNvSpPr>
          <p:nvPr>
            <p:ph type="body" sz="quarter" idx="59"/>
          </p:nvPr>
        </p:nvSpPr>
        <p:spPr>
          <a:xfrm>
            <a:off x="518319" y="642855"/>
            <a:ext cx="9740106" cy="369332"/>
          </a:xfrm>
        </p:spPr>
        <p:txBody>
          <a:bodyPr wrap="square">
            <a:noAutofit/>
          </a:bodyPr>
          <a:lstStyle>
            <a:lvl1pPr>
              <a:lnSpc>
                <a:spcPct val="100000"/>
              </a:lnSpc>
              <a:spcAft>
                <a:spcPts val="0"/>
              </a:spcAft>
              <a:defRPr sz="2400">
                <a:latin typeface="ZEISS Frutiger Next W1G"/>
                <a:cs typeface="Arial" panose="020B0604020202020204" pitchFamily="34" charset="0"/>
              </a:defRPr>
            </a:lvl1pPr>
          </a:lstStyle>
          <a:p>
            <a:pPr lvl="0"/>
            <a:r>
              <a:rPr lang="de-DE"/>
              <a:t>Mastertextformat bearbeiten</a:t>
            </a:r>
          </a:p>
        </p:txBody>
      </p:sp>
      <p:sp>
        <p:nvSpPr>
          <p:cNvPr id="11" name="Textplatzhalter 3">
            <a:extLst>
              <a:ext uri="{FF2B5EF4-FFF2-40B4-BE49-F238E27FC236}">
                <a16:creationId xmlns:a16="http://schemas.microsoft.com/office/drawing/2014/main" id="{12A02888-F9A5-43B4-9619-58072584F513}"/>
              </a:ext>
            </a:extLst>
          </p:cNvPr>
          <p:cNvSpPr>
            <a:spLocks noGrp="1"/>
          </p:cNvSpPr>
          <p:nvPr>
            <p:ph type="body" sz="quarter" idx="64"/>
          </p:nvPr>
        </p:nvSpPr>
        <p:spPr>
          <a:xfrm>
            <a:off x="518319"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3">
            <a:extLst>
              <a:ext uri="{FF2B5EF4-FFF2-40B4-BE49-F238E27FC236}">
                <a16:creationId xmlns:a16="http://schemas.microsoft.com/office/drawing/2014/main" id="{D03185D6-5C86-4FFC-9297-944DDAF3BE36}"/>
              </a:ext>
            </a:extLst>
          </p:cNvPr>
          <p:cNvSpPr>
            <a:spLocks noGrp="1"/>
          </p:cNvSpPr>
          <p:nvPr>
            <p:ph type="body" sz="quarter" idx="65"/>
          </p:nvPr>
        </p:nvSpPr>
        <p:spPr>
          <a:xfrm>
            <a:off x="6242844" y="1631837"/>
            <a:ext cx="5433219" cy="4464000"/>
          </a:xfrm>
        </p:spPr>
        <p:txBody>
          <a:bodyPr rIns="540000"/>
          <a:lstStyle>
            <a:lvl1pPr>
              <a:defRPr>
                <a:latin typeface="ZEISS Frutiger Next W1G"/>
                <a:cs typeface="Arial" panose="020B0604020202020204" pitchFamily="34" charset="0"/>
              </a:defRPr>
            </a:lvl1pPr>
            <a:lvl2pPr>
              <a:defRPr>
                <a:latin typeface="ZEISS Frutiger Next W1G"/>
                <a:cs typeface="Arial" panose="020B0604020202020204" pitchFamily="34" charset="0"/>
              </a:defRPr>
            </a:lvl2pPr>
            <a:lvl3pPr>
              <a:defRPr>
                <a:latin typeface="ZEISS Frutiger Next W1G"/>
                <a:cs typeface="Arial" panose="020B0604020202020204" pitchFamily="34" charset="0"/>
              </a:defRPr>
            </a:lvl3pPr>
            <a:lvl4pPr>
              <a:defRPr>
                <a:latin typeface="ZEISS Frutiger Next W1G"/>
                <a:cs typeface="Arial" panose="020B0604020202020204" pitchFamily="34" charset="0"/>
              </a:defRPr>
            </a:lvl4pPr>
            <a:lvl5pPr>
              <a:defRPr>
                <a:latin typeface="ZEISS Frutiger Next W1G"/>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cxnSp>
        <p:nvCxnSpPr>
          <p:cNvPr id="14" name="Gerade Verbindung 71">
            <a:extLst>
              <a:ext uri="{FF2B5EF4-FFF2-40B4-BE49-F238E27FC236}">
                <a16:creationId xmlns:a16="http://schemas.microsoft.com/office/drawing/2014/main" id="{3E45FDC8-FB31-4EFC-A85C-0EDC909275BC}"/>
              </a:ext>
            </a:extLst>
          </p:cNvPr>
          <p:cNvCxnSpPr>
            <a:cxnSpLocks/>
          </p:cNvCxnSpPr>
          <p:nvPr userDrawn="1"/>
        </p:nvCxnSpPr>
        <p:spPr>
          <a:xfrm>
            <a:off x="0" y="1052906"/>
            <a:ext cx="12192000" cy="0"/>
          </a:xfrm>
          <a:prstGeom prst="line">
            <a:avLst/>
          </a:prstGeom>
          <a:ln w="6350">
            <a:solidFill>
              <a:srgbClr val="D6D6D6"/>
            </a:solidFill>
          </a:ln>
        </p:spPr>
        <p:style>
          <a:lnRef idx="1">
            <a:schemeClr val="accent1"/>
          </a:lnRef>
          <a:fillRef idx="0">
            <a:schemeClr val="accent1"/>
          </a:fillRef>
          <a:effectRef idx="0">
            <a:schemeClr val="accent1"/>
          </a:effectRef>
          <a:fontRef idx="minor">
            <a:schemeClr val="tx1"/>
          </a:fontRef>
        </p:style>
      </p:cxnSp>
      <p:sp>
        <p:nvSpPr>
          <p:cNvPr id="6" name="Datumsplatzhalter 5">
            <a:extLst>
              <a:ext uri="{FF2B5EF4-FFF2-40B4-BE49-F238E27FC236}">
                <a16:creationId xmlns:a16="http://schemas.microsoft.com/office/drawing/2014/main" id="{9E81E40B-FF71-446B-8787-2BAEF4637756}"/>
              </a:ext>
            </a:extLst>
          </p:cNvPr>
          <p:cNvSpPr>
            <a:spLocks noGrp="1"/>
          </p:cNvSpPr>
          <p:nvPr>
            <p:ph type="dt" sz="half" idx="66"/>
          </p:nvPr>
        </p:nvSpPr>
        <p:spPr/>
        <p:txBody>
          <a:bodyPr/>
          <a:lstStyle/>
          <a:p>
            <a:fld id="{8A8CEE53-2C13-4F5F-B622-C12C798F824E}" type="datetime4">
              <a:rPr lang="de-DE" smtClean="0"/>
              <a:t>17. Februar 2025</a:t>
            </a:fld>
            <a:endParaRPr lang="de-DE"/>
          </a:p>
        </p:txBody>
      </p:sp>
      <p:sp>
        <p:nvSpPr>
          <p:cNvPr id="8" name="Foliennummernplatzhalter 7">
            <a:extLst>
              <a:ext uri="{FF2B5EF4-FFF2-40B4-BE49-F238E27FC236}">
                <a16:creationId xmlns:a16="http://schemas.microsoft.com/office/drawing/2014/main" id="{9DBA4F64-898B-4F49-A973-63491C3FBCB1}"/>
              </a:ext>
            </a:extLst>
          </p:cNvPr>
          <p:cNvSpPr>
            <a:spLocks noGrp="1"/>
          </p:cNvSpPr>
          <p:nvPr>
            <p:ph type="sldNum" sz="quarter" idx="68"/>
          </p:nvPr>
        </p:nvSpPr>
        <p:spPr/>
        <p:txBody>
          <a:bodyPr/>
          <a:lstStyle/>
          <a:p>
            <a:fld id="{C6A4AD45-2621-4550-9DC5-4911F1B5FA4D}" type="slidenum">
              <a:rPr lang="de-DE" smtClean="0"/>
              <a:pPr/>
              <a:t>‹Nr.›</a:t>
            </a:fld>
            <a:endParaRPr lang="de-DE"/>
          </a:p>
        </p:txBody>
      </p:sp>
    </p:spTree>
    <p:extLst>
      <p:ext uri="{BB962C8B-B14F-4D97-AF65-F5344CB8AC3E}">
        <p14:creationId xmlns:p14="http://schemas.microsoft.com/office/powerpoint/2010/main" val="110751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B5DF379B-2F7B-4B88-BC16-FA39CEB2C3FA}"/>
              </a:ext>
            </a:extLst>
          </p:cNvPr>
          <p:cNvSpPr>
            <a:spLocks noGrp="1"/>
          </p:cNvSpPr>
          <p:nvPr>
            <p:ph type="title"/>
          </p:nvPr>
        </p:nvSpPr>
        <p:spPr>
          <a:xfrm>
            <a:off x="518319" y="299633"/>
            <a:ext cx="8736776" cy="369332"/>
          </a:xfrm>
          <a:prstGeom prst="rect">
            <a:avLst/>
          </a:prstGeom>
        </p:spPr>
        <p:txBody>
          <a:bodyPr vert="horz" wrap="square" lIns="0" tIns="0" rIns="0" bIns="0" rtlCol="0" anchor="t" anchorCtr="0">
            <a:spAutoFit/>
          </a:bodyPr>
          <a:lstStyle/>
          <a:p>
            <a:r>
              <a:rPr lang="de-DE"/>
              <a:t>Mastertitelformat bearbeiten</a:t>
            </a:r>
          </a:p>
        </p:txBody>
      </p:sp>
      <p:sp>
        <p:nvSpPr>
          <p:cNvPr id="3" name="Textplatzhalter 2">
            <a:extLst>
              <a:ext uri="{FF2B5EF4-FFF2-40B4-BE49-F238E27FC236}">
                <a16:creationId xmlns:a16="http://schemas.microsoft.com/office/drawing/2014/main" id="{9BFF28EB-5BBB-48FC-BE84-2AF18E9A250D}"/>
              </a:ext>
            </a:extLst>
          </p:cNvPr>
          <p:cNvSpPr>
            <a:spLocks noGrp="1"/>
          </p:cNvSpPr>
          <p:nvPr>
            <p:ph type="body" idx="1"/>
          </p:nvPr>
        </p:nvSpPr>
        <p:spPr>
          <a:xfrm>
            <a:off x="518319" y="1631155"/>
            <a:ext cx="11160000" cy="446400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Datumsplatzhalter 3">
            <a:extLst>
              <a:ext uri="{FF2B5EF4-FFF2-40B4-BE49-F238E27FC236}">
                <a16:creationId xmlns:a16="http://schemas.microsoft.com/office/drawing/2014/main" id="{39AF8200-DF6F-4A4E-B92D-A281BB9406D9}"/>
              </a:ext>
            </a:extLst>
          </p:cNvPr>
          <p:cNvSpPr>
            <a:spLocks noGrp="1"/>
          </p:cNvSpPr>
          <p:nvPr>
            <p:ph type="dt" sz="half" idx="2"/>
          </p:nvPr>
        </p:nvSpPr>
        <p:spPr>
          <a:xfrm>
            <a:off x="299274" y="6579170"/>
            <a:ext cx="1085233" cy="230832"/>
          </a:xfrm>
          <a:prstGeom prst="rect">
            <a:avLst/>
          </a:prstGeom>
        </p:spPr>
        <p:txBody>
          <a:bodyPr vert="horz" wrap="none" lIns="0" tIns="0" rIns="0" bIns="0" rtlCol="0" anchor="t" anchorCtr="0">
            <a:spAutoFit/>
          </a:bodyPr>
          <a:lstStyle>
            <a:lvl1pPr algn="l">
              <a:defRPr sz="1500">
                <a:solidFill>
                  <a:schemeClr val="tx1"/>
                </a:solidFill>
                <a:latin typeface="+mn-lt"/>
                <a:cs typeface="ZEISS Frutiger Next W1G Lt" panose="020B0302030202020203" pitchFamily="34" charset="0"/>
              </a:defRPr>
            </a:lvl1pPr>
          </a:lstStyle>
          <a:p>
            <a:fld id="{FC0C3420-A45B-4223-8056-BE47BA32B9EC}" type="datetime4">
              <a:rPr lang="de-DE" smtClean="0"/>
              <a:t>17. Februar 2025</a:t>
            </a:fld>
            <a:endParaRPr lang="de-DE"/>
          </a:p>
        </p:txBody>
      </p:sp>
      <p:sp>
        <p:nvSpPr>
          <p:cNvPr id="6" name="Foliennummernplatzhalter 5">
            <a:extLst>
              <a:ext uri="{FF2B5EF4-FFF2-40B4-BE49-F238E27FC236}">
                <a16:creationId xmlns:a16="http://schemas.microsoft.com/office/drawing/2014/main" id="{BB2475B2-8926-4797-977A-DAFF5A6E3C3C}"/>
              </a:ext>
            </a:extLst>
          </p:cNvPr>
          <p:cNvSpPr>
            <a:spLocks noGrp="1"/>
          </p:cNvSpPr>
          <p:nvPr>
            <p:ph type="sldNum" sz="quarter" idx="4"/>
          </p:nvPr>
        </p:nvSpPr>
        <p:spPr>
          <a:xfrm>
            <a:off x="5629204" y="6579170"/>
            <a:ext cx="387928" cy="230832"/>
          </a:xfrm>
          <a:prstGeom prst="rect">
            <a:avLst/>
          </a:prstGeom>
        </p:spPr>
        <p:txBody>
          <a:bodyPr vert="horz" wrap="none" lIns="0" tIns="0" rIns="0" bIns="0" rtlCol="0" anchor="t" anchorCtr="0">
            <a:spAutoFit/>
          </a:bodyPr>
          <a:lstStyle>
            <a:lvl1pPr algn="r">
              <a:defRPr sz="1500" b="1">
                <a:solidFill>
                  <a:schemeClr val="tx1"/>
                </a:solidFill>
                <a:latin typeface="+mn-lt"/>
                <a:cs typeface="ZEISS Frutiger Next W1G Lt" panose="020B0302030202020203" pitchFamily="34" charset="0"/>
              </a:defRPr>
            </a:lvl1pPr>
          </a:lstStyle>
          <a:p>
            <a:fld id="{C6A4AD45-2621-4550-9DC5-4911F1B5FA4D}" type="slidenum">
              <a:rPr lang="de-DE" smtClean="0"/>
              <a:pPr/>
              <a:t>‹Nr.›</a:t>
            </a:fld>
            <a:endParaRPr lang="de-DE"/>
          </a:p>
        </p:txBody>
      </p:sp>
      <p:grpSp>
        <p:nvGrpSpPr>
          <p:cNvPr id="83" name="Gruppieren 82">
            <a:extLst>
              <a:ext uri="{FF2B5EF4-FFF2-40B4-BE49-F238E27FC236}">
                <a16:creationId xmlns:a16="http://schemas.microsoft.com/office/drawing/2014/main" id="{741B6C63-D1F4-4D52-B460-24B79908B8A3}"/>
              </a:ext>
            </a:extLst>
          </p:cNvPr>
          <p:cNvGrpSpPr/>
          <p:nvPr/>
        </p:nvGrpSpPr>
        <p:grpSpPr>
          <a:xfrm>
            <a:off x="299275" y="-697714"/>
            <a:ext cx="11375605" cy="411956"/>
            <a:chOff x="299275" y="6944502"/>
            <a:chExt cx="11375605" cy="411956"/>
          </a:xfrm>
        </p:grpSpPr>
        <p:grpSp>
          <p:nvGrpSpPr>
            <p:cNvPr id="48" name="Gruppieren 47">
              <a:extLst>
                <a:ext uri="{FF2B5EF4-FFF2-40B4-BE49-F238E27FC236}">
                  <a16:creationId xmlns:a16="http://schemas.microsoft.com/office/drawing/2014/main" id="{08382494-4519-4B0A-9102-6CE52486E06E}"/>
                </a:ext>
              </a:extLst>
            </p:cNvPr>
            <p:cNvGrpSpPr/>
            <p:nvPr/>
          </p:nvGrpSpPr>
          <p:grpSpPr>
            <a:xfrm rot="16200000">
              <a:off x="201628" y="7042149"/>
              <a:ext cx="411956" cy="216662"/>
              <a:chOff x="-615197" y="4295013"/>
              <a:chExt cx="411956" cy="216662"/>
            </a:xfrm>
          </p:grpSpPr>
          <p:cxnSp>
            <p:nvCxnSpPr>
              <p:cNvPr id="44" name="Gerader Verbinder 43">
                <a:extLst>
                  <a:ext uri="{FF2B5EF4-FFF2-40B4-BE49-F238E27FC236}">
                    <a16:creationId xmlns:a16="http://schemas.microsoft.com/office/drawing/2014/main" id="{DF92F63F-CC24-485D-9C52-63C5F1B2F5B7}"/>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314958B9-45FB-434B-A76E-E9105CDE5980}"/>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nvGrpSpPr>
            <p:cNvPr id="49" name="Gruppieren 48">
              <a:extLst>
                <a:ext uri="{FF2B5EF4-FFF2-40B4-BE49-F238E27FC236}">
                  <a16:creationId xmlns:a16="http://schemas.microsoft.com/office/drawing/2014/main" id="{55A2AA88-A3CC-4A9C-9D4F-6E13AD9F18B3}"/>
                </a:ext>
              </a:extLst>
            </p:cNvPr>
            <p:cNvGrpSpPr/>
            <p:nvPr/>
          </p:nvGrpSpPr>
          <p:grpSpPr>
            <a:xfrm rot="16200000">
              <a:off x="5637228" y="7042149"/>
              <a:ext cx="411956" cy="216662"/>
              <a:chOff x="-615197" y="4295013"/>
              <a:chExt cx="411956" cy="216662"/>
            </a:xfrm>
          </p:grpSpPr>
          <p:cxnSp>
            <p:nvCxnSpPr>
              <p:cNvPr id="50" name="Gerader Verbinder 49">
                <a:extLst>
                  <a:ext uri="{FF2B5EF4-FFF2-40B4-BE49-F238E27FC236}">
                    <a16:creationId xmlns:a16="http://schemas.microsoft.com/office/drawing/2014/main" id="{CD195ACE-FABB-4451-84B4-DCC9E983992E}"/>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A7609EAF-FDCF-482B-ABAE-4F42E61E718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grpSp>
          <p:nvGrpSpPr>
            <p:cNvPr id="52" name="Gruppieren 51">
              <a:extLst>
                <a:ext uri="{FF2B5EF4-FFF2-40B4-BE49-F238E27FC236}">
                  <a16:creationId xmlns:a16="http://schemas.microsoft.com/office/drawing/2014/main" id="{7BEFA435-A973-4CEA-B2B5-45F218764925}"/>
                </a:ext>
              </a:extLst>
            </p:cNvPr>
            <p:cNvGrpSpPr/>
            <p:nvPr/>
          </p:nvGrpSpPr>
          <p:grpSpPr>
            <a:xfrm rot="5400000">
              <a:off x="6093326" y="7042149"/>
              <a:ext cx="411956" cy="216662"/>
              <a:chOff x="-615197" y="4346120"/>
              <a:chExt cx="411956" cy="216662"/>
            </a:xfrm>
          </p:grpSpPr>
          <p:cxnSp>
            <p:nvCxnSpPr>
              <p:cNvPr id="53" name="Gerader Verbinder 52">
                <a:extLst>
                  <a:ext uri="{FF2B5EF4-FFF2-40B4-BE49-F238E27FC236}">
                    <a16:creationId xmlns:a16="http://schemas.microsoft.com/office/drawing/2014/main" id="{B66456B7-D728-43D9-AF70-5D75514751F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9B9AD2F7-1692-4BAE-96CE-9CBB8EB5334F}"/>
                  </a:ext>
                </a:extLst>
              </p:cNvPr>
              <p:cNvSpPr txBox="1"/>
              <p:nvPr/>
            </p:nvSpPr>
            <p:spPr>
              <a:xfrm rot="10800000">
                <a:off x="-615197" y="4346120"/>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40</a:t>
                </a:r>
              </a:p>
            </p:txBody>
          </p:sp>
        </p:grpSp>
        <p:cxnSp>
          <p:nvCxnSpPr>
            <p:cNvPr id="56" name="Gerader Verbinder 55">
              <a:extLst>
                <a:ext uri="{FF2B5EF4-FFF2-40B4-BE49-F238E27FC236}">
                  <a16:creationId xmlns:a16="http://schemas.microsoft.com/office/drawing/2014/main" id="{1DF6E441-F63D-4D0D-B05B-73D855900C29}"/>
                </a:ext>
              </a:extLst>
            </p:cNvPr>
            <p:cNvCxnSpPr>
              <a:cxnSpLocks/>
            </p:cNvCxnSpPr>
            <p:nvPr/>
          </p:nvCxnSpPr>
          <p:spPr>
            <a:xfrm rot="16200000">
              <a:off x="5890022" y="7150480"/>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id="{71031521-32BA-4E76-AF98-5B3C8B219763}"/>
                </a:ext>
              </a:extLst>
            </p:cNvPr>
            <p:cNvGrpSpPr/>
            <p:nvPr/>
          </p:nvGrpSpPr>
          <p:grpSpPr>
            <a:xfrm rot="16200000">
              <a:off x="11360571" y="7042149"/>
              <a:ext cx="411956" cy="216662"/>
              <a:chOff x="-615197" y="4295013"/>
              <a:chExt cx="411956" cy="216662"/>
            </a:xfrm>
          </p:grpSpPr>
          <p:cxnSp>
            <p:nvCxnSpPr>
              <p:cNvPr id="59" name="Gerader Verbinder 58">
                <a:extLst>
                  <a:ext uri="{FF2B5EF4-FFF2-40B4-BE49-F238E27FC236}">
                    <a16:creationId xmlns:a16="http://schemas.microsoft.com/office/drawing/2014/main" id="{65375763-B251-4415-B487-5BE6579DDBB0}"/>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4CCC0796-D7FE-4730-85D3-380F795EC6C3}"/>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15,50</a:t>
                </a:r>
              </a:p>
            </p:txBody>
          </p:sp>
        </p:grpSp>
      </p:grpSp>
      <p:grpSp>
        <p:nvGrpSpPr>
          <p:cNvPr id="82" name="Gruppieren 81">
            <a:extLst>
              <a:ext uri="{FF2B5EF4-FFF2-40B4-BE49-F238E27FC236}">
                <a16:creationId xmlns:a16="http://schemas.microsoft.com/office/drawing/2014/main" id="{78DE8CA4-3189-4D81-A0B6-20AA7E700A17}"/>
              </a:ext>
            </a:extLst>
          </p:cNvPr>
          <p:cNvGrpSpPr/>
          <p:nvPr/>
        </p:nvGrpSpPr>
        <p:grpSpPr>
          <a:xfrm>
            <a:off x="-697714" y="80201"/>
            <a:ext cx="411956" cy="6729801"/>
            <a:chOff x="-502267" y="80201"/>
            <a:chExt cx="411956" cy="6729801"/>
          </a:xfrm>
        </p:grpSpPr>
        <p:grpSp>
          <p:nvGrpSpPr>
            <p:cNvPr id="61" name="Gruppieren 60">
              <a:extLst>
                <a:ext uri="{FF2B5EF4-FFF2-40B4-BE49-F238E27FC236}">
                  <a16:creationId xmlns:a16="http://schemas.microsoft.com/office/drawing/2014/main" id="{2B29B77A-3B1D-4CDD-BBC2-8A2957422FAA}"/>
                </a:ext>
              </a:extLst>
            </p:cNvPr>
            <p:cNvGrpSpPr/>
            <p:nvPr/>
          </p:nvGrpSpPr>
          <p:grpSpPr>
            <a:xfrm>
              <a:off x="-502267" y="6593340"/>
              <a:ext cx="411956" cy="216662"/>
              <a:chOff x="-615197" y="4452994"/>
              <a:chExt cx="411956" cy="216662"/>
            </a:xfrm>
          </p:grpSpPr>
          <p:sp>
            <p:nvSpPr>
              <p:cNvPr id="63" name="Textfeld 62">
                <a:extLst>
                  <a:ext uri="{FF2B5EF4-FFF2-40B4-BE49-F238E27FC236}">
                    <a16:creationId xmlns:a16="http://schemas.microsoft.com/office/drawing/2014/main" id="{0026B918-E1C7-4F8F-84C7-B47E4032A9A9}"/>
                  </a:ext>
                </a:extLst>
              </p:cNvPr>
              <p:cNvSpPr txBox="1"/>
              <p:nvPr/>
            </p:nvSpPr>
            <p:spPr>
              <a:xfrm>
                <a:off x="-615197" y="4452994"/>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92</a:t>
                </a:r>
              </a:p>
            </p:txBody>
          </p:sp>
          <p:cxnSp>
            <p:nvCxnSpPr>
              <p:cNvPr id="62" name="Gerader Verbinder 61">
                <a:extLst>
                  <a:ext uri="{FF2B5EF4-FFF2-40B4-BE49-F238E27FC236}">
                    <a16:creationId xmlns:a16="http://schemas.microsoft.com/office/drawing/2014/main" id="{93D91228-E8A5-4F30-A7EC-EBF48343A3E6}"/>
                  </a:ext>
                </a:extLst>
              </p:cNvPr>
              <p:cNvCxnSpPr>
                <a:cxnSpLocks/>
              </p:cNvCxnSpPr>
              <p:nvPr/>
            </p:nvCxnSpPr>
            <p:spPr>
              <a:xfrm>
                <a:off x="-615197" y="4497389"/>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F81C8663-719C-4C4D-B021-2AAC833DE83A}"/>
                </a:ext>
              </a:extLst>
            </p:cNvPr>
            <p:cNvGrpSpPr/>
            <p:nvPr/>
          </p:nvGrpSpPr>
          <p:grpSpPr>
            <a:xfrm>
              <a:off x="-502267" y="5876163"/>
              <a:ext cx="411956" cy="216662"/>
              <a:chOff x="-615197" y="4295013"/>
              <a:chExt cx="411956" cy="216662"/>
            </a:xfrm>
          </p:grpSpPr>
          <p:cxnSp>
            <p:nvCxnSpPr>
              <p:cNvPr id="68" name="Gerader Verbinder 67">
                <a:extLst>
                  <a:ext uri="{FF2B5EF4-FFF2-40B4-BE49-F238E27FC236}">
                    <a16:creationId xmlns:a16="http://schemas.microsoft.com/office/drawing/2014/main" id="{CCC1DBBB-3ACE-470E-AE16-5F772149FBAD}"/>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F03CE7B8-9284-495A-A6CE-07BB9E1426C1}"/>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7,40</a:t>
                </a:r>
              </a:p>
            </p:txBody>
          </p:sp>
        </p:grpSp>
        <p:grpSp>
          <p:nvGrpSpPr>
            <p:cNvPr id="70" name="Gruppieren 69">
              <a:extLst>
                <a:ext uri="{FF2B5EF4-FFF2-40B4-BE49-F238E27FC236}">
                  <a16:creationId xmlns:a16="http://schemas.microsoft.com/office/drawing/2014/main" id="{327D6F70-70F8-4901-BE2E-1DDBE99384F5}"/>
                </a:ext>
              </a:extLst>
            </p:cNvPr>
            <p:cNvGrpSpPr/>
            <p:nvPr/>
          </p:nvGrpSpPr>
          <p:grpSpPr>
            <a:xfrm>
              <a:off x="-502267" y="3212338"/>
              <a:ext cx="411956" cy="216662"/>
              <a:chOff x="-615197" y="4295013"/>
              <a:chExt cx="411956" cy="216662"/>
            </a:xfrm>
          </p:grpSpPr>
          <p:cxnSp>
            <p:nvCxnSpPr>
              <p:cNvPr id="71" name="Gerader Verbinder 70">
                <a:extLst>
                  <a:ext uri="{FF2B5EF4-FFF2-40B4-BE49-F238E27FC236}">
                    <a16:creationId xmlns:a16="http://schemas.microsoft.com/office/drawing/2014/main" id="{15679958-F11D-4EBF-B132-E68802D95D31}"/>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3A699CD-C727-47D3-875C-A63BD470971B}"/>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0,00</a:t>
                </a:r>
              </a:p>
            </p:txBody>
          </p:sp>
        </p:grpSp>
        <p:grpSp>
          <p:nvGrpSpPr>
            <p:cNvPr id="73" name="Gruppieren 72">
              <a:extLst>
                <a:ext uri="{FF2B5EF4-FFF2-40B4-BE49-F238E27FC236}">
                  <a16:creationId xmlns:a16="http://schemas.microsoft.com/office/drawing/2014/main" id="{5DA602B9-E93E-4B2C-A368-2968A507AF2F}"/>
                </a:ext>
              </a:extLst>
            </p:cNvPr>
            <p:cNvGrpSpPr/>
            <p:nvPr/>
          </p:nvGrpSpPr>
          <p:grpSpPr>
            <a:xfrm>
              <a:off x="-502267" y="835851"/>
              <a:ext cx="411956" cy="216662"/>
              <a:chOff x="-615197" y="4295013"/>
              <a:chExt cx="411956" cy="216662"/>
            </a:xfrm>
          </p:grpSpPr>
          <p:cxnSp>
            <p:nvCxnSpPr>
              <p:cNvPr id="74" name="Gerader Verbinder 73">
                <a:extLst>
                  <a:ext uri="{FF2B5EF4-FFF2-40B4-BE49-F238E27FC236}">
                    <a16:creationId xmlns:a16="http://schemas.microsoft.com/office/drawing/2014/main" id="{F40922C8-F57F-415F-A03D-BBAF9D618984}"/>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Textfeld 74">
                <a:extLst>
                  <a:ext uri="{FF2B5EF4-FFF2-40B4-BE49-F238E27FC236}">
                    <a16:creationId xmlns:a16="http://schemas.microsoft.com/office/drawing/2014/main" id="{ECE34CB4-92D2-4644-B148-8E267D7B4CD5}"/>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6,60</a:t>
                </a:r>
              </a:p>
            </p:txBody>
          </p:sp>
        </p:grpSp>
        <p:grpSp>
          <p:nvGrpSpPr>
            <p:cNvPr id="76" name="Gruppieren 75">
              <a:extLst>
                <a:ext uri="{FF2B5EF4-FFF2-40B4-BE49-F238E27FC236}">
                  <a16:creationId xmlns:a16="http://schemas.microsoft.com/office/drawing/2014/main" id="{8CE2FF66-3339-4802-9FD3-2E070A63550A}"/>
                </a:ext>
              </a:extLst>
            </p:cNvPr>
            <p:cNvGrpSpPr/>
            <p:nvPr/>
          </p:nvGrpSpPr>
          <p:grpSpPr>
            <a:xfrm>
              <a:off x="-502267" y="1412113"/>
              <a:ext cx="411956" cy="216662"/>
              <a:chOff x="-615197" y="4295013"/>
              <a:chExt cx="411956" cy="216662"/>
            </a:xfrm>
          </p:grpSpPr>
          <p:cxnSp>
            <p:nvCxnSpPr>
              <p:cNvPr id="77" name="Gerader Verbinder 76">
                <a:extLst>
                  <a:ext uri="{FF2B5EF4-FFF2-40B4-BE49-F238E27FC236}">
                    <a16:creationId xmlns:a16="http://schemas.microsoft.com/office/drawing/2014/main" id="{1E35B613-A28D-45F8-BEEB-2D04A8076303}"/>
                  </a:ext>
                </a:extLst>
              </p:cNvPr>
              <p:cNvCxnSpPr>
                <a:cxnSpLocks/>
              </p:cNvCxnSpPr>
              <p:nvPr/>
            </p:nvCxnSpPr>
            <p:spPr>
              <a:xfrm>
                <a:off x="-615197" y="4511675"/>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D8B60E64-0906-4601-91AB-C915F408DAD6}"/>
                  </a:ext>
                </a:extLst>
              </p:cNvPr>
              <p:cNvSpPr txBox="1"/>
              <p:nvPr/>
            </p:nvSpPr>
            <p:spPr>
              <a:xfrm>
                <a:off x="-615197" y="4295013"/>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5,00</a:t>
                </a:r>
              </a:p>
            </p:txBody>
          </p:sp>
        </p:grpSp>
        <p:grpSp>
          <p:nvGrpSpPr>
            <p:cNvPr id="79" name="Gruppieren 78">
              <a:extLst>
                <a:ext uri="{FF2B5EF4-FFF2-40B4-BE49-F238E27FC236}">
                  <a16:creationId xmlns:a16="http://schemas.microsoft.com/office/drawing/2014/main" id="{9D613ABC-2FE3-441A-A574-01A6E064D1E3}"/>
                </a:ext>
              </a:extLst>
            </p:cNvPr>
            <p:cNvGrpSpPr/>
            <p:nvPr/>
          </p:nvGrpSpPr>
          <p:grpSpPr>
            <a:xfrm>
              <a:off x="-502267" y="80201"/>
              <a:ext cx="411956" cy="216662"/>
              <a:chOff x="-615197" y="4258501"/>
              <a:chExt cx="411956" cy="216662"/>
            </a:xfrm>
          </p:grpSpPr>
          <p:cxnSp>
            <p:nvCxnSpPr>
              <p:cNvPr id="80" name="Gerader Verbinder 79">
                <a:extLst>
                  <a:ext uri="{FF2B5EF4-FFF2-40B4-BE49-F238E27FC236}">
                    <a16:creationId xmlns:a16="http://schemas.microsoft.com/office/drawing/2014/main" id="{83CEB50C-046E-498F-A8AA-AC59FC296BA5}"/>
                  </a:ext>
                </a:extLst>
              </p:cNvPr>
              <p:cNvCxnSpPr>
                <a:cxnSpLocks/>
              </p:cNvCxnSpPr>
              <p:nvPr/>
            </p:nvCxnSpPr>
            <p:spPr>
              <a:xfrm>
                <a:off x="-615197" y="4475163"/>
                <a:ext cx="4119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a16="http://schemas.microsoft.com/office/drawing/2014/main" id="{139A9333-EFCD-45EF-92FE-AA1702343713}"/>
                  </a:ext>
                </a:extLst>
              </p:cNvPr>
              <p:cNvSpPr txBox="1"/>
              <p:nvPr/>
            </p:nvSpPr>
            <p:spPr>
              <a:xfrm>
                <a:off x="-615197" y="4258501"/>
                <a:ext cx="411956" cy="216662"/>
              </a:xfrm>
              <a:prstGeom prst="rect">
                <a:avLst/>
              </a:prstGeom>
              <a:noFill/>
            </p:spPr>
            <p:txBody>
              <a:bodyPr wrap="square" lIns="0" tIns="0" rIns="0" bIns="0" rtlCol="0">
                <a:spAutoFit/>
              </a:bodyPr>
              <a:lstStyle/>
              <a:p>
                <a:pPr marL="0" marR="0" indent="0" algn="ctr" defTabSz="914400" rtl="0" eaLnBrk="1" fontAlgn="auto" latinLnBrk="0" hangingPunct="1">
                  <a:lnSpc>
                    <a:spcPts val="1800"/>
                  </a:lnSpc>
                  <a:spcBef>
                    <a:spcPts val="0"/>
                  </a:spcBef>
                  <a:spcAft>
                    <a:spcPts val="600"/>
                  </a:spcAft>
                  <a:buClrTx/>
                  <a:buSzTx/>
                  <a:buFont typeface="Arial" panose="020B0604020202020204" pitchFamily="34" charset="0"/>
                  <a:buNone/>
                  <a:tabLst/>
                </a:pPr>
                <a:r>
                  <a:rPr kumimoji="0" lang="de-DE" sz="1000" b="0" i="0" u="none" strike="noStrike" kern="1200" cap="none" spc="0" normalizeH="0" baseline="0" noProof="0">
                    <a:ln>
                      <a:noFill/>
                    </a:ln>
                    <a:solidFill>
                      <a:prstClr val="black"/>
                    </a:solidFill>
                    <a:effectLst/>
                    <a:uLnTx/>
                    <a:uFillTx/>
                    <a:latin typeface="ZEISS Frutiger Next W1G Lt" panose="020B0302030202020203" pitchFamily="34" charset="0"/>
                    <a:ea typeface="+mn-ea"/>
                    <a:cs typeface="ZEISS Frutiger Next W1G Lt" panose="020B0302030202020203" pitchFamily="34" charset="0"/>
                  </a:rPr>
                  <a:t>08,70</a:t>
                </a:r>
              </a:p>
            </p:txBody>
          </p:sp>
        </p:grpSp>
      </p:grpSp>
      <p:cxnSp>
        <p:nvCxnSpPr>
          <p:cNvPr id="55" name="Gerade Verbindung 68">
            <a:extLst>
              <a:ext uri="{FF2B5EF4-FFF2-40B4-BE49-F238E27FC236}">
                <a16:creationId xmlns:a16="http://schemas.microsoft.com/office/drawing/2014/main" id="{FE38C3DB-4A17-4F65-BB51-220FF4168A2B}"/>
              </a:ext>
            </a:extLst>
          </p:cNvPr>
          <p:cNvCxnSpPr>
            <a:cxnSpLocks/>
          </p:cNvCxnSpPr>
          <p:nvPr userDrawn="1"/>
        </p:nvCxnSpPr>
        <p:spPr>
          <a:xfrm>
            <a:off x="0" y="6517553"/>
            <a:ext cx="12192000"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9" name="Grafik 8">
            <a:extLst>
              <a:ext uri="{FF2B5EF4-FFF2-40B4-BE49-F238E27FC236}">
                <a16:creationId xmlns:a16="http://schemas.microsoft.com/office/drawing/2014/main" id="{26474EC8-5C7D-4170-27AC-CE76A6950110}"/>
              </a:ext>
            </a:extLst>
          </p:cNvPr>
          <p:cNvPicPr>
            <a:picLocks noChangeAspect="1"/>
          </p:cNvPicPr>
          <p:nvPr userDrawn="1"/>
        </p:nvPicPr>
        <p:blipFill>
          <a:blip r:embed="rId25">
            <a:extLst>
              <a:ext uri="{28A0092B-C50C-407E-A947-70E740481C1C}">
                <a14:useLocalDpi xmlns:a14="http://schemas.microsoft.com/office/drawing/2010/main" val="0"/>
              </a:ext>
            </a:extLst>
          </a:blip>
          <a:srcRect l="11980" t="27160" r="12453" b="26378"/>
          <a:stretch/>
        </p:blipFill>
        <p:spPr>
          <a:xfrm>
            <a:off x="9262569" y="261978"/>
            <a:ext cx="2681864" cy="661126"/>
          </a:xfrm>
          <a:prstGeom prst="rect">
            <a:avLst/>
          </a:prstGeom>
        </p:spPr>
      </p:pic>
    </p:spTree>
    <p:extLst>
      <p:ext uri="{BB962C8B-B14F-4D97-AF65-F5344CB8AC3E}">
        <p14:creationId xmlns:p14="http://schemas.microsoft.com/office/powerpoint/2010/main" val="284616729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703" r:id="rId4"/>
    <p:sldLayoutId id="2147483706" r:id="rId5"/>
    <p:sldLayoutId id="2147483702" r:id="rId6"/>
    <p:sldLayoutId id="2147483685"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7" r:id="rId23"/>
  </p:sldLayoutIdLst>
  <p:hf hdr="0"/>
  <p:txStyles>
    <p:titleStyle>
      <a:lvl1pPr algn="l" defTabSz="914400" rtl="0" eaLnBrk="1" latinLnBrk="0" hangingPunct="1">
        <a:lnSpc>
          <a:spcPct val="100000"/>
        </a:lnSpc>
        <a:spcBef>
          <a:spcPct val="0"/>
        </a:spcBef>
        <a:buNone/>
        <a:defRPr sz="2400" b="1" kern="1200">
          <a:solidFill>
            <a:schemeClr val="tx1"/>
          </a:solidFill>
          <a:latin typeface="ZEISS Frutiger Next W1G"/>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userDrawn="1">
          <p15:clr>
            <a:srgbClr val="A4A3A4"/>
          </p15:clr>
        </p15:guide>
        <p15:guide id="14" pos="3840" userDrawn="1">
          <p15:clr>
            <a:srgbClr val="A4A3A4"/>
          </p15:clr>
        </p15:guide>
        <p15:guide id="15" pos="325" userDrawn="1">
          <p15:clr>
            <a:srgbClr val="A4A3A4"/>
          </p15:clr>
        </p15:guide>
        <p15:guide id="16" pos="7355" userDrawn="1">
          <p15:clr>
            <a:srgbClr val="A4A3A4"/>
          </p15:clr>
        </p15:guide>
        <p15:guide id="17" pos="3931" userDrawn="1">
          <p15:clr>
            <a:srgbClr val="A4A3A4"/>
          </p15:clr>
        </p15:guide>
        <p15:guide id="18" pos="3749" userDrawn="1">
          <p15:clr>
            <a:srgbClr val="A4A3A4"/>
          </p15:clr>
        </p15:guide>
        <p15:guide id="19" orient="horz" pos="187" userDrawn="1">
          <p15:clr>
            <a:srgbClr val="A4A3A4"/>
          </p15:clr>
        </p15:guide>
        <p15:guide id="20" orient="horz" pos="663" userDrawn="1">
          <p15:clr>
            <a:srgbClr val="A4A3A4"/>
          </p15:clr>
        </p15:guide>
        <p15:guide id="21" orient="horz" pos="1026" userDrawn="1">
          <p15:clr>
            <a:srgbClr val="A4A3A4"/>
          </p15:clr>
        </p15:guide>
        <p15:guide id="23" orient="horz" pos="4182" userDrawn="1">
          <p15:clr>
            <a:srgbClr val="A4A3A4"/>
          </p15:clr>
        </p15:guide>
        <p15:guide id="24" orient="horz" pos="383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05371EF-857A-4846-8F90-CC9DD08CCC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BAA5DDC2-D685-456A-A75C-32CAAD3C02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B42F241-652F-4096-89E6-B91CFAFA4B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854B89-BCE5-47A7-9308-67D3AB072B0F}" type="datetime4">
              <a:rPr lang="de-DE" smtClean="0"/>
              <a:t>17. Februar 2025</a:t>
            </a:fld>
            <a:endParaRPr lang="de-DE"/>
          </a:p>
        </p:txBody>
      </p:sp>
      <p:sp>
        <p:nvSpPr>
          <p:cNvPr id="5" name="Fußzeilenplatzhalter 4">
            <a:extLst>
              <a:ext uri="{FF2B5EF4-FFF2-40B4-BE49-F238E27FC236}">
                <a16:creationId xmlns:a16="http://schemas.microsoft.com/office/drawing/2014/main" id="{F89863C5-5DA2-4975-88BD-874040C9F1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8EA62F3-5D21-4685-A24A-15DDB9E6B3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851B7C-8F40-4CA7-88A3-3ED2BD8838B0}" type="slidenum">
              <a:rPr lang="de-DE" smtClean="0"/>
              <a:t>‹Nr.›</a:t>
            </a:fld>
            <a:endParaRPr lang="de-DE"/>
          </a:p>
        </p:txBody>
      </p:sp>
    </p:spTree>
    <p:extLst>
      <p:ext uri="{BB962C8B-B14F-4D97-AF65-F5344CB8AC3E}">
        <p14:creationId xmlns:p14="http://schemas.microsoft.com/office/powerpoint/2010/main" val="5350548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 Target="slide1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2.xml"/><Relationship Id="rId10" Type="http://schemas.openxmlformats.org/officeDocument/2006/relationships/tags" Target="../tags/tag11.xml"/><Relationship Id="rId19" Type="http://schemas.openxmlformats.org/officeDocument/2006/relationships/slideLayout" Target="../slideLayouts/slideLayout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9.xml"/></Relationships>
</file>

<file path=ppt/slides/_rels/slide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png"/><Relationship Id="rId1" Type="http://schemas.openxmlformats.org/officeDocument/2006/relationships/slideLayout" Target="../slideLayouts/slideLayout8.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0837F090-DEF9-FC2C-0D6C-29947B657BEC}"/>
              </a:ext>
            </a:extLst>
          </p:cNvPr>
          <p:cNvSpPr>
            <a:spLocks noGrp="1"/>
          </p:cNvSpPr>
          <p:nvPr>
            <p:ph type="dt" sz="half" idx="16"/>
          </p:nvPr>
        </p:nvSpPr>
        <p:spPr/>
        <p:txBody>
          <a:bodyPr/>
          <a:lstStyle/>
          <a:p>
            <a:pPr>
              <a:spcAft>
                <a:spcPts val="800"/>
              </a:spcAft>
              <a:buFont typeface="Arial" panose="020B0604020202020204" pitchFamily="34" charset="0"/>
              <a:buNone/>
            </a:pPr>
            <a:r>
              <a:rPr lang="en-US"/>
              <a:t>Tuesday, October 8, 2024</a:t>
            </a:r>
            <a:endParaRPr lang="de-DE"/>
          </a:p>
        </p:txBody>
      </p:sp>
      <p:sp>
        <p:nvSpPr>
          <p:cNvPr id="7" name="Titel 1">
            <a:extLst>
              <a:ext uri="{FF2B5EF4-FFF2-40B4-BE49-F238E27FC236}">
                <a16:creationId xmlns:a16="http://schemas.microsoft.com/office/drawing/2014/main" id="{49CB9965-CC55-9B67-0DC6-3DBDE790AB5E}"/>
              </a:ext>
            </a:extLst>
          </p:cNvPr>
          <p:cNvSpPr>
            <a:spLocks noGrp="1"/>
          </p:cNvSpPr>
          <p:nvPr>
            <p:ph type="title"/>
          </p:nvPr>
        </p:nvSpPr>
        <p:spPr>
          <a:xfrm>
            <a:off x="518319" y="2475900"/>
            <a:ext cx="11157744" cy="923330"/>
          </a:xfrm>
        </p:spPr>
        <p:txBody>
          <a:bodyPr/>
          <a:lstStyle/>
          <a:p>
            <a:pPr algn="ctr"/>
            <a:r>
              <a:rPr lang="de-DE" sz="6000"/>
              <a:t>GMALL: Stewart </a:t>
            </a:r>
            <a:r>
              <a:rPr lang="de-DE" sz="6000" err="1"/>
              <a:t>Platform</a:t>
            </a:r>
            <a:endParaRPr lang="de-DE" sz="6000"/>
          </a:p>
        </p:txBody>
      </p:sp>
      <p:sp>
        <p:nvSpPr>
          <p:cNvPr id="8" name="Textplatzhalter 2">
            <a:extLst>
              <a:ext uri="{FF2B5EF4-FFF2-40B4-BE49-F238E27FC236}">
                <a16:creationId xmlns:a16="http://schemas.microsoft.com/office/drawing/2014/main" id="{3E447D12-B3BC-2D6C-1864-FA030F4343F2}"/>
              </a:ext>
            </a:extLst>
          </p:cNvPr>
          <p:cNvSpPr>
            <a:spLocks noGrp="1"/>
          </p:cNvSpPr>
          <p:nvPr>
            <p:ph type="body" sz="quarter" idx="20"/>
          </p:nvPr>
        </p:nvSpPr>
        <p:spPr>
          <a:xfrm>
            <a:off x="544554" y="4467426"/>
            <a:ext cx="11157744" cy="738664"/>
          </a:xfrm>
        </p:spPr>
        <p:txBody>
          <a:bodyPr/>
          <a:lstStyle/>
          <a:p>
            <a:r>
              <a:rPr lang="de-DE" sz="2500">
                <a:cs typeface="Arial"/>
              </a:rPr>
              <a:t>MTE 380: Design Review 1</a:t>
            </a:r>
          </a:p>
        </p:txBody>
      </p:sp>
      <p:sp>
        <p:nvSpPr>
          <p:cNvPr id="9" name="Textplatzhalter 3">
            <a:extLst>
              <a:ext uri="{FF2B5EF4-FFF2-40B4-BE49-F238E27FC236}">
                <a16:creationId xmlns:a16="http://schemas.microsoft.com/office/drawing/2014/main" id="{D50D9609-BBD9-4FEE-3B92-0A63B6380EDC}"/>
              </a:ext>
            </a:extLst>
          </p:cNvPr>
          <p:cNvSpPr>
            <a:spLocks noGrp="1"/>
          </p:cNvSpPr>
          <p:nvPr>
            <p:ph type="body" sz="quarter" idx="13"/>
          </p:nvPr>
        </p:nvSpPr>
        <p:spPr>
          <a:xfrm>
            <a:off x="518317" y="4963183"/>
            <a:ext cx="4319999" cy="184666"/>
          </a:xfrm>
        </p:spPr>
        <p:txBody>
          <a:bodyPr/>
          <a:lstStyle/>
          <a:p>
            <a:r>
              <a:rPr lang="de-DE" dirty="0">
                <a:cs typeface="Arial"/>
              </a:rPr>
              <a:t>Gavin Grimm, Marvin Bullinger</a:t>
            </a:r>
          </a:p>
        </p:txBody>
      </p:sp>
      <p:sp>
        <p:nvSpPr>
          <p:cNvPr id="10" name="Textplatzhalter 4">
            <a:extLst>
              <a:ext uri="{FF2B5EF4-FFF2-40B4-BE49-F238E27FC236}">
                <a16:creationId xmlns:a16="http://schemas.microsoft.com/office/drawing/2014/main" id="{1C39EF68-D449-C837-ADC6-A5946FC6FA8D}"/>
              </a:ext>
            </a:extLst>
          </p:cNvPr>
          <p:cNvSpPr txBox="1">
            <a:spLocks/>
          </p:cNvSpPr>
          <p:nvPr/>
        </p:nvSpPr>
        <p:spPr>
          <a:xfrm>
            <a:off x="518317" y="5383406"/>
            <a:ext cx="4319999" cy="184666"/>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0"/>
              </a:spcBef>
              <a:spcAft>
                <a:spcPts val="800"/>
              </a:spcAft>
              <a:buFont typeface="Arial" panose="020B0604020202020204" pitchFamily="34" charset="0"/>
              <a:buNone/>
              <a:defRPr sz="1200" b="0" kern="1200">
                <a:solidFill>
                  <a:schemeClr val="tx1"/>
                </a:solidFill>
                <a:latin typeface="ZEISS Frutiger Next W1G"/>
                <a:ea typeface="+mn-ea"/>
                <a:cs typeface="Arial" panose="020B0604020202020204" pitchFamily="34" charset="0"/>
              </a:defRPr>
            </a:lvl1pPr>
            <a:lvl2pPr marL="180000" indent="-180000" algn="l" defTabSz="914400" rtl="0" eaLnBrk="1" latinLnBrk="0" hangingPunct="1">
              <a:lnSpc>
                <a:spcPct val="100000"/>
              </a:lnSpc>
              <a:spcBef>
                <a:spcPts val="0"/>
              </a:spcBef>
              <a:spcAft>
                <a:spcPts val="800"/>
              </a:spcAft>
              <a:buFont typeface="Wingdings" panose="05000000000000000000" pitchFamily="2" charset="2"/>
              <a:buChar char="§"/>
              <a:defRPr sz="1600" kern="1200">
                <a:solidFill>
                  <a:schemeClr val="tx1"/>
                </a:solidFill>
                <a:latin typeface="ZEISS Frutiger Next W1G"/>
                <a:ea typeface="+mn-ea"/>
                <a:cs typeface="Arial" panose="020B0604020202020204" pitchFamily="34" charset="0"/>
              </a:defRPr>
            </a:lvl2pPr>
            <a:lvl3pPr marL="360000" indent="-180000" algn="l" defTabSz="914400" rtl="0" eaLnBrk="1" latinLnBrk="0" hangingPunct="1">
              <a:lnSpc>
                <a:spcPct val="100000"/>
              </a:lnSpc>
              <a:spcBef>
                <a:spcPts val="0"/>
              </a:spcBef>
              <a:spcAft>
                <a:spcPts val="800"/>
              </a:spcAft>
              <a:buFont typeface="Symbol" panose="05050102010706020507" pitchFamily="18" charset="2"/>
              <a:buChar char="-"/>
              <a:defRPr sz="1400" kern="1200">
                <a:solidFill>
                  <a:schemeClr val="tx1"/>
                </a:solidFill>
                <a:latin typeface="ZEISS Frutiger Next W1G"/>
                <a:ea typeface="+mn-ea"/>
                <a:cs typeface="Arial" panose="020B0604020202020204" pitchFamily="34" charset="0"/>
              </a:defRPr>
            </a:lvl3pPr>
            <a:lvl4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4pPr>
            <a:lvl5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5pPr>
            <a:lvl6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6pPr>
            <a:lvl7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7pPr>
            <a:lvl8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8pPr>
            <a:lvl9pPr marL="540000" indent="-180000" algn="l" defTabSz="914400" rtl="0" eaLnBrk="1" latinLnBrk="0" hangingPunct="1">
              <a:lnSpc>
                <a:spcPct val="100000"/>
              </a:lnSpc>
              <a:spcBef>
                <a:spcPts val="0"/>
              </a:spcBef>
              <a:spcAft>
                <a:spcPts val="800"/>
              </a:spcAft>
              <a:buFont typeface="Symbol" panose="05050102010706020507" pitchFamily="18" charset="2"/>
              <a:buChar char="-"/>
              <a:defRPr sz="1200" kern="1200">
                <a:solidFill>
                  <a:schemeClr val="tx1"/>
                </a:solidFill>
                <a:latin typeface="ZEISS Frutiger Next W1G"/>
                <a:ea typeface="+mn-ea"/>
                <a:cs typeface="Arial" panose="020B0604020202020204" pitchFamily="34" charset="0"/>
              </a:defRPr>
            </a:lvl9pPr>
          </a:lstStyle>
          <a:p>
            <a:r>
              <a:rPr lang="en-CA">
                <a:cs typeface="Arial"/>
              </a:rPr>
              <a:t>Learn</a:t>
            </a:r>
            <a:r>
              <a:rPr lang="de-DE">
                <a:cs typeface="Arial"/>
              </a:rPr>
              <a:t> Group 2</a:t>
            </a:r>
          </a:p>
        </p:txBody>
      </p:sp>
    </p:spTree>
    <p:extLst>
      <p:ext uri="{BB962C8B-B14F-4D97-AF65-F5344CB8AC3E}">
        <p14:creationId xmlns:p14="http://schemas.microsoft.com/office/powerpoint/2010/main" val="2459506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err="1">
                <a:cs typeface="Arial"/>
              </a:rPr>
              <a:t>Preliminary</a:t>
            </a:r>
            <a:r>
              <a:rPr lang="de-DE">
                <a:cs typeface="Arial"/>
              </a:rPr>
              <a:t> </a:t>
            </a:r>
            <a:r>
              <a:rPr lang="de-DE" err="1">
                <a:cs typeface="Arial"/>
              </a:rPr>
              <a:t>Conceptional</a:t>
            </a:r>
            <a:r>
              <a:rPr lang="de-DE">
                <a:cs typeface="Arial"/>
              </a:rPr>
              <a:t> Design</a:t>
            </a:r>
            <a:endParaRPr lang="de-DE"/>
          </a:p>
        </p:txBody>
      </p:sp>
      <p:sp>
        <p:nvSpPr>
          <p:cNvPr id="43" name="Textplatzhalter 42">
            <a:extLst>
              <a:ext uri="{FF2B5EF4-FFF2-40B4-BE49-F238E27FC236}">
                <a16:creationId xmlns:a16="http://schemas.microsoft.com/office/drawing/2014/main" id="{3896FE4D-A7AE-099B-363F-0C85F0A9502A}"/>
              </a:ext>
            </a:extLst>
          </p:cNvPr>
          <p:cNvSpPr>
            <a:spLocks noGrp="1"/>
          </p:cNvSpPr>
          <p:nvPr>
            <p:ph type="body" sz="quarter" idx="59"/>
          </p:nvPr>
        </p:nvSpPr>
        <p:spPr/>
        <p:txBody>
          <a:bodyPr/>
          <a:lstStyle/>
          <a:p>
            <a:r>
              <a:rPr lang="de-DE" err="1">
                <a:cs typeface="Arial"/>
              </a:rPr>
              <a:t>Balancing</a:t>
            </a:r>
            <a:r>
              <a:rPr lang="de-DE">
                <a:cs typeface="Arial"/>
              </a:rPr>
              <a:t> Table – Design 1 </a:t>
            </a:r>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10</a:t>
            </a:fld>
            <a:endParaRPr lang="de-DE"/>
          </a:p>
        </p:txBody>
      </p:sp>
      <p:pic>
        <p:nvPicPr>
          <p:cNvPr id="3" name="Grafik 2">
            <a:extLst>
              <a:ext uri="{FF2B5EF4-FFF2-40B4-BE49-F238E27FC236}">
                <a16:creationId xmlns:a16="http://schemas.microsoft.com/office/drawing/2014/main" id="{A79DCCAE-E033-CA0F-B076-EC29CB2C452F}"/>
              </a:ext>
            </a:extLst>
          </p:cNvPr>
          <p:cNvPicPr>
            <a:picLocks noChangeAspect="1"/>
          </p:cNvPicPr>
          <p:nvPr/>
        </p:nvPicPr>
        <p:blipFill>
          <a:blip r:embed="rId2"/>
          <a:stretch>
            <a:fillRect/>
          </a:stretch>
        </p:blipFill>
        <p:spPr>
          <a:xfrm>
            <a:off x="3013434" y="1375970"/>
            <a:ext cx="5787666" cy="4859978"/>
          </a:xfrm>
          <a:prstGeom prst="rect">
            <a:avLst/>
          </a:prstGeom>
        </p:spPr>
      </p:pic>
    </p:spTree>
    <p:extLst>
      <p:ext uri="{BB962C8B-B14F-4D97-AF65-F5344CB8AC3E}">
        <p14:creationId xmlns:p14="http://schemas.microsoft.com/office/powerpoint/2010/main" val="21358413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err="1">
                <a:cs typeface="Arial"/>
              </a:rPr>
              <a:t>Preliminary</a:t>
            </a:r>
            <a:r>
              <a:rPr lang="de-DE">
                <a:cs typeface="Arial"/>
              </a:rPr>
              <a:t> </a:t>
            </a:r>
            <a:r>
              <a:rPr lang="de-DE" err="1">
                <a:cs typeface="Arial"/>
              </a:rPr>
              <a:t>Conceptional</a:t>
            </a:r>
            <a:r>
              <a:rPr lang="de-DE">
                <a:cs typeface="Arial"/>
              </a:rPr>
              <a:t> Design</a:t>
            </a:r>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11</a:t>
            </a:fld>
            <a:endParaRPr lang="de-DE"/>
          </a:p>
        </p:txBody>
      </p:sp>
      <p:sp>
        <p:nvSpPr>
          <p:cNvPr id="3" name="Textplatzhalter 2">
            <a:extLst>
              <a:ext uri="{FF2B5EF4-FFF2-40B4-BE49-F238E27FC236}">
                <a16:creationId xmlns:a16="http://schemas.microsoft.com/office/drawing/2014/main" id="{60003483-1355-F414-C249-CC5C3C705A89}"/>
              </a:ext>
            </a:extLst>
          </p:cNvPr>
          <p:cNvSpPr>
            <a:spLocks noGrp="1"/>
          </p:cNvSpPr>
          <p:nvPr>
            <p:ph type="body" sz="quarter" idx="59"/>
          </p:nvPr>
        </p:nvSpPr>
        <p:spPr/>
        <p:txBody>
          <a:bodyPr/>
          <a:lstStyle/>
          <a:p>
            <a:r>
              <a:rPr lang="de-DE">
                <a:cs typeface="Arial"/>
              </a:rPr>
              <a:t>Magnet Joint – Design 1</a:t>
            </a:r>
            <a:endParaRPr lang="de-DE"/>
          </a:p>
        </p:txBody>
      </p:sp>
      <p:pic>
        <p:nvPicPr>
          <p:cNvPr id="4" name="Grafik 3">
            <a:extLst>
              <a:ext uri="{FF2B5EF4-FFF2-40B4-BE49-F238E27FC236}">
                <a16:creationId xmlns:a16="http://schemas.microsoft.com/office/drawing/2014/main" id="{6BEBBF3D-3171-6671-5C7D-06E25D095255}"/>
              </a:ext>
            </a:extLst>
          </p:cNvPr>
          <p:cNvPicPr>
            <a:picLocks noChangeAspect="1"/>
          </p:cNvPicPr>
          <p:nvPr/>
        </p:nvPicPr>
        <p:blipFill>
          <a:blip r:embed="rId3"/>
          <a:stretch>
            <a:fillRect/>
          </a:stretch>
        </p:blipFill>
        <p:spPr>
          <a:xfrm>
            <a:off x="3699175" y="1540943"/>
            <a:ext cx="4635914" cy="4292983"/>
          </a:xfrm>
          <a:prstGeom prst="rect">
            <a:avLst/>
          </a:prstGeom>
        </p:spPr>
      </p:pic>
    </p:spTree>
    <p:extLst>
      <p:ext uri="{BB962C8B-B14F-4D97-AF65-F5344CB8AC3E}">
        <p14:creationId xmlns:p14="http://schemas.microsoft.com/office/powerpoint/2010/main" val="223390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a:cs typeface="Arial"/>
              </a:rPr>
              <a:t>Project Timeline</a:t>
            </a:r>
            <a:endParaRPr lang="de-DE"/>
          </a:p>
        </p:txBody>
      </p:sp>
      <p:sp>
        <p:nvSpPr>
          <p:cNvPr id="43" name="Textplatzhalter 42">
            <a:extLst>
              <a:ext uri="{FF2B5EF4-FFF2-40B4-BE49-F238E27FC236}">
                <a16:creationId xmlns:a16="http://schemas.microsoft.com/office/drawing/2014/main" id="{3896FE4D-A7AE-099B-363F-0C85F0A9502A}"/>
              </a:ext>
            </a:extLst>
          </p:cNvPr>
          <p:cNvSpPr>
            <a:spLocks noGrp="1"/>
          </p:cNvSpPr>
          <p:nvPr>
            <p:ph type="body" sz="quarter" idx="59"/>
          </p:nvPr>
        </p:nvSpPr>
        <p:spPr/>
        <p:txBody>
          <a:bodyPr/>
          <a:lstStyle/>
          <a:p>
            <a:r>
              <a:rPr lang="de-DE"/>
              <a:t>Gantt Chart</a:t>
            </a:r>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12</a:t>
            </a:fld>
            <a:endParaRPr lang="de-DE"/>
          </a:p>
        </p:txBody>
      </p:sp>
      <p:graphicFrame>
        <p:nvGraphicFramePr>
          <p:cNvPr id="2" name="Chart 1" title="Chart">
            <a:extLst>
              <a:ext uri="{FF2B5EF4-FFF2-40B4-BE49-F238E27FC236}">
                <a16:creationId xmlns:a16="http://schemas.microsoft.com/office/drawing/2014/main" id="{4EC62D01-BD6B-A5F5-AA3A-6F45D68E1E8C}"/>
              </a:ext>
            </a:extLst>
          </p:cNvPr>
          <p:cNvGraphicFramePr>
            <a:graphicFrameLocks noGrp="1"/>
          </p:cNvGraphicFramePr>
          <p:nvPr>
            <p:extLst>
              <p:ext uri="{D42A27DB-BD31-4B8C-83A1-F6EECF244321}">
                <p14:modId xmlns:p14="http://schemas.microsoft.com/office/powerpoint/2010/main" val="2246452417"/>
              </p:ext>
            </p:extLst>
          </p:nvPr>
        </p:nvGraphicFramePr>
        <p:xfrm>
          <a:off x="344129" y="1167701"/>
          <a:ext cx="11503742" cy="52559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9382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EF52726-F3B7-4740-BE30-7A723194FF6B}"/>
              </a:ext>
            </a:extLst>
          </p:cNvPr>
          <p:cNvSpPr>
            <a:spLocks noGrp="1"/>
          </p:cNvSpPr>
          <p:nvPr>
            <p:ph type="sldNum" sz="quarter" idx="4294967295"/>
          </p:nvPr>
        </p:nvSpPr>
        <p:spPr>
          <a:xfrm>
            <a:off x="9448800" y="6356350"/>
            <a:ext cx="2743200" cy="365125"/>
          </a:xfrm>
        </p:spPr>
        <p:txBody>
          <a:bodyPr/>
          <a:lstStyle/>
          <a:p>
            <a:fld id="{03A904B3-5160-4A42-BE05-3A7A1F9AD063}" type="slidenum">
              <a:rPr lang="de-DE" smtClean="0"/>
              <a:t>13</a:t>
            </a:fld>
            <a:endParaRPr lang="de-DE"/>
          </a:p>
        </p:txBody>
      </p:sp>
    </p:spTree>
    <p:extLst>
      <p:ext uri="{BB962C8B-B14F-4D97-AF65-F5344CB8AC3E}">
        <p14:creationId xmlns:p14="http://schemas.microsoft.com/office/powerpoint/2010/main" val="3596866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2" name="Gerader Verbinder 811">
            <a:extLst>
              <a:ext uri="{FF2B5EF4-FFF2-40B4-BE49-F238E27FC236}">
                <a16:creationId xmlns:a16="http://schemas.microsoft.com/office/drawing/2014/main" id="{5B349650-2AE2-F4E8-F5A4-F1E5E7E25BCE}"/>
              </a:ext>
            </a:extLst>
          </p:cNvPr>
          <p:cNvCxnSpPr/>
          <p:nvPr>
            <p:custDataLst>
              <p:tags r:id="rId2"/>
            </p:custDataLst>
          </p:nvPr>
        </p:nvCxnSpPr>
        <p:spPr>
          <a:xfrm>
            <a:off x="518319" y="4514953"/>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11" name="Gerader Verbinder 810">
            <a:extLst>
              <a:ext uri="{FF2B5EF4-FFF2-40B4-BE49-F238E27FC236}">
                <a16:creationId xmlns:a16="http://schemas.microsoft.com/office/drawing/2014/main" id="{A1EE4017-5796-DF79-4A42-FEBA504B631E}"/>
              </a:ext>
            </a:extLst>
          </p:cNvPr>
          <p:cNvCxnSpPr/>
          <p:nvPr>
            <p:custDataLst>
              <p:tags r:id="rId3"/>
            </p:custDataLst>
          </p:nvPr>
        </p:nvCxnSpPr>
        <p:spPr>
          <a:xfrm>
            <a:off x="518319" y="5240401"/>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10" name="Rechteck 809">
            <a:hlinkClick r:id="" action="ppaction://noaction"/>
            <a:extLst>
              <a:ext uri="{FF2B5EF4-FFF2-40B4-BE49-F238E27FC236}">
                <a16:creationId xmlns:a16="http://schemas.microsoft.com/office/drawing/2014/main" id="{2CBA4727-7EFA-E68D-392F-D8E68EE9DE2E}"/>
              </a:ext>
            </a:extLst>
          </p:cNvPr>
          <p:cNvSpPr/>
          <p:nvPr>
            <p:custDataLst>
              <p:tags r:id="rId4"/>
            </p:custDataLst>
          </p:nvPr>
        </p:nvSpPr>
        <p:spPr>
          <a:xfrm>
            <a:off x="1287032" y="4600678"/>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Project Timeline</a:t>
            </a:r>
            <a:endParaRPr kumimoji="0" lang="de-DE" b="0" i="0" u="none" strike="noStrike" kern="1200" cap="none" spc="0" normalizeH="0" baseline="0" noProof="0">
              <a:ln>
                <a:noFill/>
              </a:ln>
              <a:solidFill>
                <a:schemeClr val="tx1"/>
              </a:solidFill>
              <a:effectLst/>
              <a:uLnTx/>
              <a:uFillTx/>
              <a:ea typeface="+mn-ea"/>
              <a:cs typeface="+mn-cs"/>
            </a:endParaRPr>
          </a:p>
        </p:txBody>
      </p:sp>
      <p:sp>
        <p:nvSpPr>
          <p:cNvPr id="809" name="Rechteck 808">
            <a:hlinkClick r:id="" action="ppaction://noaction"/>
            <a:extLst>
              <a:ext uri="{FF2B5EF4-FFF2-40B4-BE49-F238E27FC236}">
                <a16:creationId xmlns:a16="http://schemas.microsoft.com/office/drawing/2014/main" id="{DA767B6C-2140-5073-B2EA-5C9DEEFCA576}"/>
              </a:ext>
            </a:extLst>
          </p:cNvPr>
          <p:cNvSpPr/>
          <p:nvPr>
            <p:custDataLst>
              <p:tags r:id="rId5"/>
            </p:custDataLst>
          </p:nvPr>
        </p:nvSpPr>
        <p:spPr>
          <a:xfrm>
            <a:off x="518319" y="4600678"/>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5</a:t>
            </a:r>
          </a:p>
        </p:txBody>
      </p:sp>
      <p:cxnSp>
        <p:nvCxnSpPr>
          <p:cNvPr id="808" name="Gerader Verbinder 807">
            <a:extLst>
              <a:ext uri="{FF2B5EF4-FFF2-40B4-BE49-F238E27FC236}">
                <a16:creationId xmlns:a16="http://schemas.microsoft.com/office/drawing/2014/main" id="{E8FF3167-FBB0-7683-AD2C-2E9183667179}"/>
              </a:ext>
            </a:extLst>
          </p:cNvPr>
          <p:cNvCxnSpPr/>
          <p:nvPr>
            <p:custDataLst>
              <p:tags r:id="rId6"/>
            </p:custDataLst>
          </p:nvPr>
        </p:nvCxnSpPr>
        <p:spPr>
          <a:xfrm>
            <a:off x="518319" y="3789506"/>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7" name="Rechteck 806">
            <a:hlinkClick r:id="" action="ppaction://noaction"/>
            <a:extLst>
              <a:ext uri="{FF2B5EF4-FFF2-40B4-BE49-F238E27FC236}">
                <a16:creationId xmlns:a16="http://schemas.microsoft.com/office/drawing/2014/main" id="{6B17833B-654D-8F9D-D27D-998975499230}"/>
              </a:ext>
            </a:extLst>
          </p:cNvPr>
          <p:cNvSpPr/>
          <p:nvPr>
            <p:custDataLst>
              <p:tags r:id="rId7"/>
            </p:custDataLst>
          </p:nvPr>
        </p:nvSpPr>
        <p:spPr>
          <a:xfrm>
            <a:off x="1287032" y="3875231"/>
            <a:ext cx="210314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de-DE" err="1">
                <a:solidFill>
                  <a:schemeClr val="tx1"/>
                </a:solidFill>
              </a:rPr>
              <a:t>Preliminary</a:t>
            </a:r>
            <a:r>
              <a:rPr lang="de-DE">
                <a:solidFill>
                  <a:schemeClr val="tx1"/>
                </a:solidFill>
              </a:rPr>
              <a:t> </a:t>
            </a:r>
            <a:r>
              <a:rPr lang="de-DE" err="1">
                <a:solidFill>
                  <a:schemeClr val="tx1"/>
                </a:solidFill>
              </a:rPr>
              <a:t>Conceptual</a:t>
            </a:r>
            <a:r>
              <a:rPr lang="de-DE">
                <a:solidFill>
                  <a:schemeClr val="tx1"/>
                </a:solidFill>
              </a:rPr>
              <a:t> Design</a:t>
            </a:r>
          </a:p>
        </p:txBody>
      </p:sp>
      <p:sp>
        <p:nvSpPr>
          <p:cNvPr id="806" name="Rechteck 805">
            <a:hlinkClick r:id="" action="ppaction://noaction"/>
            <a:extLst>
              <a:ext uri="{FF2B5EF4-FFF2-40B4-BE49-F238E27FC236}">
                <a16:creationId xmlns:a16="http://schemas.microsoft.com/office/drawing/2014/main" id="{E867D275-53C9-E015-5806-61F9A9E3466D}"/>
              </a:ext>
            </a:extLst>
          </p:cNvPr>
          <p:cNvSpPr/>
          <p:nvPr>
            <p:custDataLst>
              <p:tags r:id="rId8"/>
            </p:custDataLst>
          </p:nvPr>
        </p:nvSpPr>
        <p:spPr>
          <a:xfrm>
            <a:off x="518319" y="3875231"/>
            <a:ext cx="583200" cy="553997"/>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4</a:t>
            </a:r>
          </a:p>
        </p:txBody>
      </p:sp>
      <p:cxnSp>
        <p:nvCxnSpPr>
          <p:cNvPr id="805" name="Gerader Verbinder 804">
            <a:extLst>
              <a:ext uri="{FF2B5EF4-FFF2-40B4-BE49-F238E27FC236}">
                <a16:creationId xmlns:a16="http://schemas.microsoft.com/office/drawing/2014/main" id="{F176223A-1A49-5B62-540A-4930CCC588D5}"/>
              </a:ext>
            </a:extLst>
          </p:cNvPr>
          <p:cNvCxnSpPr/>
          <p:nvPr>
            <p:custDataLst>
              <p:tags r:id="rId9"/>
            </p:custDataLst>
          </p:nvPr>
        </p:nvCxnSpPr>
        <p:spPr>
          <a:xfrm>
            <a:off x="518319" y="3064058"/>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4" name="Rechteck 803">
            <a:hlinkClick r:id="rId21" action="ppaction://hlinksldjump"/>
            <a:extLst>
              <a:ext uri="{FF2B5EF4-FFF2-40B4-BE49-F238E27FC236}">
                <a16:creationId xmlns:a16="http://schemas.microsoft.com/office/drawing/2014/main" id="{C1A38F07-47D0-7F74-2B4C-CA6A7F73BD5E}"/>
              </a:ext>
            </a:extLst>
          </p:cNvPr>
          <p:cNvSpPr/>
          <p:nvPr>
            <p:custDataLst>
              <p:tags r:id="rId10"/>
            </p:custDataLst>
          </p:nvPr>
        </p:nvSpPr>
        <p:spPr>
          <a:xfrm>
            <a:off x="1287032" y="3149783"/>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err="1">
                <a:solidFill>
                  <a:schemeClr val="tx1"/>
                </a:solidFill>
              </a:rPr>
              <a:t>Decision</a:t>
            </a:r>
            <a:r>
              <a:rPr lang="de-DE">
                <a:solidFill>
                  <a:schemeClr val="tx1"/>
                </a:solidFill>
              </a:rPr>
              <a:t> Analysis</a:t>
            </a:r>
          </a:p>
        </p:txBody>
      </p:sp>
      <p:sp>
        <p:nvSpPr>
          <p:cNvPr id="803" name="Rechteck 802">
            <a:hlinkClick r:id="rId21" action="ppaction://hlinksldjump"/>
            <a:extLst>
              <a:ext uri="{FF2B5EF4-FFF2-40B4-BE49-F238E27FC236}">
                <a16:creationId xmlns:a16="http://schemas.microsoft.com/office/drawing/2014/main" id="{C03FE7D6-1184-6EFE-D49C-EB2463E02FA7}"/>
              </a:ext>
            </a:extLst>
          </p:cNvPr>
          <p:cNvSpPr/>
          <p:nvPr>
            <p:custDataLst>
              <p:tags r:id="rId11"/>
            </p:custDataLst>
          </p:nvPr>
        </p:nvSpPr>
        <p:spPr>
          <a:xfrm>
            <a:off x="518319" y="3149783"/>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3</a:t>
            </a:r>
          </a:p>
        </p:txBody>
      </p:sp>
      <p:cxnSp>
        <p:nvCxnSpPr>
          <p:cNvPr id="802" name="Gerader Verbinder 801">
            <a:extLst>
              <a:ext uri="{FF2B5EF4-FFF2-40B4-BE49-F238E27FC236}">
                <a16:creationId xmlns:a16="http://schemas.microsoft.com/office/drawing/2014/main" id="{017E3A21-7538-4296-5896-9EFAE26298C5}"/>
              </a:ext>
            </a:extLst>
          </p:cNvPr>
          <p:cNvCxnSpPr/>
          <p:nvPr>
            <p:custDataLst>
              <p:tags r:id="rId12"/>
            </p:custDataLst>
          </p:nvPr>
        </p:nvCxnSpPr>
        <p:spPr>
          <a:xfrm>
            <a:off x="518319" y="2338610"/>
            <a:ext cx="11160000" cy="0"/>
          </a:xfrm>
          <a:prstGeom prst="line">
            <a:avLst/>
          </a:prstGeom>
          <a:noFill/>
          <a:ln w="9525" cap="flat" cmpd="sng" algn="ctr">
            <a:solidFill>
              <a:srgbClr val="DCE3E9"/>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01" name="Rechteck 800">
            <a:hlinkClick r:id="rId22" action="ppaction://hlinksldjump"/>
            <a:extLst>
              <a:ext uri="{FF2B5EF4-FFF2-40B4-BE49-F238E27FC236}">
                <a16:creationId xmlns:a16="http://schemas.microsoft.com/office/drawing/2014/main" id="{F82AA610-2B09-5601-C3A3-5B8B2E5F35C5}"/>
              </a:ext>
            </a:extLst>
          </p:cNvPr>
          <p:cNvSpPr/>
          <p:nvPr>
            <p:custDataLst>
              <p:tags r:id="rId13"/>
            </p:custDataLst>
          </p:nvPr>
        </p:nvSpPr>
        <p:spPr>
          <a:xfrm>
            <a:off x="1287032" y="2424335"/>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err="1">
                <a:solidFill>
                  <a:schemeClr val="tx1"/>
                </a:solidFill>
              </a:rPr>
              <a:t>Constraint</a:t>
            </a:r>
            <a:r>
              <a:rPr lang="de-DE">
                <a:solidFill>
                  <a:schemeClr val="tx1"/>
                </a:solidFill>
              </a:rPr>
              <a:t> and </a:t>
            </a:r>
            <a:r>
              <a:rPr lang="de-DE" err="1">
                <a:solidFill>
                  <a:schemeClr val="tx1"/>
                </a:solidFill>
              </a:rPr>
              <a:t>Criteria</a:t>
            </a:r>
            <a:endParaRPr lang="de-DE" err="1">
              <a:solidFill>
                <a:schemeClr val="tx1"/>
              </a:solidFill>
              <a:ea typeface="+mn-ea"/>
              <a:cs typeface="+mn-cs"/>
            </a:endParaRPr>
          </a:p>
        </p:txBody>
      </p:sp>
      <p:sp>
        <p:nvSpPr>
          <p:cNvPr id="800" name="Rechteck 799">
            <a:hlinkClick r:id="rId22" action="ppaction://hlinksldjump"/>
            <a:extLst>
              <a:ext uri="{FF2B5EF4-FFF2-40B4-BE49-F238E27FC236}">
                <a16:creationId xmlns:a16="http://schemas.microsoft.com/office/drawing/2014/main" id="{588C1549-2BF7-3FA9-FA2A-DF51750E4940}"/>
              </a:ext>
            </a:extLst>
          </p:cNvPr>
          <p:cNvSpPr/>
          <p:nvPr>
            <p:custDataLst>
              <p:tags r:id="rId14"/>
            </p:custDataLst>
          </p:nvPr>
        </p:nvSpPr>
        <p:spPr>
          <a:xfrm>
            <a:off x="518319" y="2424335"/>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kumimoji="0" lang="de-DE" sz="3600" b="1" i="0" u="none" strike="noStrike" kern="1200" cap="none" spc="0" normalizeH="0" baseline="0" noProof="0">
                <a:ln>
                  <a:noFill/>
                </a:ln>
                <a:solidFill>
                  <a:srgbClr val="000000"/>
                </a:solidFill>
                <a:effectLst/>
                <a:uLnTx/>
                <a:uFillTx/>
                <a:ea typeface="+mn-ea"/>
                <a:cs typeface="+mn-cs"/>
              </a:rPr>
              <a:t>2</a:t>
            </a:r>
          </a:p>
        </p:txBody>
      </p:sp>
      <p:sp>
        <p:nvSpPr>
          <p:cNvPr id="799" name="Rechteck 798">
            <a:extLst>
              <a:ext uri="{FF2B5EF4-FFF2-40B4-BE49-F238E27FC236}">
                <a16:creationId xmlns:a16="http://schemas.microsoft.com/office/drawing/2014/main" id="{E719E103-5F12-0EF7-1AD5-2C3BB4A5F8E5}"/>
              </a:ext>
            </a:extLst>
          </p:cNvPr>
          <p:cNvSpPr/>
          <p:nvPr>
            <p:custDataLst>
              <p:tags r:id="rId15"/>
            </p:custDataLst>
          </p:nvPr>
        </p:nvSpPr>
        <p:spPr>
          <a:xfrm>
            <a:off x="0" y="1613162"/>
            <a:ext cx="12192000" cy="741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endParaRPr kumimoji="0" lang="de-DE" b="0" i="0" u="none" strike="noStrike" kern="1200" cap="none" spc="0" normalizeH="0" baseline="0" noProof="0">
              <a:ln>
                <a:noFill/>
              </a:ln>
              <a:solidFill>
                <a:schemeClr val="tx1"/>
              </a:solidFill>
              <a:effectLst/>
              <a:uLnTx/>
              <a:uFillTx/>
              <a:ea typeface="+mn-ea"/>
              <a:cs typeface="+mn-cs"/>
            </a:endParaRPr>
          </a:p>
        </p:txBody>
      </p:sp>
      <p:sp>
        <p:nvSpPr>
          <p:cNvPr id="798" name="Rechteck 797">
            <a:hlinkClick r:id="rId23" action="ppaction://hlinksldjump"/>
            <a:extLst>
              <a:ext uri="{FF2B5EF4-FFF2-40B4-BE49-F238E27FC236}">
                <a16:creationId xmlns:a16="http://schemas.microsoft.com/office/drawing/2014/main" id="{1A2D9CAD-706A-5E36-FFFD-2822F5DA7876}"/>
              </a:ext>
            </a:extLst>
          </p:cNvPr>
          <p:cNvSpPr/>
          <p:nvPr>
            <p:custDataLst>
              <p:tags r:id="rId16"/>
            </p:custDataLst>
          </p:nvPr>
        </p:nvSpPr>
        <p:spPr>
          <a:xfrm>
            <a:off x="1287032" y="1698887"/>
            <a:ext cx="210314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de-DE">
                <a:solidFill>
                  <a:schemeClr val="tx1"/>
                </a:solidFill>
              </a:rPr>
              <a:t>Design Goals</a:t>
            </a:r>
          </a:p>
        </p:txBody>
      </p:sp>
      <p:sp>
        <p:nvSpPr>
          <p:cNvPr id="797" name="Rechteck 796">
            <a:hlinkClick r:id="rId23" action="ppaction://hlinksldjump"/>
            <a:extLst>
              <a:ext uri="{FF2B5EF4-FFF2-40B4-BE49-F238E27FC236}">
                <a16:creationId xmlns:a16="http://schemas.microsoft.com/office/drawing/2014/main" id="{15E76851-7824-6CAE-1D75-67C77781FE81}"/>
              </a:ext>
            </a:extLst>
          </p:cNvPr>
          <p:cNvSpPr/>
          <p:nvPr>
            <p:custDataLst>
              <p:tags r:id="rId17"/>
            </p:custDataLst>
          </p:nvPr>
        </p:nvSpPr>
        <p:spPr>
          <a:xfrm>
            <a:off x="518319" y="1698887"/>
            <a:ext cx="583200" cy="553998"/>
          </a:xfrm>
          <a:prstGeom prst="rect">
            <a:avLst/>
          </a:prstGeom>
          <a:noFill/>
          <a:ln>
            <a:noFill/>
          </a:ln>
          <a:extLst>
            <a:ext uri="{909E8E84-426E-40DD-AFC4-6F175D3DCCD1}">
              <a14:hiddenFill xmlns:a14="http://schemas.microsoft.com/office/drawing/2010/main">
                <a:solidFill>
                  <a:srgbClr val="F6F6F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R="0" algn="l" defTabSz="914400" rtl="0" eaLnBrk="1" fontAlgn="auto" latinLnBrk="0" hangingPunct="1">
              <a:lnSpc>
                <a:spcPct val="100000"/>
              </a:lnSpc>
              <a:spcBef>
                <a:spcPct val="0"/>
              </a:spcBef>
              <a:spcAft>
                <a:spcPct val="0"/>
              </a:spcAft>
              <a:buClrTx/>
              <a:buSzTx/>
              <a:buFont typeface="Arial" panose="020B0604020202020204" pitchFamily="34" charset="0"/>
              <a:buNone/>
              <a:tabLst/>
            </a:pPr>
            <a:r>
              <a:rPr lang="de-DE" sz="3600" b="1">
                <a:solidFill>
                  <a:schemeClr val="tx1"/>
                </a:solidFill>
              </a:rPr>
              <a:t>1</a:t>
            </a:r>
            <a:endParaRPr kumimoji="0" lang="de-DE" sz="3600" b="1" i="0" u="none" strike="noStrike" kern="1200" cap="none" spc="0" normalizeH="0" baseline="0" noProof="0">
              <a:ln>
                <a:noFill/>
              </a:ln>
              <a:solidFill>
                <a:schemeClr val="tx1"/>
              </a:solidFill>
              <a:effectLst/>
              <a:uLnTx/>
              <a:uFillTx/>
              <a:ea typeface="+mn-ea"/>
              <a:cs typeface="+mn-cs"/>
            </a:endParaRPr>
          </a:p>
        </p:txBody>
      </p:sp>
      <p:sp>
        <p:nvSpPr>
          <p:cNvPr id="747" name="Titel 746">
            <a:extLst>
              <a:ext uri="{FF2B5EF4-FFF2-40B4-BE49-F238E27FC236}">
                <a16:creationId xmlns:a16="http://schemas.microsoft.com/office/drawing/2014/main" id="{A2EA4E2B-D206-6BCC-1204-DED4B39825C8}"/>
              </a:ext>
            </a:extLst>
          </p:cNvPr>
          <p:cNvSpPr>
            <a:spLocks noGrp="1"/>
          </p:cNvSpPr>
          <p:nvPr>
            <p:ph type="title"/>
            <p:custDataLst>
              <p:tags r:id="rId18"/>
            </p:custDataLst>
          </p:nvPr>
        </p:nvSpPr>
        <p:spPr/>
        <p:txBody>
          <a:bodyPr/>
          <a:lstStyle/>
          <a:p>
            <a:r>
              <a:rPr lang="de-DE"/>
              <a:t>Agenda</a:t>
            </a:r>
          </a:p>
        </p:txBody>
      </p:sp>
      <p:sp>
        <p:nvSpPr>
          <p:cNvPr id="27" name="Foliennummernplatzhalter 26">
            <a:extLst>
              <a:ext uri="{FF2B5EF4-FFF2-40B4-BE49-F238E27FC236}">
                <a16:creationId xmlns:a16="http://schemas.microsoft.com/office/drawing/2014/main" id="{90020BF2-9CA2-6D75-6CE7-45F18A5DEA4E}"/>
              </a:ext>
            </a:extLst>
          </p:cNvPr>
          <p:cNvSpPr>
            <a:spLocks noGrp="1"/>
          </p:cNvSpPr>
          <p:nvPr>
            <p:ph type="sldNum" sz="quarter" idx="44"/>
          </p:nvPr>
        </p:nvSpPr>
        <p:spPr/>
        <p:txBody>
          <a:bodyPr/>
          <a:lstStyle/>
          <a:p>
            <a:fld id="{C6A4AD45-2621-4550-9DC5-4911F1B5FA4D}" type="slidenum">
              <a:rPr lang="de-DE" smtClean="0"/>
              <a:pPr/>
              <a:t>2</a:t>
            </a:fld>
            <a:endParaRPr lang="de-DE"/>
          </a:p>
        </p:txBody>
      </p:sp>
    </p:spTree>
    <p:custDataLst>
      <p:tags r:id="rId1"/>
    </p:custDataLst>
    <p:extLst>
      <p:ext uri="{BB962C8B-B14F-4D97-AF65-F5344CB8AC3E}">
        <p14:creationId xmlns:p14="http://schemas.microsoft.com/office/powerpoint/2010/main" val="326362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a:cs typeface="Arial"/>
              </a:rPr>
              <a:t>Design Goals</a:t>
            </a:r>
            <a:endParaRPr lang="de-DE"/>
          </a:p>
        </p:txBody>
      </p:sp>
      <p:sp>
        <p:nvSpPr>
          <p:cNvPr id="44" name="Textplatzhalter 43">
            <a:extLst>
              <a:ext uri="{FF2B5EF4-FFF2-40B4-BE49-F238E27FC236}">
                <a16:creationId xmlns:a16="http://schemas.microsoft.com/office/drawing/2014/main" id="{9A0D7DE8-29FE-08C8-D01C-97334E84F4D3}"/>
              </a:ext>
            </a:extLst>
          </p:cNvPr>
          <p:cNvSpPr>
            <a:spLocks noGrp="1"/>
          </p:cNvSpPr>
          <p:nvPr>
            <p:ph type="body" sz="quarter" idx="63"/>
          </p:nvPr>
        </p:nvSpPr>
        <p:spPr>
          <a:xfrm>
            <a:off x="518319" y="1128629"/>
            <a:ext cx="11160000" cy="4464000"/>
          </a:xfrm>
        </p:spPr>
        <p:txBody>
          <a:bodyPr vert="horz" lIns="0" tIns="0" rIns="540000" bIns="0" rtlCol="0" anchor="ctr" anchorCtr="0">
            <a:noAutofit/>
          </a:bodyPr>
          <a:lstStyle/>
          <a:p>
            <a:pPr algn="ctr"/>
            <a:r>
              <a:rPr lang="en-CA" sz="2400">
                <a:solidFill>
                  <a:srgbClr val="191B0E"/>
                </a:solidFill>
                <a:latin typeface="Aptos"/>
                <a:cs typeface="Arial"/>
              </a:rPr>
              <a:t>“Our goals for this project are to design a Stewart Platform that can balance balls of varying weight (ping pong ball, golf ball, ball bearing), for at least 15 seconds, while also being able to guide said balls along a set trajectory of a circle. The platform will need to maintain the balance of the balls after the introduction of physical disturbances.”</a:t>
            </a:r>
            <a:endParaRPr lang="de-DE" sz="2400">
              <a:latin typeface="Aptos"/>
              <a:cs typeface="Arial"/>
            </a:endParaRPr>
          </a:p>
          <a:p>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3</a:t>
            </a:fld>
            <a:endParaRPr lang="de-DE"/>
          </a:p>
        </p:txBody>
      </p:sp>
      <p:pic>
        <p:nvPicPr>
          <p:cNvPr id="2" name="Graphic 1" descr="Gears with solid fill">
            <a:extLst>
              <a:ext uri="{FF2B5EF4-FFF2-40B4-BE49-F238E27FC236}">
                <a16:creationId xmlns:a16="http://schemas.microsoft.com/office/drawing/2014/main" id="{D3EFF9B6-4275-4DF4-8FB6-1545493D3E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59932" y="4946731"/>
            <a:ext cx="914400" cy="914400"/>
          </a:xfrm>
          <a:prstGeom prst="rect">
            <a:avLst/>
          </a:prstGeom>
        </p:spPr>
      </p:pic>
      <p:sp>
        <p:nvSpPr>
          <p:cNvPr id="3" name="Textplatzhalter 42">
            <a:extLst>
              <a:ext uri="{FF2B5EF4-FFF2-40B4-BE49-F238E27FC236}">
                <a16:creationId xmlns:a16="http://schemas.microsoft.com/office/drawing/2014/main" id="{B0FAD62E-2CD3-2E12-244C-3E8F06F44816}"/>
              </a:ext>
            </a:extLst>
          </p:cNvPr>
          <p:cNvSpPr>
            <a:spLocks noGrp="1"/>
          </p:cNvSpPr>
          <p:nvPr>
            <p:ph type="body" sz="quarter" idx="59"/>
          </p:nvPr>
        </p:nvSpPr>
        <p:spPr>
          <a:xfrm>
            <a:off x="518319" y="642855"/>
            <a:ext cx="9740106" cy="369332"/>
          </a:xfrm>
        </p:spPr>
        <p:txBody>
          <a:bodyPr/>
          <a:lstStyle/>
          <a:p>
            <a:r>
              <a:rPr lang="de-DE">
                <a:cs typeface="Arial"/>
              </a:rPr>
              <a:t>What Do We Hope to Achieve?</a:t>
            </a:r>
            <a:endParaRPr lang="de-DE"/>
          </a:p>
        </p:txBody>
      </p:sp>
    </p:spTree>
    <p:extLst>
      <p:ext uri="{BB962C8B-B14F-4D97-AF65-F5344CB8AC3E}">
        <p14:creationId xmlns:p14="http://schemas.microsoft.com/office/powerpoint/2010/main" val="1533146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C21C5-BBA6-E1E4-DFA4-175BC9E0A0A9}"/>
              </a:ext>
            </a:extLst>
          </p:cNvPr>
          <p:cNvSpPr>
            <a:spLocks noGrp="1"/>
          </p:cNvSpPr>
          <p:nvPr>
            <p:ph type="title"/>
          </p:nvPr>
        </p:nvSpPr>
        <p:spPr/>
        <p:txBody>
          <a:bodyPr/>
          <a:lstStyle/>
          <a:p>
            <a:r>
              <a:rPr lang="en-US">
                <a:cs typeface="Arial"/>
              </a:rPr>
              <a:t>Constraints</a:t>
            </a:r>
            <a:endParaRPr lang="en-US"/>
          </a:p>
        </p:txBody>
      </p:sp>
      <p:sp>
        <p:nvSpPr>
          <p:cNvPr id="6" name="Slide Number Placeholder 5">
            <a:extLst>
              <a:ext uri="{FF2B5EF4-FFF2-40B4-BE49-F238E27FC236}">
                <a16:creationId xmlns:a16="http://schemas.microsoft.com/office/drawing/2014/main" id="{B0732E02-1D86-C694-720F-AE43C3AEB69C}"/>
              </a:ext>
            </a:extLst>
          </p:cNvPr>
          <p:cNvSpPr>
            <a:spLocks noGrp="1"/>
          </p:cNvSpPr>
          <p:nvPr>
            <p:ph type="sldNum" sz="quarter" idx="66"/>
          </p:nvPr>
        </p:nvSpPr>
        <p:spPr/>
        <p:txBody>
          <a:bodyPr/>
          <a:lstStyle/>
          <a:p>
            <a:fld id="{C6A4AD45-2621-4550-9DC5-4911F1B5FA4D}" type="slidenum">
              <a:rPr lang="de-DE" smtClean="0"/>
              <a:pPr/>
              <a:t>4</a:t>
            </a:fld>
            <a:endParaRPr lang="de-DE"/>
          </a:p>
        </p:txBody>
      </p:sp>
      <p:grpSp>
        <p:nvGrpSpPr>
          <p:cNvPr id="22" name="Group 21">
            <a:extLst>
              <a:ext uri="{FF2B5EF4-FFF2-40B4-BE49-F238E27FC236}">
                <a16:creationId xmlns:a16="http://schemas.microsoft.com/office/drawing/2014/main" id="{3F1D75C8-EEB0-8EC5-4428-818159A64019}"/>
              </a:ext>
            </a:extLst>
          </p:cNvPr>
          <p:cNvGrpSpPr/>
          <p:nvPr/>
        </p:nvGrpSpPr>
        <p:grpSpPr>
          <a:xfrm>
            <a:off x="4713848" y="1631837"/>
            <a:ext cx="3568020" cy="4531194"/>
            <a:chOff x="2802752" y="1348472"/>
            <a:chExt cx="3568020" cy="4531194"/>
          </a:xfrm>
        </p:grpSpPr>
        <p:sp>
          <p:nvSpPr>
            <p:cNvPr id="23" name="Freeform: Shape 22">
              <a:extLst>
                <a:ext uri="{FF2B5EF4-FFF2-40B4-BE49-F238E27FC236}">
                  <a16:creationId xmlns:a16="http://schemas.microsoft.com/office/drawing/2014/main" id="{D89E8110-7A69-1EDE-71B6-E3ED85CD6FC5}"/>
                </a:ext>
              </a:extLst>
            </p:cNvPr>
            <p:cNvSpPr/>
            <p:nvPr/>
          </p:nvSpPr>
          <p:spPr>
            <a:xfrm>
              <a:off x="2802752" y="2345401"/>
              <a:ext cx="1270165" cy="2541299"/>
            </a:xfrm>
            <a:custGeom>
              <a:avLst/>
              <a:gdLst>
                <a:gd name="connsiteX0" fmla="*/ 1279171 w 1279171"/>
                <a:gd name="connsiteY0" fmla="*/ 0 h 2559317"/>
                <a:gd name="connsiteX1" fmla="*/ 1279171 w 1279171"/>
                <a:gd name="connsiteY1" fmla="*/ 282062 h 2559317"/>
                <a:gd name="connsiteX2" fmla="*/ 282368 w 1279171"/>
                <a:gd name="connsiteY2" fmla="*/ 1278865 h 2559317"/>
                <a:gd name="connsiteX3" fmla="*/ 1279171 w 1279171"/>
                <a:gd name="connsiteY3" fmla="*/ 2275668 h 2559317"/>
                <a:gd name="connsiteX4" fmla="*/ 1279171 w 1279171"/>
                <a:gd name="connsiteY4" fmla="*/ 2559317 h 2559317"/>
                <a:gd name="connsiteX5" fmla="*/ 1021407 w 1279171"/>
                <a:gd name="connsiteY5" fmla="*/ 2533316 h 2559317"/>
                <a:gd name="connsiteX6" fmla="*/ 0 w 1279171"/>
                <a:gd name="connsiteY6" fmla="*/ 1279563 h 2559317"/>
                <a:gd name="connsiteX7" fmla="*/ 1021407 w 1279171"/>
                <a:gd name="connsiteY7" fmla="*/ 25993 h 255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171" h="2559317">
                  <a:moveTo>
                    <a:pt x="1279171" y="0"/>
                  </a:moveTo>
                  <a:lnTo>
                    <a:pt x="1279171" y="282062"/>
                  </a:lnTo>
                  <a:cubicBezTo>
                    <a:pt x="728652" y="282062"/>
                    <a:pt x="282368" y="728346"/>
                    <a:pt x="282368" y="1278865"/>
                  </a:cubicBezTo>
                  <a:cubicBezTo>
                    <a:pt x="282368" y="1829384"/>
                    <a:pt x="728652" y="2275668"/>
                    <a:pt x="1279171" y="2275668"/>
                  </a:cubicBezTo>
                  <a:lnTo>
                    <a:pt x="1279171" y="2559317"/>
                  </a:lnTo>
                  <a:lnTo>
                    <a:pt x="1021407" y="2533316"/>
                  </a:lnTo>
                  <a:cubicBezTo>
                    <a:pt x="438564" y="2413979"/>
                    <a:pt x="0" y="1897979"/>
                    <a:pt x="0" y="1279563"/>
                  </a:cubicBezTo>
                  <a:cubicBezTo>
                    <a:pt x="0" y="661147"/>
                    <a:pt x="438564" y="145294"/>
                    <a:pt x="1021407" y="25993"/>
                  </a:cubicBezTo>
                  <a:close/>
                </a:path>
              </a:pathLst>
            </a:custGeom>
            <a:gradFill>
              <a:gsLst>
                <a:gs pos="49000">
                  <a:schemeClr val="accent3">
                    <a:lumMod val="60000"/>
                    <a:lumOff val="40000"/>
                  </a:schemeClr>
                </a:gs>
                <a:gs pos="100000">
                  <a:schemeClr val="accent1">
                    <a:lumMod val="75000"/>
                  </a:schemeClr>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sp>
          <p:nvSpPr>
            <p:cNvPr id="24" name="Freeform 5">
              <a:extLst>
                <a:ext uri="{FF2B5EF4-FFF2-40B4-BE49-F238E27FC236}">
                  <a16:creationId xmlns:a16="http://schemas.microsoft.com/office/drawing/2014/main" id="{4FBAF95C-3990-C96C-66DC-0742305E1DA3}"/>
                </a:ext>
              </a:extLst>
            </p:cNvPr>
            <p:cNvSpPr>
              <a:spLocks/>
            </p:cNvSpPr>
            <p:nvPr/>
          </p:nvSpPr>
          <p:spPr bwMode="auto">
            <a:xfrm>
              <a:off x="4068189" y="1348472"/>
              <a:ext cx="1331501" cy="1238642"/>
            </a:xfrm>
            <a:custGeom>
              <a:avLst/>
              <a:gdLst>
                <a:gd name="T0" fmla="*/ 0 w 7049"/>
                <a:gd name="T1" fmla="*/ 0 h 6559"/>
                <a:gd name="T2" fmla="*/ 7049 w 7049"/>
                <a:gd name="T3" fmla="*/ 2290 h 6559"/>
                <a:gd name="T4" fmla="*/ 3948 w 7049"/>
                <a:gd name="T5" fmla="*/ 6559 h 6559"/>
                <a:gd name="T6" fmla="*/ 0 w 7049"/>
                <a:gd name="T7" fmla="*/ 5277 h 6559"/>
                <a:gd name="T8" fmla="*/ 0 w 7049"/>
                <a:gd name="T9" fmla="*/ 0 h 6559"/>
              </a:gdLst>
              <a:ahLst/>
              <a:cxnLst>
                <a:cxn ang="0">
                  <a:pos x="T0" y="T1"/>
                </a:cxn>
                <a:cxn ang="0">
                  <a:pos x="T2" y="T3"/>
                </a:cxn>
                <a:cxn ang="0">
                  <a:pos x="T4" y="T5"/>
                </a:cxn>
                <a:cxn ang="0">
                  <a:pos x="T6" y="T7"/>
                </a:cxn>
                <a:cxn ang="0">
                  <a:pos x="T8" y="T9"/>
                </a:cxn>
              </a:cxnLst>
              <a:rect l="0" t="0" r="r" b="b"/>
              <a:pathLst>
                <a:path w="7049" h="6559">
                  <a:moveTo>
                    <a:pt x="0" y="0"/>
                  </a:moveTo>
                  <a:cubicBezTo>
                    <a:pt x="2533" y="0"/>
                    <a:pt x="5000" y="802"/>
                    <a:pt x="7049" y="2290"/>
                  </a:cubicBezTo>
                  <a:lnTo>
                    <a:pt x="3948" y="6559"/>
                  </a:lnTo>
                  <a:cubicBezTo>
                    <a:pt x="2800" y="5726"/>
                    <a:pt x="1419" y="5277"/>
                    <a:pt x="0" y="5277"/>
                  </a:cubicBezTo>
                  <a:lnTo>
                    <a:pt x="0" y="0"/>
                  </a:lnTo>
                  <a:close/>
                </a:path>
              </a:pathLst>
            </a:custGeom>
            <a:solidFill>
              <a:schemeClr val="accent3">
                <a:lumMod val="60000"/>
                <a:lumOff val="4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 name="Freeform 6">
              <a:extLst>
                <a:ext uri="{FF2B5EF4-FFF2-40B4-BE49-F238E27FC236}">
                  <a16:creationId xmlns:a16="http://schemas.microsoft.com/office/drawing/2014/main" id="{1102213C-2BF6-B78D-6875-362A4C97C021}"/>
                </a:ext>
              </a:extLst>
            </p:cNvPr>
            <p:cNvSpPr>
              <a:spLocks/>
            </p:cNvSpPr>
            <p:nvPr/>
          </p:nvSpPr>
          <p:spPr bwMode="auto">
            <a:xfrm>
              <a:off x="4814208" y="1781289"/>
              <a:ext cx="1408622" cy="1440098"/>
            </a:xfrm>
            <a:custGeom>
              <a:avLst/>
              <a:gdLst>
                <a:gd name="T0" fmla="*/ 3101 w 7458"/>
                <a:gd name="T1" fmla="*/ 0 h 7627"/>
                <a:gd name="T2" fmla="*/ 7458 w 7458"/>
                <a:gd name="T3" fmla="*/ 5997 h 7627"/>
                <a:gd name="T4" fmla="*/ 2439 w 7458"/>
                <a:gd name="T5" fmla="*/ 7627 h 7627"/>
                <a:gd name="T6" fmla="*/ 0 w 7458"/>
                <a:gd name="T7" fmla="*/ 4269 h 7627"/>
                <a:gd name="T8" fmla="*/ 3101 w 7458"/>
                <a:gd name="T9" fmla="*/ 0 h 7627"/>
              </a:gdLst>
              <a:ahLst/>
              <a:cxnLst>
                <a:cxn ang="0">
                  <a:pos x="T0" y="T1"/>
                </a:cxn>
                <a:cxn ang="0">
                  <a:pos x="T2" y="T3"/>
                </a:cxn>
                <a:cxn ang="0">
                  <a:pos x="T4" y="T5"/>
                </a:cxn>
                <a:cxn ang="0">
                  <a:pos x="T6" y="T7"/>
                </a:cxn>
                <a:cxn ang="0">
                  <a:pos x="T8" y="T9"/>
                </a:cxn>
              </a:cxnLst>
              <a:rect l="0" t="0" r="r" b="b"/>
              <a:pathLst>
                <a:path w="7458" h="7627">
                  <a:moveTo>
                    <a:pt x="3101" y="0"/>
                  </a:moveTo>
                  <a:cubicBezTo>
                    <a:pt x="5150" y="1489"/>
                    <a:pt x="6675" y="3588"/>
                    <a:pt x="7458" y="5997"/>
                  </a:cubicBezTo>
                  <a:lnTo>
                    <a:pt x="2439" y="7627"/>
                  </a:lnTo>
                  <a:cubicBezTo>
                    <a:pt x="2001" y="6278"/>
                    <a:pt x="1147" y="5103"/>
                    <a:pt x="0" y="4269"/>
                  </a:cubicBezTo>
                  <a:lnTo>
                    <a:pt x="3101"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 name="Freeform 7">
              <a:extLst>
                <a:ext uri="{FF2B5EF4-FFF2-40B4-BE49-F238E27FC236}">
                  <a16:creationId xmlns:a16="http://schemas.microsoft.com/office/drawing/2014/main" id="{57A12218-6ED4-AFE9-37F9-2EE0E33A3BB2}"/>
                </a:ext>
              </a:extLst>
            </p:cNvPr>
            <p:cNvSpPr>
              <a:spLocks/>
            </p:cNvSpPr>
            <p:nvPr/>
          </p:nvSpPr>
          <p:spPr bwMode="auto">
            <a:xfrm>
              <a:off x="5275353" y="2914479"/>
              <a:ext cx="1095419" cy="1399178"/>
            </a:xfrm>
            <a:custGeom>
              <a:avLst/>
              <a:gdLst>
                <a:gd name="T0" fmla="*/ 5019 w 5801"/>
                <a:gd name="T1" fmla="*/ 0 h 7411"/>
                <a:gd name="T2" fmla="*/ 5019 w 5801"/>
                <a:gd name="T3" fmla="*/ 7411 h 7411"/>
                <a:gd name="T4" fmla="*/ 0 w 5801"/>
                <a:gd name="T5" fmla="*/ 5781 h 7411"/>
                <a:gd name="T6" fmla="*/ 0 w 5801"/>
                <a:gd name="T7" fmla="*/ 1630 h 7411"/>
                <a:gd name="T8" fmla="*/ 5019 w 5801"/>
                <a:gd name="T9" fmla="*/ 0 h 7411"/>
              </a:gdLst>
              <a:ahLst/>
              <a:cxnLst>
                <a:cxn ang="0">
                  <a:pos x="T0" y="T1"/>
                </a:cxn>
                <a:cxn ang="0">
                  <a:pos x="T2" y="T3"/>
                </a:cxn>
                <a:cxn ang="0">
                  <a:pos x="T4" y="T5"/>
                </a:cxn>
                <a:cxn ang="0">
                  <a:pos x="T6" y="T7"/>
                </a:cxn>
                <a:cxn ang="0">
                  <a:pos x="T8" y="T9"/>
                </a:cxn>
              </a:cxnLst>
              <a:rect l="0" t="0" r="r" b="b"/>
              <a:pathLst>
                <a:path w="5801" h="7411">
                  <a:moveTo>
                    <a:pt x="5019" y="0"/>
                  </a:moveTo>
                  <a:cubicBezTo>
                    <a:pt x="5801" y="2408"/>
                    <a:pt x="5801" y="5003"/>
                    <a:pt x="5019" y="7411"/>
                  </a:cubicBezTo>
                  <a:lnTo>
                    <a:pt x="0" y="5781"/>
                  </a:lnTo>
                  <a:cubicBezTo>
                    <a:pt x="439" y="4432"/>
                    <a:pt x="439" y="2979"/>
                    <a:pt x="0" y="1630"/>
                  </a:cubicBezTo>
                  <a:lnTo>
                    <a:pt x="5019" y="0"/>
                  </a:lnTo>
                  <a:close/>
                </a:path>
              </a:pathLst>
            </a:custGeom>
            <a:solidFill>
              <a:schemeClr val="accent3">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 name="Freeform 8">
              <a:extLst>
                <a:ext uri="{FF2B5EF4-FFF2-40B4-BE49-F238E27FC236}">
                  <a16:creationId xmlns:a16="http://schemas.microsoft.com/office/drawing/2014/main" id="{13493DFD-3FDE-FEB1-1A93-CF736E6A5988}"/>
                </a:ext>
              </a:extLst>
            </p:cNvPr>
            <p:cNvSpPr>
              <a:spLocks/>
            </p:cNvSpPr>
            <p:nvPr/>
          </p:nvSpPr>
          <p:spPr bwMode="auto">
            <a:xfrm>
              <a:off x="4814208" y="4005177"/>
              <a:ext cx="1408622" cy="1441673"/>
            </a:xfrm>
            <a:custGeom>
              <a:avLst/>
              <a:gdLst>
                <a:gd name="T0" fmla="*/ 7458 w 7458"/>
                <a:gd name="T1" fmla="*/ 1630 h 7626"/>
                <a:gd name="T2" fmla="*/ 3101 w 7458"/>
                <a:gd name="T3" fmla="*/ 7626 h 7626"/>
                <a:gd name="T4" fmla="*/ 0 w 7458"/>
                <a:gd name="T5" fmla="*/ 3357 h 7626"/>
                <a:gd name="T6" fmla="*/ 2439 w 7458"/>
                <a:gd name="T7" fmla="*/ 0 h 7626"/>
                <a:gd name="T8" fmla="*/ 7458 w 7458"/>
                <a:gd name="T9" fmla="*/ 1630 h 7626"/>
              </a:gdLst>
              <a:ahLst/>
              <a:cxnLst>
                <a:cxn ang="0">
                  <a:pos x="T0" y="T1"/>
                </a:cxn>
                <a:cxn ang="0">
                  <a:pos x="T2" y="T3"/>
                </a:cxn>
                <a:cxn ang="0">
                  <a:pos x="T4" y="T5"/>
                </a:cxn>
                <a:cxn ang="0">
                  <a:pos x="T6" y="T7"/>
                </a:cxn>
                <a:cxn ang="0">
                  <a:pos x="T8" y="T9"/>
                </a:cxn>
              </a:cxnLst>
              <a:rect l="0" t="0" r="r" b="b"/>
              <a:pathLst>
                <a:path w="7458" h="7626">
                  <a:moveTo>
                    <a:pt x="7458" y="1630"/>
                  </a:moveTo>
                  <a:cubicBezTo>
                    <a:pt x="6675" y="4039"/>
                    <a:pt x="5150" y="6138"/>
                    <a:pt x="3101" y="7626"/>
                  </a:cubicBezTo>
                  <a:lnTo>
                    <a:pt x="0" y="3357"/>
                  </a:lnTo>
                  <a:cubicBezTo>
                    <a:pt x="1147" y="2524"/>
                    <a:pt x="2001" y="1348"/>
                    <a:pt x="2439" y="0"/>
                  </a:cubicBezTo>
                  <a:lnTo>
                    <a:pt x="7458" y="1630"/>
                  </a:lnTo>
                  <a:close/>
                </a:path>
              </a:pathLst>
            </a:custGeom>
            <a:solidFill>
              <a:schemeClr val="accent3">
                <a:lumMod val="5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 name="Freeform 9">
              <a:extLst>
                <a:ext uri="{FF2B5EF4-FFF2-40B4-BE49-F238E27FC236}">
                  <a16:creationId xmlns:a16="http://schemas.microsoft.com/office/drawing/2014/main" id="{AC1EF245-58CB-C59E-29D3-C1EDEDCCD0D0}"/>
                </a:ext>
              </a:extLst>
            </p:cNvPr>
            <p:cNvSpPr>
              <a:spLocks/>
            </p:cNvSpPr>
            <p:nvPr/>
          </p:nvSpPr>
          <p:spPr bwMode="auto">
            <a:xfrm>
              <a:off x="4068189" y="4639450"/>
              <a:ext cx="1331501" cy="1240216"/>
            </a:xfrm>
            <a:custGeom>
              <a:avLst/>
              <a:gdLst>
                <a:gd name="T0" fmla="*/ 7049 w 7049"/>
                <a:gd name="T1" fmla="*/ 4269 h 6560"/>
                <a:gd name="T2" fmla="*/ 0 w 7049"/>
                <a:gd name="T3" fmla="*/ 6560 h 6560"/>
                <a:gd name="T4" fmla="*/ 0 w 7049"/>
                <a:gd name="T5" fmla="*/ 1283 h 6560"/>
                <a:gd name="T6" fmla="*/ 3948 w 7049"/>
                <a:gd name="T7" fmla="*/ 0 h 6560"/>
                <a:gd name="T8" fmla="*/ 7049 w 7049"/>
                <a:gd name="T9" fmla="*/ 4269 h 6560"/>
              </a:gdLst>
              <a:ahLst/>
              <a:cxnLst>
                <a:cxn ang="0">
                  <a:pos x="T0" y="T1"/>
                </a:cxn>
                <a:cxn ang="0">
                  <a:pos x="T2" y="T3"/>
                </a:cxn>
                <a:cxn ang="0">
                  <a:pos x="T4" y="T5"/>
                </a:cxn>
                <a:cxn ang="0">
                  <a:pos x="T6" y="T7"/>
                </a:cxn>
                <a:cxn ang="0">
                  <a:pos x="T8" y="T9"/>
                </a:cxn>
              </a:cxnLst>
              <a:rect l="0" t="0" r="r" b="b"/>
              <a:pathLst>
                <a:path w="7049" h="6560">
                  <a:moveTo>
                    <a:pt x="7049" y="4269"/>
                  </a:moveTo>
                  <a:cubicBezTo>
                    <a:pt x="5000" y="5758"/>
                    <a:pt x="2533" y="6560"/>
                    <a:pt x="0" y="6560"/>
                  </a:cubicBezTo>
                  <a:lnTo>
                    <a:pt x="0" y="1283"/>
                  </a:lnTo>
                  <a:cubicBezTo>
                    <a:pt x="1419" y="1283"/>
                    <a:pt x="2800" y="834"/>
                    <a:pt x="3948" y="0"/>
                  </a:cubicBezTo>
                  <a:lnTo>
                    <a:pt x="7049" y="4269"/>
                  </a:lnTo>
                  <a:close/>
                </a:path>
              </a:pathLst>
            </a:custGeom>
            <a:solidFill>
              <a:schemeClr val="accent1">
                <a:lumMod val="75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31" name="Group 30">
            <a:extLst>
              <a:ext uri="{FF2B5EF4-FFF2-40B4-BE49-F238E27FC236}">
                <a16:creationId xmlns:a16="http://schemas.microsoft.com/office/drawing/2014/main" id="{C6171A42-1355-8E85-FF7C-092E472D8392}"/>
              </a:ext>
            </a:extLst>
          </p:cNvPr>
          <p:cNvGrpSpPr/>
          <p:nvPr/>
        </p:nvGrpSpPr>
        <p:grpSpPr>
          <a:xfrm>
            <a:off x="7639764" y="5533233"/>
            <a:ext cx="2446068" cy="687482"/>
            <a:chOff x="8221931" y="4644472"/>
            <a:chExt cx="3261424" cy="916643"/>
          </a:xfrm>
        </p:grpSpPr>
        <p:sp>
          <p:nvSpPr>
            <p:cNvPr id="32" name="TextBox 31">
              <a:extLst>
                <a:ext uri="{FF2B5EF4-FFF2-40B4-BE49-F238E27FC236}">
                  <a16:creationId xmlns:a16="http://schemas.microsoft.com/office/drawing/2014/main" id="{44E161BB-D3E9-273A-7B4D-002A9F378295}"/>
                </a:ext>
              </a:extLst>
            </p:cNvPr>
            <p:cNvSpPr txBox="1"/>
            <p:nvPr/>
          </p:nvSpPr>
          <p:spPr>
            <a:xfrm>
              <a:off x="8221931" y="4644472"/>
              <a:ext cx="3261424" cy="492442"/>
            </a:xfrm>
            <a:prstGeom prst="rect">
              <a:avLst/>
            </a:prstGeom>
            <a:noFill/>
          </p:spPr>
          <p:txBody>
            <a:bodyPr wrap="square" lIns="0" rIns="0" rtlCol="0" anchor="b">
              <a:spAutoFit/>
            </a:bodyPr>
            <a:lstStyle/>
            <a:p>
              <a:r>
                <a:rPr lang="en-US" b="1" cap="all" noProof="1">
                  <a:solidFill>
                    <a:schemeClr val="accent1">
                      <a:lumMod val="50000"/>
                    </a:schemeClr>
                  </a:solidFill>
                </a:rPr>
                <a:t>Mechanical Strength</a:t>
              </a:r>
            </a:p>
          </p:txBody>
        </p:sp>
        <p:sp>
          <p:nvSpPr>
            <p:cNvPr id="33" name="TextBox 32">
              <a:extLst>
                <a:ext uri="{FF2B5EF4-FFF2-40B4-BE49-F238E27FC236}">
                  <a16:creationId xmlns:a16="http://schemas.microsoft.com/office/drawing/2014/main" id="{D9C0EB4D-431D-DA37-51BA-58548EBD8344}"/>
                </a:ext>
              </a:extLst>
            </p:cNvPr>
            <p:cNvSpPr txBox="1"/>
            <p:nvPr/>
          </p:nvSpPr>
          <p:spPr>
            <a:xfrm>
              <a:off x="8229726" y="5068672"/>
              <a:ext cx="2929293" cy="492443"/>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The platform must be able to operate under varying weights (ping pong to ball bearing)</a:t>
              </a:r>
            </a:p>
          </p:txBody>
        </p:sp>
      </p:grpSp>
      <p:grpSp>
        <p:nvGrpSpPr>
          <p:cNvPr id="34" name="Group 33">
            <a:extLst>
              <a:ext uri="{FF2B5EF4-FFF2-40B4-BE49-F238E27FC236}">
                <a16:creationId xmlns:a16="http://schemas.microsoft.com/office/drawing/2014/main" id="{38288C4B-2407-C096-2EBA-54A91AB7BED2}"/>
              </a:ext>
            </a:extLst>
          </p:cNvPr>
          <p:cNvGrpSpPr/>
          <p:nvPr/>
        </p:nvGrpSpPr>
        <p:grpSpPr>
          <a:xfrm>
            <a:off x="7639764" y="1439584"/>
            <a:ext cx="2202816" cy="547125"/>
            <a:chOff x="8221931" y="1179546"/>
            <a:chExt cx="2937088" cy="729500"/>
          </a:xfrm>
        </p:grpSpPr>
        <p:sp>
          <p:nvSpPr>
            <p:cNvPr id="35" name="TextBox 34">
              <a:extLst>
                <a:ext uri="{FF2B5EF4-FFF2-40B4-BE49-F238E27FC236}">
                  <a16:creationId xmlns:a16="http://schemas.microsoft.com/office/drawing/2014/main" id="{D6876B36-F0E2-D15B-C64D-0E7E9E794D9F}"/>
                </a:ext>
              </a:extLst>
            </p:cNvPr>
            <p:cNvSpPr txBox="1"/>
            <p:nvPr/>
          </p:nvSpPr>
          <p:spPr>
            <a:xfrm>
              <a:off x="8221931" y="1179546"/>
              <a:ext cx="2937088" cy="492442"/>
            </a:xfrm>
            <a:prstGeom prst="rect">
              <a:avLst/>
            </a:prstGeom>
            <a:noFill/>
          </p:spPr>
          <p:txBody>
            <a:bodyPr wrap="square" lIns="0" rIns="0" rtlCol="0" anchor="b">
              <a:spAutoFit/>
            </a:bodyPr>
            <a:lstStyle/>
            <a:p>
              <a:r>
                <a:rPr lang="en-US" b="1" cap="all" noProof="1">
                  <a:solidFill>
                    <a:srgbClr val="A6D0EE"/>
                  </a:solidFill>
                </a:rPr>
                <a:t>Dimensions</a:t>
              </a:r>
            </a:p>
          </p:txBody>
        </p:sp>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4FCF52CB-FEAE-C2D3-9AE8-12855B355B17}"/>
                    </a:ext>
                  </a:extLst>
                </p:cNvPr>
                <p:cNvSpPr txBox="1"/>
                <p:nvPr/>
              </p:nvSpPr>
              <p:spPr>
                <a:xfrm>
                  <a:off x="8221931" y="1601270"/>
                  <a:ext cx="2929293" cy="307776"/>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Platform must fall within </a:t>
                  </a:r>
                  <a14:m>
                    <m:oMath xmlns:m="http://schemas.openxmlformats.org/officeDocument/2006/math">
                      <m:r>
                        <a:rPr lang="en-CA" sz="900" b="0" i="0" noProof="1" smtClean="0">
                          <a:solidFill>
                            <a:schemeClr val="tx1">
                              <a:lumMod val="65000"/>
                              <a:lumOff val="35000"/>
                            </a:schemeClr>
                          </a:solidFill>
                          <a:latin typeface="Cambria Math" panose="02040503050406030204" pitchFamily="18" charset="0"/>
                        </a:rPr>
                        <m:t>30</m:t>
                      </m:r>
                      <m:r>
                        <a:rPr lang="en-US" sz="900" noProof="1" smtClean="0">
                          <a:solidFill>
                            <a:schemeClr val="tx1">
                              <a:lumMod val="65000"/>
                              <a:lumOff val="35000"/>
                            </a:schemeClr>
                          </a:solidFill>
                          <a:latin typeface="Cambria Math" panose="02040503050406030204" pitchFamily="18" charset="0"/>
                        </a:rPr>
                        <m:t>±</m:t>
                      </m:r>
                      <m:r>
                        <a:rPr lang="en-CA" sz="900" noProof="1">
                          <a:solidFill>
                            <a:schemeClr val="tx1">
                              <a:lumMod val="65000"/>
                              <a:lumOff val="35000"/>
                            </a:schemeClr>
                          </a:solidFill>
                          <a:latin typeface="Cambria Math" panose="02040503050406030204" pitchFamily="18" charset="0"/>
                        </a:rPr>
                        <m:t>5 </m:t>
                      </m:r>
                      <m:r>
                        <m:rPr>
                          <m:sty m:val="p"/>
                        </m:rPr>
                        <a:rPr lang="en-CA" sz="900" noProof="1">
                          <a:solidFill>
                            <a:schemeClr val="tx1">
                              <a:lumMod val="65000"/>
                              <a:lumOff val="35000"/>
                            </a:schemeClr>
                          </a:solidFill>
                          <a:latin typeface="Cambria Math" panose="02040503050406030204" pitchFamily="18" charset="0"/>
                        </a:rPr>
                        <m:t>by</m:t>
                      </m:r>
                      <m:r>
                        <a:rPr lang="en-CA" sz="900" b="0" i="0" noProof="1" smtClean="0">
                          <a:solidFill>
                            <a:schemeClr val="tx1">
                              <a:lumMod val="65000"/>
                              <a:lumOff val="35000"/>
                            </a:schemeClr>
                          </a:solidFill>
                          <a:latin typeface="Cambria Math" panose="02040503050406030204" pitchFamily="18" charset="0"/>
                        </a:rPr>
                        <m:t> </m:t>
                      </m:r>
                      <m:r>
                        <a:rPr lang="en-CA" sz="900" noProof="1">
                          <a:solidFill>
                            <a:schemeClr val="tx1">
                              <a:lumMod val="65000"/>
                              <a:lumOff val="35000"/>
                            </a:schemeClr>
                          </a:solidFill>
                          <a:latin typeface="Cambria Math" panose="02040503050406030204" pitchFamily="18" charset="0"/>
                        </a:rPr>
                        <m:t>30</m:t>
                      </m:r>
                      <m:r>
                        <a:rPr lang="en-US" sz="900" noProof="1">
                          <a:solidFill>
                            <a:schemeClr val="tx1">
                              <a:lumMod val="65000"/>
                              <a:lumOff val="35000"/>
                            </a:schemeClr>
                          </a:solidFill>
                          <a:latin typeface="Cambria Math" panose="02040503050406030204" pitchFamily="18" charset="0"/>
                        </a:rPr>
                        <m:t>±</m:t>
                      </m:r>
                      <m:r>
                        <a:rPr lang="en-CA" sz="900" noProof="1">
                          <a:solidFill>
                            <a:schemeClr val="tx1">
                              <a:lumMod val="65000"/>
                              <a:lumOff val="35000"/>
                            </a:schemeClr>
                          </a:solidFill>
                          <a:latin typeface="Cambria Math" panose="02040503050406030204" pitchFamily="18" charset="0"/>
                        </a:rPr>
                        <m:t>5</m:t>
                      </m:r>
                      <m:r>
                        <a:rPr lang="en-CA" sz="900" b="0" i="0" noProof="1" smtClean="0">
                          <a:solidFill>
                            <a:schemeClr val="tx1">
                              <a:lumMod val="65000"/>
                              <a:lumOff val="35000"/>
                            </a:schemeClr>
                          </a:solidFill>
                          <a:latin typeface="Cambria Math" panose="02040503050406030204" pitchFamily="18" charset="0"/>
                        </a:rPr>
                        <m:t> </m:t>
                      </m:r>
                      <m:r>
                        <m:rPr>
                          <m:sty m:val="p"/>
                        </m:rPr>
                        <a:rPr lang="en-CA" sz="900" b="0" i="0" noProof="1" smtClean="0">
                          <a:solidFill>
                            <a:schemeClr val="tx1">
                              <a:lumMod val="65000"/>
                              <a:lumOff val="35000"/>
                            </a:schemeClr>
                          </a:solidFill>
                          <a:latin typeface="Cambria Math" panose="02040503050406030204" pitchFamily="18" charset="0"/>
                        </a:rPr>
                        <m:t>cm</m:t>
                      </m:r>
                    </m:oMath>
                  </a14:m>
                  <a:endParaRPr lang="en-US" sz="900" noProof="1">
                    <a:solidFill>
                      <a:schemeClr val="tx1">
                        <a:lumMod val="65000"/>
                        <a:lumOff val="35000"/>
                      </a:schemeClr>
                    </a:solidFill>
                  </a:endParaRPr>
                </a:p>
              </p:txBody>
            </p:sp>
          </mc:Choice>
          <mc:Fallback xmlns="">
            <p:sp>
              <p:nvSpPr>
                <p:cNvPr id="36" name="TextBox 35">
                  <a:extLst>
                    <a:ext uri="{FF2B5EF4-FFF2-40B4-BE49-F238E27FC236}">
                      <a16:creationId xmlns:a16="http://schemas.microsoft.com/office/drawing/2014/main" id="{4FCF52CB-FEAE-C2D3-9AE8-12855B355B17}"/>
                    </a:ext>
                  </a:extLst>
                </p:cNvPr>
                <p:cNvSpPr txBox="1">
                  <a:spLocks noRot="1" noChangeAspect="1" noMove="1" noResize="1" noEditPoints="1" noAdjustHandles="1" noChangeArrowheads="1" noChangeShapeType="1" noTextEdit="1"/>
                </p:cNvSpPr>
                <p:nvPr/>
              </p:nvSpPr>
              <p:spPr>
                <a:xfrm>
                  <a:off x="8221931" y="1601270"/>
                  <a:ext cx="2929293" cy="307776"/>
                </a:xfrm>
                <a:prstGeom prst="rect">
                  <a:avLst/>
                </a:prstGeom>
                <a:blipFill>
                  <a:blip r:embed="rId2"/>
                  <a:stretch>
                    <a:fillRect l="-3324" r="-277" b="-13158"/>
                  </a:stretch>
                </a:blipFill>
              </p:spPr>
              <p:txBody>
                <a:bodyPr/>
                <a:lstStyle/>
                <a:p>
                  <a:r>
                    <a:rPr lang="en-US">
                      <a:noFill/>
                    </a:rPr>
                    <a:t> </a:t>
                  </a:r>
                </a:p>
              </p:txBody>
            </p:sp>
          </mc:Fallback>
        </mc:AlternateContent>
      </p:grpSp>
      <p:grpSp>
        <p:nvGrpSpPr>
          <p:cNvPr id="37" name="Group 36">
            <a:extLst>
              <a:ext uri="{FF2B5EF4-FFF2-40B4-BE49-F238E27FC236}">
                <a16:creationId xmlns:a16="http://schemas.microsoft.com/office/drawing/2014/main" id="{C3640EF1-9BCB-4C65-C42C-D106B86B8980}"/>
              </a:ext>
            </a:extLst>
          </p:cNvPr>
          <p:cNvGrpSpPr/>
          <p:nvPr/>
        </p:nvGrpSpPr>
        <p:grpSpPr>
          <a:xfrm>
            <a:off x="8376349" y="2462996"/>
            <a:ext cx="2202816" cy="825981"/>
            <a:chOff x="8691189" y="2334521"/>
            <a:chExt cx="2937088" cy="1101308"/>
          </a:xfrm>
        </p:grpSpPr>
        <p:sp>
          <p:nvSpPr>
            <p:cNvPr id="38" name="TextBox 37">
              <a:extLst>
                <a:ext uri="{FF2B5EF4-FFF2-40B4-BE49-F238E27FC236}">
                  <a16:creationId xmlns:a16="http://schemas.microsoft.com/office/drawing/2014/main" id="{14BBB90A-A806-50D4-A0E5-2952B9895CF3}"/>
                </a:ext>
              </a:extLst>
            </p:cNvPr>
            <p:cNvSpPr txBox="1"/>
            <p:nvPr/>
          </p:nvSpPr>
          <p:spPr>
            <a:xfrm>
              <a:off x="8691189" y="2334521"/>
              <a:ext cx="2937088" cy="492442"/>
            </a:xfrm>
            <a:prstGeom prst="rect">
              <a:avLst/>
            </a:prstGeom>
            <a:noFill/>
          </p:spPr>
          <p:txBody>
            <a:bodyPr wrap="square" lIns="0" rIns="0" rtlCol="0" anchor="b">
              <a:spAutoFit/>
            </a:bodyPr>
            <a:lstStyle/>
            <a:p>
              <a:r>
                <a:rPr lang="en-US" b="1" cap="all" noProof="1">
                  <a:solidFill>
                    <a:srgbClr val="6AB0E2"/>
                  </a:solidFill>
                </a:rPr>
                <a:t>BALANCE</a:t>
              </a:r>
            </a:p>
          </p:txBody>
        </p:sp>
        <p:sp>
          <p:nvSpPr>
            <p:cNvPr id="39" name="TextBox 38">
              <a:extLst>
                <a:ext uri="{FF2B5EF4-FFF2-40B4-BE49-F238E27FC236}">
                  <a16:creationId xmlns:a16="http://schemas.microsoft.com/office/drawing/2014/main" id="{157A5026-833C-B9F6-7162-988B2E4C4CF3}"/>
                </a:ext>
              </a:extLst>
            </p:cNvPr>
            <p:cNvSpPr txBox="1"/>
            <p:nvPr/>
          </p:nvSpPr>
          <p:spPr>
            <a:xfrm>
              <a:off x="8698984" y="2758721"/>
              <a:ext cx="2929293" cy="677108"/>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Platform must be able to balance balls, even under physical distrurbance for at least 10 seconds</a:t>
              </a:r>
            </a:p>
          </p:txBody>
        </p:sp>
      </p:grpSp>
      <p:grpSp>
        <p:nvGrpSpPr>
          <p:cNvPr id="40" name="Group 39">
            <a:extLst>
              <a:ext uri="{FF2B5EF4-FFF2-40B4-BE49-F238E27FC236}">
                <a16:creationId xmlns:a16="http://schemas.microsoft.com/office/drawing/2014/main" id="{2F1D0927-148C-C504-133F-EDF9AF200DF4}"/>
              </a:ext>
            </a:extLst>
          </p:cNvPr>
          <p:cNvGrpSpPr/>
          <p:nvPr/>
        </p:nvGrpSpPr>
        <p:grpSpPr>
          <a:xfrm>
            <a:off x="8376349" y="3486408"/>
            <a:ext cx="2202816" cy="687482"/>
            <a:chOff x="8691189" y="3489496"/>
            <a:chExt cx="2937088" cy="916643"/>
          </a:xfrm>
        </p:grpSpPr>
        <p:sp>
          <p:nvSpPr>
            <p:cNvPr id="41" name="TextBox 40">
              <a:extLst>
                <a:ext uri="{FF2B5EF4-FFF2-40B4-BE49-F238E27FC236}">
                  <a16:creationId xmlns:a16="http://schemas.microsoft.com/office/drawing/2014/main" id="{1331FBDA-3F39-A0B0-C58E-6B45CE1D0D9F}"/>
                </a:ext>
              </a:extLst>
            </p:cNvPr>
            <p:cNvSpPr txBox="1"/>
            <p:nvPr/>
          </p:nvSpPr>
          <p:spPr>
            <a:xfrm>
              <a:off x="8691189" y="3489496"/>
              <a:ext cx="2937088" cy="492442"/>
            </a:xfrm>
            <a:prstGeom prst="rect">
              <a:avLst/>
            </a:prstGeom>
            <a:noFill/>
          </p:spPr>
          <p:txBody>
            <a:bodyPr wrap="square" lIns="0" rIns="0" rtlCol="0" anchor="b">
              <a:spAutoFit/>
            </a:bodyPr>
            <a:lstStyle/>
            <a:p>
              <a:r>
                <a:rPr lang="en-US" b="1" cap="all" noProof="1">
                  <a:solidFill>
                    <a:schemeClr val="accent3">
                      <a:lumMod val="75000"/>
                    </a:schemeClr>
                  </a:solidFill>
                </a:rPr>
                <a:t>Trajectory</a:t>
              </a:r>
            </a:p>
          </p:txBody>
        </p:sp>
        <p:sp>
          <p:nvSpPr>
            <p:cNvPr id="42" name="TextBox 41">
              <a:extLst>
                <a:ext uri="{FF2B5EF4-FFF2-40B4-BE49-F238E27FC236}">
                  <a16:creationId xmlns:a16="http://schemas.microsoft.com/office/drawing/2014/main" id="{456D3FC9-FB1D-E320-F941-5F34C0978EE9}"/>
                </a:ext>
              </a:extLst>
            </p:cNvPr>
            <p:cNvSpPr txBox="1"/>
            <p:nvPr/>
          </p:nvSpPr>
          <p:spPr>
            <a:xfrm>
              <a:off x="8698984" y="3913696"/>
              <a:ext cx="2929293" cy="492443"/>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Platform must be able to move balls along a fixed path.</a:t>
              </a:r>
            </a:p>
          </p:txBody>
        </p:sp>
      </p:grpSp>
      <p:grpSp>
        <p:nvGrpSpPr>
          <p:cNvPr id="46" name="Group 45">
            <a:extLst>
              <a:ext uri="{FF2B5EF4-FFF2-40B4-BE49-F238E27FC236}">
                <a16:creationId xmlns:a16="http://schemas.microsoft.com/office/drawing/2014/main" id="{08D91908-A7B9-6AB3-7B0B-1A2861796815}"/>
              </a:ext>
            </a:extLst>
          </p:cNvPr>
          <p:cNvGrpSpPr/>
          <p:nvPr/>
        </p:nvGrpSpPr>
        <p:grpSpPr>
          <a:xfrm>
            <a:off x="8376349" y="4509821"/>
            <a:ext cx="2202816" cy="687482"/>
            <a:chOff x="8691189" y="3489496"/>
            <a:chExt cx="2937088" cy="916643"/>
          </a:xfrm>
        </p:grpSpPr>
        <p:sp>
          <p:nvSpPr>
            <p:cNvPr id="47" name="TextBox 46">
              <a:extLst>
                <a:ext uri="{FF2B5EF4-FFF2-40B4-BE49-F238E27FC236}">
                  <a16:creationId xmlns:a16="http://schemas.microsoft.com/office/drawing/2014/main" id="{679D201F-28C5-6960-9C57-22ECA8D619C6}"/>
                </a:ext>
              </a:extLst>
            </p:cNvPr>
            <p:cNvSpPr txBox="1"/>
            <p:nvPr/>
          </p:nvSpPr>
          <p:spPr>
            <a:xfrm>
              <a:off x="8691189" y="3489496"/>
              <a:ext cx="2937088" cy="492442"/>
            </a:xfrm>
            <a:prstGeom prst="rect">
              <a:avLst/>
            </a:prstGeom>
            <a:noFill/>
          </p:spPr>
          <p:txBody>
            <a:bodyPr wrap="square" lIns="0" rIns="0" rtlCol="0" anchor="b">
              <a:spAutoFit/>
            </a:bodyPr>
            <a:lstStyle/>
            <a:p>
              <a:r>
                <a:rPr lang="en-US" b="1" cap="all" noProof="1">
                  <a:solidFill>
                    <a:schemeClr val="accent3">
                      <a:lumMod val="50000"/>
                    </a:schemeClr>
                  </a:solidFill>
                </a:rPr>
                <a:t>BUDGET</a:t>
              </a:r>
            </a:p>
          </p:txBody>
        </p:sp>
        <p:sp>
          <p:nvSpPr>
            <p:cNvPr id="48" name="TextBox 47">
              <a:extLst>
                <a:ext uri="{FF2B5EF4-FFF2-40B4-BE49-F238E27FC236}">
                  <a16:creationId xmlns:a16="http://schemas.microsoft.com/office/drawing/2014/main" id="{DB6F16A6-6A3D-4047-F0F9-431A9B3D1069}"/>
                </a:ext>
              </a:extLst>
            </p:cNvPr>
            <p:cNvSpPr txBox="1"/>
            <p:nvPr/>
          </p:nvSpPr>
          <p:spPr>
            <a:xfrm>
              <a:off x="8698984" y="3913696"/>
              <a:ext cx="2929293" cy="492443"/>
            </a:xfrm>
            <a:prstGeom prst="rect">
              <a:avLst/>
            </a:prstGeom>
            <a:noFill/>
          </p:spPr>
          <p:txBody>
            <a:bodyPr wrap="square" lIns="0" rIns="0" rtlCol="0" anchor="t">
              <a:spAutoFit/>
            </a:bodyPr>
            <a:lstStyle/>
            <a:p>
              <a:pPr algn="just"/>
              <a:r>
                <a:rPr lang="en-US" sz="900" noProof="1">
                  <a:solidFill>
                    <a:schemeClr val="tx1">
                      <a:lumMod val="65000"/>
                      <a:lumOff val="35000"/>
                    </a:schemeClr>
                  </a:solidFill>
                </a:rPr>
                <a:t>The total cost of components must be under $150 CAD</a:t>
              </a:r>
            </a:p>
          </p:txBody>
        </p:sp>
      </p:grpSp>
      <p:sp>
        <p:nvSpPr>
          <p:cNvPr id="50" name="TextBox 49">
            <a:extLst>
              <a:ext uri="{FF2B5EF4-FFF2-40B4-BE49-F238E27FC236}">
                <a16:creationId xmlns:a16="http://schemas.microsoft.com/office/drawing/2014/main" id="{ADFF8067-32C4-317A-3CFF-29D5FA08428B}"/>
              </a:ext>
            </a:extLst>
          </p:cNvPr>
          <p:cNvSpPr txBox="1"/>
          <p:nvPr/>
        </p:nvSpPr>
        <p:spPr>
          <a:xfrm>
            <a:off x="2155430" y="3486411"/>
            <a:ext cx="2194560" cy="646331"/>
          </a:xfrm>
          <a:prstGeom prst="rect">
            <a:avLst/>
          </a:prstGeom>
          <a:noFill/>
        </p:spPr>
        <p:txBody>
          <a:bodyPr wrap="square" lIns="0" rIns="0" rtlCol="0" anchor="b">
            <a:spAutoFit/>
          </a:bodyPr>
          <a:lstStyle/>
          <a:p>
            <a:pPr algn="ctr"/>
            <a:r>
              <a:rPr lang="en-US" b="1" noProof="1"/>
              <a:t>Stewart Platfrom Constraints</a:t>
            </a:r>
          </a:p>
        </p:txBody>
      </p:sp>
      <p:pic>
        <p:nvPicPr>
          <p:cNvPr id="53" name="Graphic 52" descr="Ruler outline">
            <a:extLst>
              <a:ext uri="{FF2B5EF4-FFF2-40B4-BE49-F238E27FC236}">
                <a16:creationId xmlns:a16="http://schemas.microsoft.com/office/drawing/2014/main" id="{8560EA17-B424-D4C8-2641-D7FD835871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0398" y="1755877"/>
            <a:ext cx="914400" cy="914400"/>
          </a:xfrm>
          <a:prstGeom prst="rect">
            <a:avLst/>
          </a:prstGeom>
        </p:spPr>
      </p:pic>
      <p:pic>
        <p:nvPicPr>
          <p:cNvPr id="55" name="Graphic 54" descr="Lightbulb and gear outline">
            <a:extLst>
              <a:ext uri="{FF2B5EF4-FFF2-40B4-BE49-F238E27FC236}">
                <a16:creationId xmlns:a16="http://schemas.microsoft.com/office/drawing/2014/main" id="{14203C8C-D236-4518-BE51-4EB8657FCA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1294" y="3398539"/>
            <a:ext cx="914400" cy="914400"/>
          </a:xfrm>
          <a:prstGeom prst="rect">
            <a:avLst/>
          </a:prstGeom>
        </p:spPr>
      </p:pic>
      <p:pic>
        <p:nvPicPr>
          <p:cNvPr id="59" name="Graphic 58" descr="Scales of justice outline">
            <a:extLst>
              <a:ext uri="{FF2B5EF4-FFF2-40B4-BE49-F238E27FC236}">
                <a16:creationId xmlns:a16="http://schemas.microsoft.com/office/drawing/2014/main" id="{A372C509-3E70-17AC-B66A-59F32CB15A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68146" y="2369225"/>
            <a:ext cx="914400" cy="914400"/>
          </a:xfrm>
          <a:prstGeom prst="rect">
            <a:avLst/>
          </a:prstGeom>
        </p:spPr>
      </p:pic>
      <p:pic>
        <p:nvPicPr>
          <p:cNvPr id="61" name="Graphic 60" descr="Route (Two Pins With A Path) outline">
            <a:extLst>
              <a:ext uri="{FF2B5EF4-FFF2-40B4-BE49-F238E27FC236}">
                <a16:creationId xmlns:a16="http://schemas.microsoft.com/office/drawing/2014/main" id="{395E112B-B209-7734-58C7-C139689932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66767" y="3402537"/>
            <a:ext cx="914400" cy="914400"/>
          </a:xfrm>
          <a:prstGeom prst="rect">
            <a:avLst/>
          </a:prstGeom>
        </p:spPr>
      </p:pic>
      <p:pic>
        <p:nvPicPr>
          <p:cNvPr id="63" name="Graphic 62" descr="Dollar outline">
            <a:extLst>
              <a:ext uri="{FF2B5EF4-FFF2-40B4-BE49-F238E27FC236}">
                <a16:creationId xmlns:a16="http://schemas.microsoft.com/office/drawing/2014/main" id="{22987729-5473-6354-CBBB-BFF4ED82562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4341" y="4475752"/>
            <a:ext cx="914400" cy="914400"/>
          </a:xfrm>
          <a:prstGeom prst="rect">
            <a:avLst/>
          </a:prstGeom>
        </p:spPr>
      </p:pic>
      <p:pic>
        <p:nvPicPr>
          <p:cNvPr id="65" name="Graphic 64" descr="Dumbbell outline">
            <a:extLst>
              <a:ext uri="{FF2B5EF4-FFF2-40B4-BE49-F238E27FC236}">
                <a16:creationId xmlns:a16="http://schemas.microsoft.com/office/drawing/2014/main" id="{1BF856F9-DE8D-7340-DF64-20A88DA7D5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45566" y="5099888"/>
            <a:ext cx="914400" cy="914400"/>
          </a:xfrm>
          <a:prstGeom prst="rect">
            <a:avLst/>
          </a:prstGeom>
        </p:spPr>
      </p:pic>
      <p:sp>
        <p:nvSpPr>
          <p:cNvPr id="66" name="Textplatzhalter 42">
            <a:extLst>
              <a:ext uri="{FF2B5EF4-FFF2-40B4-BE49-F238E27FC236}">
                <a16:creationId xmlns:a16="http://schemas.microsoft.com/office/drawing/2014/main" id="{E0B822B0-B1CE-6A20-F8A5-049C02FB9828}"/>
              </a:ext>
            </a:extLst>
          </p:cNvPr>
          <p:cNvSpPr>
            <a:spLocks noGrp="1"/>
          </p:cNvSpPr>
          <p:nvPr>
            <p:ph type="body" sz="quarter" idx="59"/>
          </p:nvPr>
        </p:nvSpPr>
        <p:spPr>
          <a:xfrm>
            <a:off x="518319" y="642855"/>
            <a:ext cx="9740106" cy="369332"/>
          </a:xfrm>
        </p:spPr>
        <p:txBody>
          <a:bodyPr/>
          <a:lstStyle/>
          <a:p>
            <a:r>
              <a:rPr lang="de-DE">
                <a:cs typeface="Arial"/>
              </a:rPr>
              <a:t>Must-Haves for this Project</a:t>
            </a:r>
            <a:endParaRPr lang="de-DE"/>
          </a:p>
        </p:txBody>
      </p:sp>
    </p:spTree>
    <p:extLst>
      <p:ext uri="{BB962C8B-B14F-4D97-AF65-F5344CB8AC3E}">
        <p14:creationId xmlns:p14="http://schemas.microsoft.com/office/powerpoint/2010/main" val="3402755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3A612CA-2592-4795-DB7E-CE4E0F65DCB0}"/>
              </a:ext>
            </a:extLst>
          </p:cNvPr>
          <p:cNvSpPr/>
          <p:nvPr/>
        </p:nvSpPr>
        <p:spPr>
          <a:xfrm>
            <a:off x="515843" y="1128431"/>
            <a:ext cx="4238813" cy="4335929"/>
          </a:xfrm>
          <a:prstGeom prst="roundRect">
            <a:avLst/>
          </a:prstGeom>
          <a:solidFill>
            <a:srgbClr val="F0A1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342900" indent="-342900">
              <a:spcAft>
                <a:spcPts val="800"/>
              </a:spcAft>
              <a:buFont typeface="Wingdings"/>
              <a:buChar char="v"/>
            </a:pPr>
            <a:r>
              <a:rPr lang="en-US" sz="2000">
                <a:solidFill>
                  <a:srgbClr val="000000"/>
                </a:solidFill>
                <a:latin typeface="Calibri"/>
                <a:ea typeface="Calibri"/>
                <a:cs typeface="Calibri"/>
              </a:rPr>
              <a:t>Design criteria are a list of additional </a:t>
            </a:r>
            <a:r>
              <a:rPr lang="en-US" sz="2000" i="1">
                <a:solidFill>
                  <a:srgbClr val="000000"/>
                </a:solidFill>
                <a:latin typeface="Calibri"/>
                <a:ea typeface="Calibri"/>
                <a:cs typeface="Calibri"/>
              </a:rPr>
              <a:t>"nice-to-have " </a:t>
            </a:r>
            <a:r>
              <a:rPr lang="en-US" sz="2000">
                <a:solidFill>
                  <a:srgbClr val="000000"/>
                </a:solidFill>
                <a:latin typeface="Calibri"/>
                <a:ea typeface="Calibri"/>
                <a:cs typeface="Calibri"/>
              </a:rPr>
              <a:t>features our team had compiled.</a:t>
            </a:r>
          </a:p>
          <a:p>
            <a:pPr marL="285750" indent="-285750">
              <a:spcAft>
                <a:spcPts val="800"/>
              </a:spcAft>
              <a:buFont typeface="Wingdings"/>
              <a:buChar char="v"/>
            </a:pPr>
            <a:r>
              <a:rPr lang="en-US" sz="2000">
                <a:solidFill>
                  <a:srgbClr val="000000"/>
                </a:solidFill>
                <a:latin typeface="Calibri"/>
                <a:ea typeface="Calibri"/>
                <a:cs typeface="Calibri"/>
              </a:rPr>
              <a:t>Unlike design constraints, they are not essential the functioning of the </a:t>
            </a:r>
            <a:r>
              <a:rPr lang="en-US" sz="2000" err="1">
                <a:solidFill>
                  <a:srgbClr val="000000"/>
                </a:solidFill>
                <a:latin typeface="Calibri"/>
                <a:ea typeface="Calibri"/>
                <a:cs typeface="Calibri"/>
              </a:rPr>
              <a:t>stewart</a:t>
            </a:r>
            <a:r>
              <a:rPr lang="en-US" sz="2000">
                <a:solidFill>
                  <a:srgbClr val="000000"/>
                </a:solidFill>
                <a:latin typeface="Calibri"/>
                <a:ea typeface="Calibri"/>
                <a:cs typeface="Calibri"/>
              </a:rPr>
              <a:t> platform but serve to optimize the system and help it function more effectively</a:t>
            </a:r>
          </a:p>
          <a:p>
            <a:pPr>
              <a:spcAft>
                <a:spcPts val="800"/>
              </a:spcAft>
            </a:pPr>
            <a:endParaRPr lang="en-US" sz="1600">
              <a:solidFill>
                <a:srgbClr val="000000"/>
              </a:solidFill>
              <a:latin typeface="ZEISS Frutiger Next W1G"/>
              <a:ea typeface="Calibri"/>
              <a:cs typeface="Calibri"/>
            </a:endParaRPr>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5</a:t>
            </a:fld>
            <a:endParaRPr lang="de-DE"/>
          </a:p>
        </p:txBody>
      </p:sp>
      <p:sp>
        <p:nvSpPr>
          <p:cNvPr id="7" name="Rectangle: Rounded Corners 6">
            <a:extLst>
              <a:ext uri="{FF2B5EF4-FFF2-40B4-BE49-F238E27FC236}">
                <a16:creationId xmlns:a16="http://schemas.microsoft.com/office/drawing/2014/main" id="{EA693674-A127-EECA-D728-BF1BA6F6E6DC}"/>
              </a:ext>
            </a:extLst>
          </p:cNvPr>
          <p:cNvSpPr/>
          <p:nvPr/>
        </p:nvSpPr>
        <p:spPr>
          <a:xfrm>
            <a:off x="6017688" y="1126565"/>
            <a:ext cx="4136335" cy="705224"/>
          </a:xfrm>
          <a:prstGeom prst="roundRect">
            <a:avLst/>
          </a:prstGeom>
          <a:solidFill>
            <a:srgbClr val="92FC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r>
              <a:rPr lang="en-US" sz="2000">
                <a:solidFill>
                  <a:srgbClr val="000000"/>
                </a:solidFill>
                <a:latin typeface="Calibri"/>
                <a:ea typeface="Calibri"/>
                <a:cs typeface="Calibri"/>
              </a:rPr>
              <a:t>List of Design Criteria</a:t>
            </a:r>
          </a:p>
          <a:p>
            <a:pPr>
              <a:spcAft>
                <a:spcPts val="800"/>
              </a:spcAft>
            </a:pPr>
            <a:endParaRPr lang="en-US" sz="2000" b="0" i="0" u="none" strike="noStrike" kern="1200" cap="none" spc="0" normalizeH="0" baseline="0" noProof="0">
              <a:ln>
                <a:noFill/>
              </a:ln>
              <a:solidFill>
                <a:srgbClr val="000000"/>
              </a:solidFill>
              <a:effectLst/>
              <a:uLnTx/>
              <a:uFillTx/>
              <a:latin typeface="Calibri"/>
              <a:ea typeface="Calibri"/>
              <a:cs typeface="Calibri"/>
            </a:endParaRPr>
          </a:p>
        </p:txBody>
      </p:sp>
      <p:sp>
        <p:nvSpPr>
          <p:cNvPr id="16" name="Arrow: Left 15">
            <a:extLst>
              <a:ext uri="{FF2B5EF4-FFF2-40B4-BE49-F238E27FC236}">
                <a16:creationId xmlns:a16="http://schemas.microsoft.com/office/drawing/2014/main" id="{65BEF18B-9510-1A3B-AF11-3061853B54AB}"/>
              </a:ext>
            </a:extLst>
          </p:cNvPr>
          <p:cNvSpPr/>
          <p:nvPr/>
        </p:nvSpPr>
        <p:spPr>
          <a:xfrm rot="10800000">
            <a:off x="6013009" y="1971780"/>
            <a:ext cx="978408" cy="484631"/>
          </a:xfrm>
          <a:prstGeom prst="leftArrow">
            <a:avLst/>
          </a:prstGeom>
          <a:solidFill>
            <a:srgbClr val="222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0" name="Rectangle: Rounded Corners 19">
            <a:extLst>
              <a:ext uri="{FF2B5EF4-FFF2-40B4-BE49-F238E27FC236}">
                <a16:creationId xmlns:a16="http://schemas.microsoft.com/office/drawing/2014/main" id="{DB9649A0-FB0D-1010-54D2-70A0A7833456}"/>
              </a:ext>
            </a:extLst>
          </p:cNvPr>
          <p:cNvSpPr/>
          <p:nvPr/>
        </p:nvSpPr>
        <p:spPr>
          <a:xfrm>
            <a:off x="323476" y="5597712"/>
            <a:ext cx="11545046" cy="705225"/>
          </a:xfrm>
          <a:prstGeom prst="round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spcAft>
                <a:spcPts val="800"/>
              </a:spcAft>
              <a:buFont typeface="Arial"/>
              <a:buChar char="•"/>
            </a:pPr>
            <a:r>
              <a:rPr lang="en-US" sz="2000">
                <a:solidFill>
                  <a:srgbClr val="000000"/>
                </a:solidFill>
                <a:latin typeface="Calibri"/>
                <a:ea typeface="Calibri"/>
                <a:cs typeface="Calibri"/>
              </a:rPr>
              <a:t>Design criteria, alongside the design constraints, are used as guidelines for Stewart platform designs</a:t>
            </a:r>
          </a:p>
          <a:p>
            <a:pPr marL="285750" indent="-285750">
              <a:spcAft>
                <a:spcPts val="800"/>
              </a:spcAft>
              <a:buFont typeface="Arial"/>
              <a:buChar char="•"/>
            </a:pPr>
            <a:endParaRPr lang="en-US" sz="2000">
              <a:solidFill>
                <a:srgbClr val="000000"/>
              </a:solidFill>
              <a:latin typeface="Calibri"/>
              <a:ea typeface="Calibri"/>
              <a:cs typeface="Calibri"/>
            </a:endParaRPr>
          </a:p>
          <a:p>
            <a:pPr marL="285750" indent="-285750">
              <a:spcAft>
                <a:spcPts val="800"/>
              </a:spcAft>
              <a:buFont typeface="Arial"/>
              <a:buChar char="•"/>
            </a:pPr>
            <a:endParaRPr lang="en-US" sz="1600">
              <a:solidFill>
                <a:srgbClr val="000000"/>
              </a:solidFill>
              <a:latin typeface="ZEISS Frutiger Next W1G"/>
              <a:ea typeface="Calibri"/>
              <a:cs typeface="Calibri"/>
            </a:endParaRPr>
          </a:p>
        </p:txBody>
      </p:sp>
      <p:sp>
        <p:nvSpPr>
          <p:cNvPr id="21" name="Arrow: Left 20">
            <a:extLst>
              <a:ext uri="{FF2B5EF4-FFF2-40B4-BE49-F238E27FC236}">
                <a16:creationId xmlns:a16="http://schemas.microsoft.com/office/drawing/2014/main" id="{997EEFC8-C82A-82F0-A051-FB11AE4CB378}"/>
              </a:ext>
            </a:extLst>
          </p:cNvPr>
          <p:cNvSpPr/>
          <p:nvPr/>
        </p:nvSpPr>
        <p:spPr>
          <a:xfrm rot="10800000">
            <a:off x="6013008" y="2666544"/>
            <a:ext cx="978408" cy="484631"/>
          </a:xfrm>
          <a:prstGeom prst="leftArrow">
            <a:avLst/>
          </a:prstGeom>
          <a:solidFill>
            <a:srgbClr val="222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2" name="Arrow: Left 21">
            <a:extLst>
              <a:ext uri="{FF2B5EF4-FFF2-40B4-BE49-F238E27FC236}">
                <a16:creationId xmlns:a16="http://schemas.microsoft.com/office/drawing/2014/main" id="{BCC7FC26-6152-9264-3CC5-8EB4A7DF7782}"/>
              </a:ext>
            </a:extLst>
          </p:cNvPr>
          <p:cNvSpPr/>
          <p:nvPr/>
        </p:nvSpPr>
        <p:spPr>
          <a:xfrm rot="10800000">
            <a:off x="6027949" y="3241779"/>
            <a:ext cx="978408" cy="484631"/>
          </a:xfrm>
          <a:prstGeom prst="leftArrow">
            <a:avLst/>
          </a:prstGeom>
          <a:solidFill>
            <a:srgbClr val="222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3" name="Arrow: Left 22">
            <a:extLst>
              <a:ext uri="{FF2B5EF4-FFF2-40B4-BE49-F238E27FC236}">
                <a16:creationId xmlns:a16="http://schemas.microsoft.com/office/drawing/2014/main" id="{EB6D6794-5066-0212-5AEE-2B457A937121}"/>
              </a:ext>
            </a:extLst>
          </p:cNvPr>
          <p:cNvSpPr/>
          <p:nvPr/>
        </p:nvSpPr>
        <p:spPr>
          <a:xfrm rot="10800000">
            <a:off x="6027950" y="3906662"/>
            <a:ext cx="978408" cy="484631"/>
          </a:xfrm>
          <a:prstGeom prst="leftArrow">
            <a:avLst/>
          </a:prstGeom>
          <a:solidFill>
            <a:srgbClr val="222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4" name="Arrow: Left 23">
            <a:extLst>
              <a:ext uri="{FF2B5EF4-FFF2-40B4-BE49-F238E27FC236}">
                <a16:creationId xmlns:a16="http://schemas.microsoft.com/office/drawing/2014/main" id="{470E7B34-D2C8-E805-D042-9EB9A53A94D2}"/>
              </a:ext>
            </a:extLst>
          </p:cNvPr>
          <p:cNvSpPr/>
          <p:nvPr/>
        </p:nvSpPr>
        <p:spPr>
          <a:xfrm rot="10800000">
            <a:off x="6013008" y="4571545"/>
            <a:ext cx="978408" cy="484631"/>
          </a:xfrm>
          <a:prstGeom prst="leftArrow">
            <a:avLst/>
          </a:prstGeom>
          <a:solidFill>
            <a:srgbClr val="2226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pPr>
            <a:endParaRPr kumimoji="0" lang="en-US" sz="1600" b="0" i="0" u="none" strike="noStrike" kern="1200" cap="none" spc="0" normalizeH="0" baseline="0" noProof="0">
              <a:ln>
                <a:noFill/>
              </a:ln>
              <a:solidFill>
                <a:srgbClr val="000000"/>
              </a:solidFill>
              <a:effectLst/>
              <a:uLnTx/>
              <a:uFillTx/>
              <a:latin typeface="ZEISS Frutiger Next W1G"/>
              <a:ea typeface="+mn-ea"/>
              <a:cs typeface="+mn-cs"/>
            </a:endParaRPr>
          </a:p>
        </p:txBody>
      </p:sp>
      <p:sp>
        <p:nvSpPr>
          <p:cNvPr id="25" name="Rectangle: Rounded Corners 24">
            <a:extLst>
              <a:ext uri="{FF2B5EF4-FFF2-40B4-BE49-F238E27FC236}">
                <a16:creationId xmlns:a16="http://schemas.microsoft.com/office/drawing/2014/main" id="{260FB528-A2DF-B204-1D5C-C7133353A86E}"/>
              </a:ext>
            </a:extLst>
          </p:cNvPr>
          <p:cNvSpPr/>
          <p:nvPr/>
        </p:nvSpPr>
        <p:spPr>
          <a:xfrm>
            <a:off x="6988175" y="1825999"/>
            <a:ext cx="3155576" cy="64546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Bouncing the Ball</a:t>
            </a:r>
            <a:endParaRPr lang="en-US" sz="2000" b="0" i="0" u="none" strike="noStrike" kern="1200" cap="none" spc="0" normalizeH="0" baseline="0" noProof="0">
              <a:ln>
                <a:noFill/>
              </a:ln>
              <a:solidFill>
                <a:srgbClr val="000000"/>
              </a:solidFill>
              <a:effectLst/>
              <a:uLnTx/>
              <a:uFillTx/>
              <a:latin typeface="Calibri"/>
              <a:ea typeface="Calibri"/>
              <a:cs typeface="Calibri"/>
            </a:endParaRPr>
          </a:p>
        </p:txBody>
      </p:sp>
      <p:sp>
        <p:nvSpPr>
          <p:cNvPr id="29" name="Rectangle: Rounded Corners 28">
            <a:extLst>
              <a:ext uri="{FF2B5EF4-FFF2-40B4-BE49-F238E27FC236}">
                <a16:creationId xmlns:a16="http://schemas.microsoft.com/office/drawing/2014/main" id="{B2E31E26-7605-181A-CC84-10C605EC18A1}"/>
              </a:ext>
            </a:extLst>
          </p:cNvPr>
          <p:cNvSpPr/>
          <p:nvPr/>
        </p:nvSpPr>
        <p:spPr>
          <a:xfrm>
            <a:off x="6988175" y="2468470"/>
            <a:ext cx="3163046" cy="68281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Cost Optimization</a:t>
            </a:r>
            <a:endParaRPr lang="en-US"/>
          </a:p>
        </p:txBody>
      </p:sp>
      <p:sp>
        <p:nvSpPr>
          <p:cNvPr id="30" name="Rectangle: Rounded Corners 29">
            <a:extLst>
              <a:ext uri="{FF2B5EF4-FFF2-40B4-BE49-F238E27FC236}">
                <a16:creationId xmlns:a16="http://schemas.microsoft.com/office/drawing/2014/main" id="{0BBF209B-ACF0-31AE-4CB9-B42FEEBD6AA4}"/>
              </a:ext>
            </a:extLst>
          </p:cNvPr>
          <p:cNvSpPr/>
          <p:nvPr/>
        </p:nvSpPr>
        <p:spPr>
          <a:xfrm>
            <a:off x="7003116" y="3155763"/>
            <a:ext cx="3148105" cy="660401"/>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Ease of construction</a:t>
            </a:r>
            <a:endParaRPr lang="en-US"/>
          </a:p>
        </p:txBody>
      </p:sp>
      <p:sp>
        <p:nvSpPr>
          <p:cNvPr id="31" name="Rectangle: Rounded Corners 30">
            <a:extLst>
              <a:ext uri="{FF2B5EF4-FFF2-40B4-BE49-F238E27FC236}">
                <a16:creationId xmlns:a16="http://schemas.microsoft.com/office/drawing/2014/main" id="{8EA47EE4-E898-2A48-A632-BB0D6C3C2CF0}"/>
              </a:ext>
            </a:extLst>
          </p:cNvPr>
          <p:cNvSpPr/>
          <p:nvPr/>
        </p:nvSpPr>
        <p:spPr>
          <a:xfrm>
            <a:off x="6988174" y="3820645"/>
            <a:ext cx="3148105" cy="66040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Reaction Speed/Controls</a:t>
            </a:r>
            <a:endParaRPr lang="en-US"/>
          </a:p>
        </p:txBody>
      </p:sp>
      <p:sp>
        <p:nvSpPr>
          <p:cNvPr id="32" name="Rectangle: Rounded Corners 31">
            <a:extLst>
              <a:ext uri="{FF2B5EF4-FFF2-40B4-BE49-F238E27FC236}">
                <a16:creationId xmlns:a16="http://schemas.microsoft.com/office/drawing/2014/main" id="{8F28253C-BC89-1278-BCDA-44522C03B04A}"/>
              </a:ext>
            </a:extLst>
          </p:cNvPr>
          <p:cNvSpPr/>
          <p:nvPr/>
        </p:nvSpPr>
        <p:spPr>
          <a:xfrm>
            <a:off x="7003116" y="4485527"/>
            <a:ext cx="3148105" cy="660401"/>
          </a:xfrm>
          <a:prstGeom prst="roundRect">
            <a:avLst/>
          </a:prstGeom>
          <a:solidFill>
            <a:srgbClr val="F0A1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Range of motion</a:t>
            </a:r>
            <a:endParaRPr lang="en-US"/>
          </a:p>
        </p:txBody>
      </p:sp>
      <p:sp>
        <p:nvSpPr>
          <p:cNvPr id="2" name="TextBox 1">
            <a:extLst>
              <a:ext uri="{FF2B5EF4-FFF2-40B4-BE49-F238E27FC236}">
                <a16:creationId xmlns:a16="http://schemas.microsoft.com/office/drawing/2014/main" id="{7C11D29D-3DBA-6816-BB54-2F59CA3BB9C7}"/>
              </a:ext>
            </a:extLst>
          </p:cNvPr>
          <p:cNvSpPr txBox="1"/>
          <p:nvPr/>
        </p:nvSpPr>
        <p:spPr>
          <a:xfrm>
            <a:off x="675341" y="309282"/>
            <a:ext cx="2743200"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a:latin typeface="Calibri"/>
              </a:rPr>
              <a:t>Design </a:t>
            </a:r>
            <a:r>
              <a:rPr lang="de-DE" sz="3200" b="1" err="1">
                <a:latin typeface="Calibri"/>
              </a:rPr>
              <a:t>Criteria</a:t>
            </a:r>
            <a:r>
              <a:rPr lang="de-DE" sz="3200">
                <a:latin typeface="Calibri"/>
              </a:rPr>
              <a:t>​​</a:t>
            </a:r>
            <a:r>
              <a:rPr lang="en-US" sz="3200">
                <a:latin typeface="Calibri"/>
                <a:ea typeface="Calibri"/>
                <a:cs typeface="Calibri"/>
              </a:rPr>
              <a:t>​</a:t>
            </a:r>
            <a:endParaRPr lang="en-US"/>
          </a:p>
        </p:txBody>
      </p:sp>
    </p:spTree>
    <p:extLst>
      <p:ext uri="{BB962C8B-B14F-4D97-AF65-F5344CB8AC3E}">
        <p14:creationId xmlns:p14="http://schemas.microsoft.com/office/powerpoint/2010/main" val="1787319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09B742C-F3DA-190D-9161-745E6CCCEF1B}"/>
              </a:ext>
            </a:extLst>
          </p:cNvPr>
          <p:cNvSpPr>
            <a:spLocks noGrp="1"/>
          </p:cNvSpPr>
          <p:nvPr>
            <p:ph type="sldNum" sz="quarter" idx="66"/>
          </p:nvPr>
        </p:nvSpPr>
        <p:spPr/>
        <p:txBody>
          <a:bodyPr/>
          <a:lstStyle/>
          <a:p>
            <a:fld id="{C6A4AD45-2621-4550-9DC5-4911F1B5FA4D}" type="slidenum">
              <a:rPr lang="de-DE" smtClean="0"/>
              <a:pPr/>
              <a:t>6</a:t>
            </a:fld>
            <a:endParaRPr lang="de-DE"/>
          </a:p>
        </p:txBody>
      </p:sp>
      <p:graphicFrame>
        <p:nvGraphicFramePr>
          <p:cNvPr id="12" name="Table 11">
            <a:extLst>
              <a:ext uri="{FF2B5EF4-FFF2-40B4-BE49-F238E27FC236}">
                <a16:creationId xmlns:a16="http://schemas.microsoft.com/office/drawing/2014/main" id="{34450D97-3342-FA72-52C2-8DF6240CF90A}"/>
              </a:ext>
            </a:extLst>
          </p:cNvPr>
          <p:cNvGraphicFramePr>
            <a:graphicFrameLocks noGrp="1"/>
          </p:cNvGraphicFramePr>
          <p:nvPr>
            <p:extLst>
              <p:ext uri="{D42A27DB-BD31-4B8C-83A1-F6EECF244321}">
                <p14:modId xmlns:p14="http://schemas.microsoft.com/office/powerpoint/2010/main" val="394461903"/>
              </p:ext>
            </p:extLst>
          </p:nvPr>
        </p:nvGraphicFramePr>
        <p:xfrm>
          <a:off x="518994" y="2819794"/>
          <a:ext cx="10603274" cy="3352800"/>
        </p:xfrm>
        <a:graphic>
          <a:graphicData uri="http://schemas.openxmlformats.org/drawingml/2006/table">
            <a:tbl>
              <a:tblPr firstRow="1" firstCol="1" bandRow="1">
                <a:tableStyleId>{69C7853C-536D-4A76-A0AE-DD22124D55A5}</a:tableStyleId>
              </a:tblPr>
              <a:tblGrid>
                <a:gridCol w="1743230">
                  <a:extLst>
                    <a:ext uri="{9D8B030D-6E8A-4147-A177-3AD203B41FA5}">
                      <a16:colId xmlns:a16="http://schemas.microsoft.com/office/drawing/2014/main" val="1688906500"/>
                    </a:ext>
                  </a:extLst>
                </a:gridCol>
                <a:gridCol w="1529750">
                  <a:extLst>
                    <a:ext uri="{9D8B030D-6E8A-4147-A177-3AD203B41FA5}">
                      <a16:colId xmlns:a16="http://schemas.microsoft.com/office/drawing/2014/main" val="4263206141"/>
                    </a:ext>
                  </a:extLst>
                </a:gridCol>
                <a:gridCol w="1605234">
                  <a:extLst>
                    <a:ext uri="{9D8B030D-6E8A-4147-A177-3AD203B41FA5}">
                      <a16:colId xmlns:a16="http://schemas.microsoft.com/office/drawing/2014/main" val="2355932853"/>
                    </a:ext>
                  </a:extLst>
                </a:gridCol>
                <a:gridCol w="1605234">
                  <a:extLst>
                    <a:ext uri="{9D8B030D-6E8A-4147-A177-3AD203B41FA5}">
                      <a16:colId xmlns:a16="http://schemas.microsoft.com/office/drawing/2014/main" val="2480773586"/>
                    </a:ext>
                  </a:extLst>
                </a:gridCol>
                <a:gridCol w="1697232">
                  <a:extLst>
                    <a:ext uri="{9D8B030D-6E8A-4147-A177-3AD203B41FA5}">
                      <a16:colId xmlns:a16="http://schemas.microsoft.com/office/drawing/2014/main" val="1657113308"/>
                    </a:ext>
                  </a:extLst>
                </a:gridCol>
                <a:gridCol w="1211297">
                  <a:extLst>
                    <a:ext uri="{9D8B030D-6E8A-4147-A177-3AD203B41FA5}">
                      <a16:colId xmlns:a16="http://schemas.microsoft.com/office/drawing/2014/main" val="2018922577"/>
                    </a:ext>
                  </a:extLst>
                </a:gridCol>
                <a:gridCol w="1211297">
                  <a:extLst>
                    <a:ext uri="{9D8B030D-6E8A-4147-A177-3AD203B41FA5}">
                      <a16:colId xmlns:a16="http://schemas.microsoft.com/office/drawing/2014/main" val="1761524987"/>
                    </a:ext>
                  </a:extLst>
                </a:gridCol>
              </a:tblGrid>
              <a:tr h="0">
                <a:tc>
                  <a:txBody>
                    <a:bodyPr/>
                    <a:lstStyle/>
                    <a:p>
                      <a:pPr>
                        <a:tabLst>
                          <a:tab pos="457200" algn="l"/>
                        </a:tabLst>
                      </a:pPr>
                      <a:r>
                        <a:rPr lang="en-US" sz="2000">
                          <a:solidFill>
                            <a:srgbClr val="000000"/>
                          </a:solidFill>
                          <a:effectLst/>
                        </a:rPr>
                        <a:t>Criteria</a:t>
                      </a:r>
                    </a:p>
                  </a:txBody>
                  <a:tcPr marL="68580" marR="68580" marT="0" marB="0"/>
                </a:tc>
                <a:tc>
                  <a:txBody>
                    <a:bodyPr/>
                    <a:lstStyle/>
                    <a:p>
                      <a:pPr>
                        <a:tabLst>
                          <a:tab pos="457200" algn="l"/>
                        </a:tabLst>
                      </a:pPr>
                      <a:r>
                        <a:rPr lang="en-US" sz="2000">
                          <a:solidFill>
                            <a:srgbClr val="000000"/>
                          </a:solidFill>
                          <a:effectLst/>
                        </a:rPr>
                        <a:t>Aidan’s Weight</a:t>
                      </a:r>
                    </a:p>
                  </a:txBody>
                  <a:tcPr marL="68580" marR="68580" marT="0" marB="0"/>
                </a:tc>
                <a:tc>
                  <a:txBody>
                    <a:bodyPr/>
                    <a:lstStyle/>
                    <a:p>
                      <a:pPr>
                        <a:tabLst>
                          <a:tab pos="457200" algn="l"/>
                        </a:tabLst>
                      </a:pPr>
                      <a:r>
                        <a:rPr lang="en-US" sz="2000">
                          <a:solidFill>
                            <a:srgbClr val="000000"/>
                          </a:solidFill>
                          <a:effectLst/>
                        </a:rPr>
                        <a:t>Leo’s Weight</a:t>
                      </a:r>
                    </a:p>
                  </a:txBody>
                  <a:tcPr marL="68580" marR="68580" marT="0" marB="0"/>
                </a:tc>
                <a:tc>
                  <a:txBody>
                    <a:bodyPr/>
                    <a:lstStyle/>
                    <a:p>
                      <a:pPr>
                        <a:tabLst>
                          <a:tab pos="457200" algn="l"/>
                        </a:tabLst>
                      </a:pPr>
                      <a:r>
                        <a:rPr lang="en-US" sz="2000">
                          <a:solidFill>
                            <a:srgbClr val="000000"/>
                          </a:solidFill>
                          <a:effectLst/>
                        </a:rPr>
                        <a:t>Luke’s Weight</a:t>
                      </a:r>
                    </a:p>
                  </a:txBody>
                  <a:tcPr marL="68580" marR="68580" marT="0" marB="0"/>
                </a:tc>
                <a:tc>
                  <a:txBody>
                    <a:bodyPr/>
                    <a:lstStyle/>
                    <a:p>
                      <a:pPr>
                        <a:tabLst>
                          <a:tab pos="457200" algn="l"/>
                        </a:tabLst>
                      </a:pPr>
                      <a:r>
                        <a:rPr lang="en-US" sz="2000">
                          <a:solidFill>
                            <a:srgbClr val="000000"/>
                          </a:solidFill>
                          <a:effectLst/>
                        </a:rPr>
                        <a:t>Marvin’s Weight</a:t>
                      </a:r>
                    </a:p>
                  </a:txBody>
                  <a:tcPr marL="68580" marR="68580" marT="0" marB="0"/>
                </a:tc>
                <a:tc>
                  <a:txBody>
                    <a:bodyPr/>
                    <a:lstStyle/>
                    <a:p>
                      <a:pPr>
                        <a:tabLst>
                          <a:tab pos="457200" algn="l"/>
                        </a:tabLst>
                      </a:pPr>
                      <a:r>
                        <a:rPr lang="en-US" sz="2000">
                          <a:solidFill>
                            <a:srgbClr val="000000"/>
                          </a:solidFill>
                          <a:effectLst/>
                        </a:rPr>
                        <a:t>Gavin’s Weight</a:t>
                      </a:r>
                    </a:p>
                  </a:txBody>
                  <a:tcPr marL="68580" marR="68580" marT="0" marB="0"/>
                </a:tc>
                <a:tc>
                  <a:txBody>
                    <a:bodyPr/>
                    <a:lstStyle/>
                    <a:p>
                      <a:pPr>
                        <a:tabLst>
                          <a:tab pos="457200" algn="l"/>
                        </a:tabLst>
                      </a:pPr>
                      <a:r>
                        <a:rPr lang="en-US" sz="2000">
                          <a:solidFill>
                            <a:srgbClr val="000000"/>
                          </a:solidFill>
                          <a:effectLst/>
                        </a:rPr>
                        <a:t>Avg. Weight</a:t>
                      </a:r>
                    </a:p>
                  </a:txBody>
                  <a:tcPr marL="68580" marR="68580" marT="0" marB="0"/>
                </a:tc>
                <a:extLst>
                  <a:ext uri="{0D108BD9-81ED-4DB2-BD59-A6C34878D82A}">
                    <a16:rowId xmlns:a16="http://schemas.microsoft.com/office/drawing/2014/main" val="693641252"/>
                  </a:ext>
                </a:extLst>
              </a:tr>
              <a:tr h="0">
                <a:tc>
                  <a:txBody>
                    <a:bodyPr/>
                    <a:lstStyle/>
                    <a:p>
                      <a:pPr>
                        <a:tabLst>
                          <a:tab pos="457200" algn="l"/>
                        </a:tabLst>
                      </a:pPr>
                      <a:r>
                        <a:rPr lang="en-US" sz="2000">
                          <a:solidFill>
                            <a:srgbClr val="000000"/>
                          </a:solidFill>
                          <a:effectLst/>
                        </a:rPr>
                        <a:t>Bounce Ball</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5</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1</a:t>
                      </a:r>
                    </a:p>
                  </a:txBody>
                  <a:tcPr marL="68580" marR="68580" marT="0" marB="0"/>
                </a:tc>
                <a:tc>
                  <a:txBody>
                    <a:bodyPr/>
                    <a:lstStyle/>
                    <a:p>
                      <a:pPr>
                        <a:tabLst>
                          <a:tab pos="457200" algn="l"/>
                        </a:tabLst>
                      </a:pPr>
                      <a:r>
                        <a:rPr lang="en-US" sz="2000">
                          <a:solidFill>
                            <a:srgbClr val="000000"/>
                          </a:solidFill>
                          <a:effectLst/>
                        </a:rPr>
                        <a:t>2.8</a:t>
                      </a:r>
                    </a:p>
                  </a:txBody>
                  <a:tcPr marL="68580" marR="68580" marT="0" marB="0"/>
                </a:tc>
                <a:extLst>
                  <a:ext uri="{0D108BD9-81ED-4DB2-BD59-A6C34878D82A}">
                    <a16:rowId xmlns:a16="http://schemas.microsoft.com/office/drawing/2014/main" val="2943930631"/>
                  </a:ext>
                </a:extLst>
              </a:tr>
              <a:tr h="0">
                <a:tc>
                  <a:txBody>
                    <a:bodyPr/>
                    <a:lstStyle/>
                    <a:p>
                      <a:pPr>
                        <a:tabLst>
                          <a:tab pos="457200" algn="l"/>
                        </a:tabLst>
                      </a:pPr>
                      <a:r>
                        <a:rPr lang="en-US" sz="2000">
                          <a:solidFill>
                            <a:srgbClr val="000000"/>
                          </a:solidFill>
                          <a:effectLst/>
                        </a:rPr>
                        <a:t>Optimize Cost/</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3</a:t>
                      </a:r>
                    </a:p>
                  </a:txBody>
                  <a:tcPr marL="68580" marR="68580" marT="0" marB="0"/>
                </a:tc>
                <a:tc>
                  <a:txBody>
                    <a:bodyPr/>
                    <a:lstStyle/>
                    <a:p>
                      <a:pPr>
                        <a:tabLst>
                          <a:tab pos="457200" algn="l"/>
                        </a:tabLst>
                      </a:pPr>
                      <a:r>
                        <a:rPr lang="en-US" sz="2000">
                          <a:solidFill>
                            <a:srgbClr val="000000"/>
                          </a:solidFill>
                          <a:effectLst/>
                        </a:rPr>
                        <a:t>3.4</a:t>
                      </a:r>
                    </a:p>
                  </a:txBody>
                  <a:tcPr marL="68580" marR="68580" marT="0" marB="0"/>
                </a:tc>
                <a:extLst>
                  <a:ext uri="{0D108BD9-81ED-4DB2-BD59-A6C34878D82A}">
                    <a16:rowId xmlns:a16="http://schemas.microsoft.com/office/drawing/2014/main" val="2647039436"/>
                  </a:ext>
                </a:extLst>
              </a:tr>
              <a:tr h="0">
                <a:tc>
                  <a:txBody>
                    <a:bodyPr/>
                    <a:lstStyle/>
                    <a:p>
                      <a:pPr>
                        <a:tabLst>
                          <a:tab pos="457200" algn="l"/>
                        </a:tabLst>
                      </a:pPr>
                      <a:r>
                        <a:rPr lang="en-US" sz="2000">
                          <a:solidFill>
                            <a:srgbClr val="000000"/>
                          </a:solidFill>
                          <a:effectLst/>
                        </a:rPr>
                        <a:t>Ease of assembly/disassembly</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5</a:t>
                      </a:r>
                    </a:p>
                  </a:txBody>
                  <a:tcPr marL="68580" marR="68580" marT="0" marB="0"/>
                </a:tc>
                <a:tc>
                  <a:txBody>
                    <a:bodyPr/>
                    <a:lstStyle/>
                    <a:p>
                      <a:pPr>
                        <a:tabLst>
                          <a:tab pos="457200" algn="l"/>
                        </a:tabLst>
                      </a:pPr>
                      <a:r>
                        <a:rPr lang="en-US" sz="2000">
                          <a:solidFill>
                            <a:srgbClr val="000000"/>
                          </a:solidFill>
                          <a:effectLst/>
                        </a:rPr>
                        <a:t>3</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5</a:t>
                      </a:r>
                    </a:p>
                  </a:txBody>
                  <a:tcPr marL="68580" marR="68580" marT="0" marB="0"/>
                </a:tc>
                <a:tc>
                  <a:txBody>
                    <a:bodyPr/>
                    <a:lstStyle/>
                    <a:p>
                      <a:pPr>
                        <a:tabLst>
                          <a:tab pos="457200" algn="l"/>
                        </a:tabLst>
                      </a:pPr>
                      <a:r>
                        <a:rPr lang="en-US" sz="2000">
                          <a:solidFill>
                            <a:srgbClr val="000000"/>
                          </a:solidFill>
                          <a:effectLst/>
                        </a:rPr>
                        <a:t>3.8</a:t>
                      </a:r>
                    </a:p>
                  </a:txBody>
                  <a:tcPr marL="68580" marR="68580" marT="0" marB="0"/>
                </a:tc>
                <a:extLst>
                  <a:ext uri="{0D108BD9-81ED-4DB2-BD59-A6C34878D82A}">
                    <a16:rowId xmlns:a16="http://schemas.microsoft.com/office/drawing/2014/main" val="957519617"/>
                  </a:ext>
                </a:extLst>
              </a:tr>
              <a:tr h="0">
                <a:tc>
                  <a:txBody>
                    <a:bodyPr/>
                    <a:lstStyle/>
                    <a:p>
                      <a:pPr>
                        <a:tabLst>
                          <a:tab pos="457200" algn="l"/>
                        </a:tabLst>
                      </a:pPr>
                      <a:r>
                        <a:rPr lang="en-US" sz="2000">
                          <a:solidFill>
                            <a:srgbClr val="000000"/>
                          </a:solidFill>
                          <a:effectLst/>
                        </a:rPr>
                        <a:t>Reaction speed/control</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3</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5</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3.6</a:t>
                      </a:r>
                    </a:p>
                  </a:txBody>
                  <a:tcPr marL="68580" marR="68580" marT="0" marB="0"/>
                </a:tc>
                <a:extLst>
                  <a:ext uri="{0D108BD9-81ED-4DB2-BD59-A6C34878D82A}">
                    <a16:rowId xmlns:a16="http://schemas.microsoft.com/office/drawing/2014/main" val="2834280708"/>
                  </a:ext>
                </a:extLst>
              </a:tr>
              <a:tr h="0">
                <a:tc>
                  <a:txBody>
                    <a:bodyPr/>
                    <a:lstStyle/>
                    <a:p>
                      <a:pPr>
                        <a:tabLst>
                          <a:tab pos="457200" algn="l"/>
                        </a:tabLst>
                      </a:pPr>
                      <a:r>
                        <a:rPr lang="en-US" sz="2000">
                          <a:solidFill>
                            <a:srgbClr val="000000"/>
                          </a:solidFill>
                          <a:effectLst/>
                        </a:rPr>
                        <a:t>Range of motion</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2</a:t>
                      </a:r>
                    </a:p>
                  </a:txBody>
                  <a:tcPr marL="68580" marR="68580" marT="0" marB="0"/>
                </a:tc>
                <a:tc>
                  <a:txBody>
                    <a:bodyPr/>
                    <a:lstStyle/>
                    <a:p>
                      <a:pPr>
                        <a:tabLst>
                          <a:tab pos="457200" algn="l"/>
                        </a:tabLst>
                      </a:pPr>
                      <a:r>
                        <a:rPr lang="en-US" sz="2000">
                          <a:solidFill>
                            <a:srgbClr val="000000"/>
                          </a:solidFill>
                          <a:effectLst/>
                        </a:rPr>
                        <a:t>1</a:t>
                      </a:r>
                    </a:p>
                  </a:txBody>
                  <a:tcPr marL="68580" marR="68580" marT="0" marB="0"/>
                </a:tc>
                <a:tc>
                  <a:txBody>
                    <a:bodyPr/>
                    <a:lstStyle/>
                    <a:p>
                      <a:pPr>
                        <a:tabLst>
                          <a:tab pos="457200" algn="l"/>
                        </a:tabLst>
                      </a:pPr>
                      <a:r>
                        <a:rPr lang="en-US" sz="2000">
                          <a:solidFill>
                            <a:srgbClr val="000000"/>
                          </a:solidFill>
                          <a:effectLst/>
                        </a:rPr>
                        <a:t>3</a:t>
                      </a:r>
                    </a:p>
                  </a:txBody>
                  <a:tcPr marL="68580" marR="68580" marT="0" marB="0"/>
                </a:tc>
                <a:tc>
                  <a:txBody>
                    <a:bodyPr/>
                    <a:lstStyle/>
                    <a:p>
                      <a:pPr>
                        <a:tabLst>
                          <a:tab pos="457200" algn="l"/>
                        </a:tabLst>
                      </a:pPr>
                      <a:r>
                        <a:rPr lang="en-US" sz="2000">
                          <a:solidFill>
                            <a:srgbClr val="000000"/>
                          </a:solidFill>
                          <a:effectLst/>
                        </a:rPr>
                        <a:t>4</a:t>
                      </a:r>
                    </a:p>
                  </a:txBody>
                  <a:tcPr marL="68580" marR="68580" marT="0" marB="0"/>
                </a:tc>
                <a:tc>
                  <a:txBody>
                    <a:bodyPr/>
                    <a:lstStyle/>
                    <a:p>
                      <a:pPr>
                        <a:tabLst>
                          <a:tab pos="457200" algn="l"/>
                        </a:tabLst>
                      </a:pPr>
                      <a:r>
                        <a:rPr lang="en-US" sz="2000">
                          <a:solidFill>
                            <a:srgbClr val="000000"/>
                          </a:solidFill>
                          <a:effectLst/>
                        </a:rPr>
                        <a:t>2.8</a:t>
                      </a:r>
                    </a:p>
                  </a:txBody>
                  <a:tcPr marL="68580" marR="68580" marT="0" marB="0"/>
                </a:tc>
                <a:extLst>
                  <a:ext uri="{0D108BD9-81ED-4DB2-BD59-A6C34878D82A}">
                    <a16:rowId xmlns:a16="http://schemas.microsoft.com/office/drawing/2014/main" val="2506963431"/>
                  </a:ext>
                </a:extLst>
              </a:tr>
            </a:tbl>
          </a:graphicData>
        </a:graphic>
      </p:graphicFrame>
      <p:sp>
        <p:nvSpPr>
          <p:cNvPr id="13" name="Rectangle: Rounded Corners 12">
            <a:extLst>
              <a:ext uri="{FF2B5EF4-FFF2-40B4-BE49-F238E27FC236}">
                <a16:creationId xmlns:a16="http://schemas.microsoft.com/office/drawing/2014/main" id="{C8676B13-ED23-D81D-BA70-49D47120C22C}"/>
              </a:ext>
            </a:extLst>
          </p:cNvPr>
          <p:cNvSpPr/>
          <p:nvPr/>
        </p:nvSpPr>
        <p:spPr>
          <a:xfrm>
            <a:off x="513272" y="1078263"/>
            <a:ext cx="5133959" cy="1628993"/>
          </a:xfrm>
          <a:prstGeom prst="roundRect">
            <a:avLst/>
          </a:prstGeom>
          <a:solidFill>
            <a:srgbClr val="F0A1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spcAft>
                <a:spcPts val="800"/>
              </a:spcAft>
              <a:buFont typeface="Wingdings"/>
              <a:buChar char="q"/>
            </a:pPr>
            <a:r>
              <a:rPr lang="en-US" sz="2000">
                <a:solidFill>
                  <a:srgbClr val="000000"/>
                </a:solidFill>
                <a:latin typeface="Calibri"/>
                <a:ea typeface="Calibri"/>
                <a:cs typeface="Calibri"/>
              </a:rPr>
              <a:t>Each design criteria are given a score by a team member.</a:t>
            </a:r>
          </a:p>
          <a:p>
            <a:pPr marL="285750" indent="-285750">
              <a:spcAft>
                <a:spcPts val="800"/>
              </a:spcAft>
              <a:buFont typeface="Wingdings"/>
              <a:buChar char="q"/>
            </a:pPr>
            <a:r>
              <a:rPr lang="en-US" sz="2000">
                <a:solidFill>
                  <a:srgbClr val="000000"/>
                </a:solidFill>
                <a:latin typeface="Calibri"/>
                <a:ea typeface="Calibri"/>
                <a:cs typeface="Calibri"/>
              </a:rPr>
              <a:t>This is to allow us to prioritize on which design criterion to implement first.</a:t>
            </a:r>
          </a:p>
        </p:txBody>
      </p:sp>
      <p:sp>
        <p:nvSpPr>
          <p:cNvPr id="14" name="Rectangle: Rounded Corners 13">
            <a:extLst>
              <a:ext uri="{FF2B5EF4-FFF2-40B4-BE49-F238E27FC236}">
                <a16:creationId xmlns:a16="http://schemas.microsoft.com/office/drawing/2014/main" id="{3DC2E2A5-C070-8F6E-2784-278EC364CE2D}"/>
              </a:ext>
            </a:extLst>
          </p:cNvPr>
          <p:cNvSpPr/>
          <p:nvPr/>
        </p:nvSpPr>
        <p:spPr>
          <a:xfrm>
            <a:off x="6094506" y="1305859"/>
            <a:ext cx="4223870" cy="111610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spcAft>
                <a:spcPts val="800"/>
              </a:spcAft>
            </a:pPr>
            <a:r>
              <a:rPr lang="en-US" sz="2000">
                <a:solidFill>
                  <a:srgbClr val="000000"/>
                </a:solidFill>
                <a:latin typeface="Calibri"/>
                <a:ea typeface="Calibri"/>
                <a:cs typeface="Calibri"/>
              </a:rPr>
              <a:t>Each criterion is given a score from 1 (lowest) to 5 (highest)</a:t>
            </a:r>
            <a:endParaRPr lang="en-US" sz="2000" b="0" i="0" u="none" strike="noStrike" kern="1200" cap="none" spc="0" normalizeH="0" baseline="0" noProof="0">
              <a:ln>
                <a:noFill/>
              </a:ln>
              <a:solidFill>
                <a:srgbClr val="000000"/>
              </a:solidFill>
              <a:effectLst/>
              <a:uLnTx/>
              <a:uFillTx/>
              <a:latin typeface="Calibri"/>
              <a:ea typeface="Calibri"/>
              <a:cs typeface="Calibri"/>
            </a:endParaRPr>
          </a:p>
        </p:txBody>
      </p:sp>
      <p:sp>
        <p:nvSpPr>
          <p:cNvPr id="2" name="TextBox 1">
            <a:extLst>
              <a:ext uri="{FF2B5EF4-FFF2-40B4-BE49-F238E27FC236}">
                <a16:creationId xmlns:a16="http://schemas.microsoft.com/office/drawing/2014/main" id="{1B64DBAE-5581-2BD7-4672-94AA66D29FC2}"/>
              </a:ext>
            </a:extLst>
          </p:cNvPr>
          <p:cNvSpPr txBox="1"/>
          <p:nvPr/>
        </p:nvSpPr>
        <p:spPr>
          <a:xfrm>
            <a:off x="519023" y="346495"/>
            <a:ext cx="5776822"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800"/>
              </a:spcAft>
            </a:pPr>
            <a:r>
              <a:rPr lang="de-DE" sz="3200" b="1">
                <a:latin typeface="Calibri"/>
              </a:rPr>
              <a:t>Design </a:t>
            </a:r>
            <a:r>
              <a:rPr lang="de-DE" sz="3200" b="1" err="1">
                <a:latin typeface="Calibri"/>
              </a:rPr>
              <a:t>Criteria</a:t>
            </a:r>
            <a:r>
              <a:rPr lang="de-DE" sz="3200">
                <a:latin typeface="Calibri"/>
              </a:rPr>
              <a:t>​​ - </a:t>
            </a:r>
            <a:r>
              <a:rPr lang="de-DE" sz="3200" err="1">
                <a:latin typeface="Calibri"/>
              </a:rPr>
              <a:t>Decision</a:t>
            </a:r>
            <a:r>
              <a:rPr lang="de-DE" sz="3200">
                <a:latin typeface="Calibri"/>
              </a:rPr>
              <a:t> Matrix</a:t>
            </a:r>
            <a:r>
              <a:rPr lang="en-US" sz="3200">
                <a:latin typeface="Calibri"/>
                <a:cs typeface="Calibri"/>
              </a:rPr>
              <a:t>​</a:t>
            </a:r>
            <a:endParaRPr lang="en-US"/>
          </a:p>
        </p:txBody>
      </p:sp>
    </p:spTree>
    <p:extLst>
      <p:ext uri="{BB962C8B-B14F-4D97-AF65-F5344CB8AC3E}">
        <p14:creationId xmlns:p14="http://schemas.microsoft.com/office/powerpoint/2010/main" val="3071594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a:cs typeface="Arial"/>
              </a:rPr>
              <a:t>Decision Analysis</a:t>
            </a:r>
            <a:endParaRPr lang="de-DE"/>
          </a:p>
        </p:txBody>
      </p:sp>
      <p:sp>
        <p:nvSpPr>
          <p:cNvPr id="43" name="Textplatzhalter 42">
            <a:extLst>
              <a:ext uri="{FF2B5EF4-FFF2-40B4-BE49-F238E27FC236}">
                <a16:creationId xmlns:a16="http://schemas.microsoft.com/office/drawing/2014/main" id="{3896FE4D-A7AE-099B-363F-0C85F0A9502A}"/>
              </a:ext>
            </a:extLst>
          </p:cNvPr>
          <p:cNvSpPr>
            <a:spLocks noGrp="1"/>
          </p:cNvSpPr>
          <p:nvPr>
            <p:ph type="body" sz="quarter" idx="59"/>
          </p:nvPr>
        </p:nvSpPr>
        <p:spPr/>
        <p:txBody>
          <a:bodyPr/>
          <a:lstStyle/>
          <a:p>
            <a:r>
              <a:rPr lang="de-DE">
                <a:cs typeface="Arial"/>
              </a:rPr>
              <a:t>Morphological Box</a:t>
            </a:r>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7</a:t>
            </a:fld>
            <a:endParaRPr lang="de-DE"/>
          </a:p>
        </p:txBody>
      </p:sp>
      <p:graphicFrame>
        <p:nvGraphicFramePr>
          <p:cNvPr id="2" name="Table 1">
            <a:extLst>
              <a:ext uri="{FF2B5EF4-FFF2-40B4-BE49-F238E27FC236}">
                <a16:creationId xmlns:a16="http://schemas.microsoft.com/office/drawing/2014/main" id="{0308DDC1-B91E-B7CF-088D-233A424D386B}"/>
              </a:ext>
            </a:extLst>
          </p:cNvPr>
          <p:cNvGraphicFramePr>
            <a:graphicFrameLocks noGrp="1"/>
          </p:cNvGraphicFramePr>
          <p:nvPr>
            <p:extLst>
              <p:ext uri="{D42A27DB-BD31-4B8C-83A1-F6EECF244321}">
                <p14:modId xmlns:p14="http://schemas.microsoft.com/office/powerpoint/2010/main" val="2718085512"/>
              </p:ext>
            </p:extLst>
          </p:nvPr>
        </p:nvGraphicFramePr>
        <p:xfrm>
          <a:off x="518318" y="1230284"/>
          <a:ext cx="11136127" cy="5211120"/>
        </p:xfrm>
        <a:graphic>
          <a:graphicData uri="http://schemas.openxmlformats.org/drawingml/2006/table">
            <a:tbl>
              <a:tblPr firstRow="1" firstCol="1">
                <a:tableStyleId>{5C22544A-7EE6-4342-B048-85BDC9FD1C3A}</a:tableStyleId>
              </a:tblPr>
              <a:tblGrid>
                <a:gridCol w="2255087">
                  <a:extLst>
                    <a:ext uri="{9D8B030D-6E8A-4147-A177-3AD203B41FA5}">
                      <a16:colId xmlns:a16="http://schemas.microsoft.com/office/drawing/2014/main" val="278992647"/>
                    </a:ext>
                  </a:extLst>
                </a:gridCol>
                <a:gridCol w="2220260">
                  <a:extLst>
                    <a:ext uri="{9D8B030D-6E8A-4147-A177-3AD203B41FA5}">
                      <a16:colId xmlns:a16="http://schemas.microsoft.com/office/drawing/2014/main" val="3014979166"/>
                    </a:ext>
                  </a:extLst>
                </a:gridCol>
                <a:gridCol w="2220260">
                  <a:extLst>
                    <a:ext uri="{9D8B030D-6E8A-4147-A177-3AD203B41FA5}">
                      <a16:colId xmlns:a16="http://schemas.microsoft.com/office/drawing/2014/main" val="3316797907"/>
                    </a:ext>
                  </a:extLst>
                </a:gridCol>
                <a:gridCol w="2220260">
                  <a:extLst>
                    <a:ext uri="{9D8B030D-6E8A-4147-A177-3AD203B41FA5}">
                      <a16:colId xmlns:a16="http://schemas.microsoft.com/office/drawing/2014/main" val="3598552680"/>
                    </a:ext>
                  </a:extLst>
                </a:gridCol>
                <a:gridCol w="2220260">
                  <a:extLst>
                    <a:ext uri="{9D8B030D-6E8A-4147-A177-3AD203B41FA5}">
                      <a16:colId xmlns:a16="http://schemas.microsoft.com/office/drawing/2014/main" val="2238803170"/>
                    </a:ext>
                  </a:extLst>
                </a:gridCol>
              </a:tblGrid>
              <a:tr h="462183">
                <a:tc>
                  <a:txBody>
                    <a:bodyPr/>
                    <a:lstStyle/>
                    <a:p>
                      <a:pPr algn="ctr">
                        <a:lnSpc>
                          <a:spcPct val="107000"/>
                        </a:lnSpc>
                        <a:spcAft>
                          <a:spcPts val="800"/>
                        </a:spcAft>
                      </a:pPr>
                      <a:r>
                        <a:rPr lang="en-CA" sz="2000" kern="100">
                          <a:effectLst/>
                        </a:rPr>
                        <a:t>Parameters</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gridSpan="4">
                  <a:txBody>
                    <a:bodyPr/>
                    <a:lstStyle/>
                    <a:p>
                      <a:pPr algn="ctr">
                        <a:lnSpc>
                          <a:spcPct val="107000"/>
                        </a:lnSpc>
                        <a:spcAft>
                          <a:spcPts val="800"/>
                        </a:spcAft>
                      </a:pPr>
                      <a:r>
                        <a:rPr lang="en-CA" sz="2000" kern="100">
                          <a:effectLst/>
                        </a:rPr>
                        <a:t>Configurations</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7153848"/>
                  </a:ext>
                </a:extLst>
              </a:tr>
              <a:tr h="462183">
                <a:tc>
                  <a:txBody>
                    <a:bodyPr/>
                    <a:lstStyle/>
                    <a:p>
                      <a:pPr algn="ctr">
                        <a:lnSpc>
                          <a:spcPct val="107000"/>
                        </a:lnSpc>
                        <a:spcAft>
                          <a:spcPts val="800"/>
                        </a:spcAft>
                      </a:pPr>
                      <a:r>
                        <a:rPr lang="en-US" sz="2000" kern="100">
                          <a:effectLst/>
                          <a:latin typeface="Aptos" panose="020B0004020202020204" pitchFamily="34" charset="0"/>
                          <a:ea typeface="Aptos" panose="020B0004020202020204" pitchFamily="34" charset="0"/>
                          <a:cs typeface="Arial" panose="020B0604020202020204" pitchFamily="34" charset="0"/>
                        </a:rPr>
                        <a:t>Number of Motors</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2</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3</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4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6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255521579"/>
                  </a:ext>
                </a:extLst>
              </a:tr>
              <a:tr h="578991">
                <a:tc>
                  <a:txBody>
                    <a:bodyPr/>
                    <a:lstStyle/>
                    <a:p>
                      <a:pPr algn="ctr">
                        <a:lnSpc>
                          <a:spcPct val="107000"/>
                        </a:lnSpc>
                        <a:spcAft>
                          <a:spcPts val="800"/>
                        </a:spcAft>
                      </a:pPr>
                      <a:r>
                        <a:rPr lang="en-CA" sz="2000" kern="100">
                          <a:effectLst/>
                        </a:rPr>
                        <a:t>Motor Type</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Stepper</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Servo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898705341"/>
                  </a:ext>
                </a:extLst>
              </a:tr>
              <a:tr h="578991">
                <a:tc>
                  <a:txBody>
                    <a:bodyPr/>
                    <a:lstStyle/>
                    <a:p>
                      <a:pPr algn="ctr">
                        <a:lnSpc>
                          <a:spcPct val="107000"/>
                        </a:lnSpc>
                        <a:spcAft>
                          <a:spcPts val="800"/>
                        </a:spcAft>
                      </a:pPr>
                      <a:r>
                        <a:rPr lang="en-CA" sz="2000" kern="100">
                          <a:effectLst/>
                        </a:rPr>
                        <a:t>Material</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PLA</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ABS</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Aluminium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Aluminium / ABS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373995337"/>
                  </a:ext>
                </a:extLst>
              </a:tr>
              <a:tr h="578991">
                <a:tc>
                  <a:txBody>
                    <a:bodyPr/>
                    <a:lstStyle/>
                    <a:p>
                      <a:pPr algn="ctr">
                        <a:lnSpc>
                          <a:spcPct val="107000"/>
                        </a:lnSpc>
                        <a:spcAft>
                          <a:spcPts val="800"/>
                        </a:spcAft>
                      </a:pPr>
                      <a:r>
                        <a:rPr lang="en-CA" sz="2000" kern="100">
                          <a:effectLst/>
                        </a:rPr>
                        <a:t>Size of the platform [cm]</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25 by 25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27.5 by 27.5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30 by 30</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35 by 35</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4137588102"/>
                  </a:ext>
                </a:extLst>
              </a:tr>
              <a:tr h="866758">
                <a:tc>
                  <a:txBody>
                    <a:bodyPr/>
                    <a:lstStyle/>
                    <a:p>
                      <a:pPr algn="ctr">
                        <a:lnSpc>
                          <a:spcPct val="107000"/>
                        </a:lnSpc>
                        <a:spcAft>
                          <a:spcPts val="800"/>
                        </a:spcAft>
                      </a:pPr>
                      <a:r>
                        <a:rPr lang="en-CA" sz="2000" kern="100">
                          <a:effectLst/>
                        </a:rPr>
                        <a:t>Joint type (for connection to platform)</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Ball</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Hinge</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Ball </a:t>
                      </a:r>
                    </a:p>
                    <a:p>
                      <a:pPr algn="ctr">
                        <a:lnSpc>
                          <a:spcPct val="107000"/>
                        </a:lnSpc>
                        <a:spcAft>
                          <a:spcPts val="800"/>
                        </a:spcAft>
                      </a:pPr>
                      <a:r>
                        <a:rPr lang="en-CA" sz="2000" kern="100">
                          <a:effectLst/>
                        </a:rPr>
                        <a:t>(Magnet)</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Universal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3755949447"/>
                  </a:ext>
                </a:extLst>
              </a:tr>
              <a:tr h="728382">
                <a:tc>
                  <a:txBody>
                    <a:bodyPr/>
                    <a:lstStyle/>
                    <a:p>
                      <a:pPr algn="ctr">
                        <a:lnSpc>
                          <a:spcPct val="107000"/>
                        </a:lnSpc>
                        <a:spcAft>
                          <a:spcPts val="800"/>
                        </a:spcAft>
                      </a:pPr>
                      <a:r>
                        <a:rPr lang="en-CA" sz="2000" kern="100">
                          <a:effectLst/>
                        </a:rPr>
                        <a:t>Microcontrollers</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RPi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Arduino + </a:t>
                      </a:r>
                    </a:p>
                    <a:p>
                      <a:pPr algn="ctr">
                        <a:lnSpc>
                          <a:spcPct val="107000"/>
                        </a:lnSpc>
                        <a:spcAft>
                          <a:spcPts val="800"/>
                        </a:spcAft>
                      </a:pPr>
                      <a:r>
                        <a:rPr lang="en-CA" sz="2000" kern="100">
                          <a:effectLst/>
                        </a:rPr>
                        <a:t>RPi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041388378"/>
                  </a:ext>
                </a:extLst>
              </a:tr>
              <a:tr h="728382">
                <a:tc>
                  <a:txBody>
                    <a:bodyPr/>
                    <a:lstStyle/>
                    <a:p>
                      <a:pPr algn="ctr">
                        <a:lnSpc>
                          <a:spcPct val="107000"/>
                        </a:lnSpc>
                        <a:spcAft>
                          <a:spcPts val="800"/>
                        </a:spcAft>
                      </a:pPr>
                      <a:r>
                        <a:rPr lang="en-CA" sz="2000" kern="100">
                          <a:effectLst/>
                        </a:rPr>
                        <a:t>Ball detection</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Camera (CV)</a:t>
                      </a:r>
                    </a:p>
                    <a:p>
                      <a:pPr algn="ctr">
                        <a:lnSpc>
                          <a:spcPct val="107000"/>
                        </a:lnSpc>
                        <a:spcAft>
                          <a:spcPts val="800"/>
                        </a:spcAft>
                      </a:pPr>
                      <a:r>
                        <a:rPr lang="en-CA" sz="2000" kern="100">
                          <a:effectLst/>
                        </a:rPr>
                        <a:t>Above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Proximity Sensor (3)</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Camera (CV)</a:t>
                      </a:r>
                    </a:p>
                    <a:p>
                      <a:pPr algn="ctr">
                        <a:lnSpc>
                          <a:spcPct val="107000"/>
                        </a:lnSpc>
                        <a:spcAft>
                          <a:spcPts val="800"/>
                        </a:spcAft>
                      </a:pPr>
                      <a:r>
                        <a:rPr lang="en-CA" sz="2000" kern="100">
                          <a:effectLst/>
                        </a:rPr>
                        <a:t>Below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tc>
                  <a:txBody>
                    <a:bodyPr/>
                    <a:lstStyle/>
                    <a:p>
                      <a:pPr algn="ctr">
                        <a:lnSpc>
                          <a:spcPct val="107000"/>
                        </a:lnSpc>
                        <a:spcAft>
                          <a:spcPts val="800"/>
                        </a:spcAft>
                      </a:pPr>
                      <a:r>
                        <a:rPr lang="en-CA" sz="2000" kern="100">
                          <a:effectLst/>
                        </a:rPr>
                        <a:t> -</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161794795"/>
                  </a:ext>
                </a:extLst>
              </a:tr>
            </a:tbl>
          </a:graphicData>
        </a:graphic>
      </p:graphicFrame>
      <p:grpSp>
        <p:nvGrpSpPr>
          <p:cNvPr id="29" name="Group 28">
            <a:extLst>
              <a:ext uri="{FF2B5EF4-FFF2-40B4-BE49-F238E27FC236}">
                <a16:creationId xmlns:a16="http://schemas.microsoft.com/office/drawing/2014/main" id="{574AEC7A-10D3-952E-B6B0-B5275D978908}"/>
              </a:ext>
            </a:extLst>
          </p:cNvPr>
          <p:cNvGrpSpPr/>
          <p:nvPr/>
        </p:nvGrpSpPr>
        <p:grpSpPr>
          <a:xfrm>
            <a:off x="12654874" y="1928553"/>
            <a:ext cx="6700058" cy="4139738"/>
            <a:chOff x="3873731" y="1928553"/>
            <a:chExt cx="6700058" cy="4139738"/>
          </a:xfrm>
        </p:grpSpPr>
        <p:cxnSp>
          <p:nvCxnSpPr>
            <p:cNvPr id="6" name="Straight Connector 5">
              <a:extLst>
                <a:ext uri="{FF2B5EF4-FFF2-40B4-BE49-F238E27FC236}">
                  <a16:creationId xmlns:a16="http://schemas.microsoft.com/office/drawing/2014/main" id="{F48264AC-25C0-CA81-5710-E4E3F429B193}"/>
                </a:ext>
              </a:extLst>
            </p:cNvPr>
            <p:cNvCxnSpPr>
              <a:cxnSpLocks/>
            </p:cNvCxnSpPr>
            <p:nvPr/>
          </p:nvCxnSpPr>
          <p:spPr>
            <a:xfrm flipH="1">
              <a:off x="3873731" y="1928553"/>
              <a:ext cx="2222269" cy="565265"/>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1C7D7D4-F4B3-1553-A5E4-4F10A47B9E64}"/>
                </a:ext>
              </a:extLst>
            </p:cNvPr>
            <p:cNvCxnSpPr>
              <a:cxnSpLocks/>
            </p:cNvCxnSpPr>
            <p:nvPr/>
          </p:nvCxnSpPr>
          <p:spPr>
            <a:xfrm>
              <a:off x="3873731" y="2510444"/>
              <a:ext cx="6700058" cy="515389"/>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2E417C1-025F-926B-B857-09D65364DA12}"/>
                </a:ext>
              </a:extLst>
            </p:cNvPr>
            <p:cNvCxnSpPr>
              <a:cxnSpLocks/>
            </p:cNvCxnSpPr>
            <p:nvPr/>
          </p:nvCxnSpPr>
          <p:spPr>
            <a:xfrm flipH="1">
              <a:off x="8329353" y="3025833"/>
              <a:ext cx="2244436" cy="612913"/>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D889661-0C8D-648E-BAAE-DAFDDD4C484A}"/>
                </a:ext>
              </a:extLst>
            </p:cNvPr>
            <p:cNvCxnSpPr>
              <a:cxnSpLocks/>
            </p:cNvCxnSpPr>
            <p:nvPr/>
          </p:nvCxnSpPr>
          <p:spPr>
            <a:xfrm flipH="1">
              <a:off x="3873731" y="3638746"/>
              <a:ext cx="4459564" cy="866752"/>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BA191A-2857-ABF5-0CF8-7E457266AFF9}"/>
                </a:ext>
              </a:extLst>
            </p:cNvPr>
            <p:cNvCxnSpPr>
              <a:cxnSpLocks/>
            </p:cNvCxnSpPr>
            <p:nvPr/>
          </p:nvCxnSpPr>
          <p:spPr>
            <a:xfrm>
              <a:off x="3873731" y="4505498"/>
              <a:ext cx="0" cy="798022"/>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C476304-94DB-A47B-EFF6-FA687F232DCE}"/>
                </a:ext>
              </a:extLst>
            </p:cNvPr>
            <p:cNvCxnSpPr>
              <a:cxnSpLocks/>
            </p:cNvCxnSpPr>
            <p:nvPr/>
          </p:nvCxnSpPr>
          <p:spPr>
            <a:xfrm>
              <a:off x="3873731" y="5286895"/>
              <a:ext cx="4455622" cy="781396"/>
            </a:xfrm>
            <a:prstGeom prst="line">
              <a:avLst/>
            </a:prstGeom>
            <a:ln w="76200" cap="rnd">
              <a:solidFill>
                <a:srgbClr val="BC9800">
                  <a:alpha val="75000"/>
                </a:srgb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B5C4E9CB-63D5-D200-5069-69D0CE8DFABD}"/>
              </a:ext>
            </a:extLst>
          </p:cNvPr>
          <p:cNvGrpSpPr/>
          <p:nvPr/>
        </p:nvGrpSpPr>
        <p:grpSpPr>
          <a:xfrm>
            <a:off x="12654873" y="1928553"/>
            <a:ext cx="6700059" cy="4186880"/>
            <a:chOff x="3873730" y="1928553"/>
            <a:chExt cx="6700059" cy="4186880"/>
          </a:xfrm>
        </p:grpSpPr>
        <p:cxnSp>
          <p:nvCxnSpPr>
            <p:cNvPr id="48" name="Straight Connector 47">
              <a:extLst>
                <a:ext uri="{FF2B5EF4-FFF2-40B4-BE49-F238E27FC236}">
                  <a16:creationId xmlns:a16="http://schemas.microsoft.com/office/drawing/2014/main" id="{F6D2972E-AE16-115D-9E9F-8B319CD27480}"/>
                </a:ext>
              </a:extLst>
            </p:cNvPr>
            <p:cNvCxnSpPr>
              <a:cxnSpLocks/>
            </p:cNvCxnSpPr>
            <p:nvPr/>
          </p:nvCxnSpPr>
          <p:spPr>
            <a:xfrm>
              <a:off x="3873731" y="1928553"/>
              <a:ext cx="2229782" cy="565265"/>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5065EDD-C37A-A8E4-4724-A092D76489EE}"/>
                </a:ext>
              </a:extLst>
            </p:cNvPr>
            <p:cNvCxnSpPr>
              <a:cxnSpLocks/>
            </p:cNvCxnSpPr>
            <p:nvPr/>
          </p:nvCxnSpPr>
          <p:spPr>
            <a:xfrm>
              <a:off x="6103513" y="2510444"/>
              <a:ext cx="0" cy="515389"/>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63193C6-26E8-5EB8-9968-0773FB98C065}"/>
                </a:ext>
              </a:extLst>
            </p:cNvPr>
            <p:cNvCxnSpPr>
              <a:cxnSpLocks/>
            </p:cNvCxnSpPr>
            <p:nvPr/>
          </p:nvCxnSpPr>
          <p:spPr>
            <a:xfrm flipH="1">
              <a:off x="3873731" y="3025833"/>
              <a:ext cx="2229782" cy="612913"/>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49C45A5-A29A-BBAD-A257-4931A6913219}"/>
                </a:ext>
              </a:extLst>
            </p:cNvPr>
            <p:cNvCxnSpPr>
              <a:cxnSpLocks/>
            </p:cNvCxnSpPr>
            <p:nvPr/>
          </p:nvCxnSpPr>
          <p:spPr>
            <a:xfrm>
              <a:off x="3873730" y="3638746"/>
              <a:ext cx="6700059" cy="866752"/>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EF9394A-05E7-EAE6-AFA9-0A3AC376BBAA}"/>
                </a:ext>
              </a:extLst>
            </p:cNvPr>
            <p:cNvCxnSpPr>
              <a:cxnSpLocks/>
            </p:cNvCxnSpPr>
            <p:nvPr/>
          </p:nvCxnSpPr>
          <p:spPr>
            <a:xfrm flipH="1">
              <a:off x="6103513" y="4505498"/>
              <a:ext cx="4470276" cy="798022"/>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65A3752-B4C3-C989-D54F-B636A69DF4BB}"/>
                </a:ext>
              </a:extLst>
            </p:cNvPr>
            <p:cNvCxnSpPr>
              <a:cxnSpLocks/>
            </p:cNvCxnSpPr>
            <p:nvPr/>
          </p:nvCxnSpPr>
          <p:spPr>
            <a:xfrm flipH="1">
              <a:off x="3873730" y="5303520"/>
              <a:ext cx="2229783" cy="811913"/>
            </a:xfrm>
            <a:prstGeom prst="line">
              <a:avLst/>
            </a:prstGeom>
            <a:ln w="76200" cap="rnd">
              <a:solidFill>
                <a:srgbClr val="92D050">
                  <a:alpha val="75000"/>
                </a:srgbClr>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A32C7BC8-C106-36EF-C2BB-A697F3BAC271}"/>
              </a:ext>
            </a:extLst>
          </p:cNvPr>
          <p:cNvGrpSpPr/>
          <p:nvPr/>
        </p:nvGrpSpPr>
        <p:grpSpPr>
          <a:xfrm>
            <a:off x="14877142" y="1928553"/>
            <a:ext cx="4485303" cy="4169014"/>
            <a:chOff x="6095999" y="1928553"/>
            <a:chExt cx="4485303" cy="4169014"/>
          </a:xfrm>
        </p:grpSpPr>
        <p:cxnSp>
          <p:nvCxnSpPr>
            <p:cNvPr id="81" name="Straight Connector 80">
              <a:extLst>
                <a:ext uri="{FF2B5EF4-FFF2-40B4-BE49-F238E27FC236}">
                  <a16:creationId xmlns:a16="http://schemas.microsoft.com/office/drawing/2014/main" id="{12964EF0-C800-F45D-058A-1DF27220AE1A}"/>
                </a:ext>
              </a:extLst>
            </p:cNvPr>
            <p:cNvCxnSpPr>
              <a:cxnSpLocks/>
            </p:cNvCxnSpPr>
            <p:nvPr/>
          </p:nvCxnSpPr>
          <p:spPr>
            <a:xfrm flipH="1">
              <a:off x="6103513" y="1928553"/>
              <a:ext cx="4428713" cy="512347"/>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012A267-F128-F4FC-BEC8-5A068D8D382B}"/>
                </a:ext>
              </a:extLst>
            </p:cNvPr>
            <p:cNvCxnSpPr>
              <a:cxnSpLocks/>
            </p:cNvCxnSpPr>
            <p:nvPr/>
          </p:nvCxnSpPr>
          <p:spPr>
            <a:xfrm>
              <a:off x="6110840" y="2451694"/>
              <a:ext cx="2227811" cy="574139"/>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060989E-A029-1486-4C2F-6BF1EAC18D01}"/>
                </a:ext>
              </a:extLst>
            </p:cNvPr>
            <p:cNvCxnSpPr/>
            <p:nvPr/>
          </p:nvCxnSpPr>
          <p:spPr>
            <a:xfrm>
              <a:off x="8333295" y="3025833"/>
              <a:ext cx="2240494" cy="612913"/>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010234C-7118-AB31-C6CA-6230A80AA22B}"/>
                </a:ext>
              </a:extLst>
            </p:cNvPr>
            <p:cNvCxnSpPr>
              <a:cxnSpLocks/>
            </p:cNvCxnSpPr>
            <p:nvPr/>
          </p:nvCxnSpPr>
          <p:spPr>
            <a:xfrm flipH="1">
              <a:off x="8333295" y="3638746"/>
              <a:ext cx="2248007" cy="855958"/>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B1DED27-4214-3B62-E89E-FFD2DAE5BA34}"/>
                </a:ext>
              </a:extLst>
            </p:cNvPr>
            <p:cNvCxnSpPr>
              <a:cxnSpLocks/>
            </p:cNvCxnSpPr>
            <p:nvPr/>
          </p:nvCxnSpPr>
          <p:spPr>
            <a:xfrm flipH="1">
              <a:off x="6095999" y="4505498"/>
              <a:ext cx="2244622" cy="798022"/>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325942E-0BBE-CD28-A744-CE11CB868B9F}"/>
                </a:ext>
              </a:extLst>
            </p:cNvPr>
            <p:cNvCxnSpPr/>
            <p:nvPr/>
          </p:nvCxnSpPr>
          <p:spPr>
            <a:xfrm>
              <a:off x="6096000" y="5303520"/>
              <a:ext cx="14840" cy="794047"/>
            </a:xfrm>
            <a:prstGeom prst="line">
              <a:avLst/>
            </a:prstGeom>
            <a:ln w="76200" cap="rnd">
              <a:solidFill>
                <a:srgbClr val="7030A0">
                  <a:alpha val="7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4611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16667E-7 -1.85185E-6 L -0.71992 -1.85185E-6 " pathEditMode="relative" rAng="0" ptsTypes="AA">
                                      <p:cBhvr>
                                        <p:cTn id="6" dur="2000" fill="hold"/>
                                        <p:tgtEl>
                                          <p:spTgt spid="29"/>
                                        </p:tgtEl>
                                        <p:attrNameLst>
                                          <p:attrName>ppt_x</p:attrName>
                                          <p:attrName>ppt_y</p:attrName>
                                        </p:attrNameLst>
                                      </p:cBhvr>
                                      <p:rCtr x="-36003" y="0"/>
                                    </p:animMotion>
                                  </p:childTnLst>
                                </p:cTn>
                              </p:par>
                            </p:childTnLst>
                          </p:cTn>
                        </p:par>
                      </p:childTnLst>
                    </p:cTn>
                  </p:par>
                  <p:par>
                    <p:cTn id="7" fill="hold">
                      <p:stCondLst>
                        <p:cond delay="indefinite"/>
                      </p:stCondLst>
                      <p:childTnLst>
                        <p:par>
                          <p:cTn id="8" fill="hold">
                            <p:stCondLst>
                              <p:cond delay="0"/>
                            </p:stCondLst>
                            <p:childTnLst>
                              <p:par>
                                <p:cTn id="9" presetID="22" presetClass="exit" presetSubtype="4" fill="hold" nodeType="clickEffect">
                                  <p:stCondLst>
                                    <p:cond delay="0"/>
                                  </p:stCondLst>
                                  <p:childTnLst>
                                    <p:animEffect transition="out" filter="wipe(down)">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par>
                                <p:cTn id="12" presetID="35" presetClass="path" presetSubtype="0" accel="50000" decel="50000" fill="hold" nodeType="withEffect">
                                  <p:stCondLst>
                                    <p:cond delay="0"/>
                                  </p:stCondLst>
                                  <p:childTnLst>
                                    <p:animMotion origin="layout" path="M -4.16667E-7 -1.85185E-6 L -0.71992 -1.85185E-6 " pathEditMode="relative" rAng="0" ptsTypes="AA">
                                      <p:cBhvr>
                                        <p:cTn id="13" dur="2000" fill="hold"/>
                                        <p:tgtEl>
                                          <p:spTgt spid="79"/>
                                        </p:tgtEl>
                                        <p:attrNameLst>
                                          <p:attrName>ppt_x</p:attrName>
                                          <p:attrName>ppt_y</p:attrName>
                                        </p:attrNameLst>
                                      </p:cBhvr>
                                      <p:rCtr x="-36003" y="0"/>
                                    </p:animMotion>
                                  </p:childTnLst>
                                </p:cTn>
                              </p:par>
                            </p:childTnLst>
                          </p:cTn>
                        </p:par>
                      </p:childTnLst>
                    </p:cTn>
                  </p:par>
                  <p:par>
                    <p:cTn id="14" fill="hold">
                      <p:stCondLst>
                        <p:cond delay="indefinite"/>
                      </p:stCondLst>
                      <p:childTnLst>
                        <p:par>
                          <p:cTn id="15" fill="hold">
                            <p:stCondLst>
                              <p:cond delay="0"/>
                            </p:stCondLst>
                            <p:childTnLst>
                              <p:par>
                                <p:cTn id="16" presetID="22" presetClass="exit" presetSubtype="4" fill="hold" nodeType="clickEffect">
                                  <p:stCondLst>
                                    <p:cond delay="0"/>
                                  </p:stCondLst>
                                  <p:childTnLst>
                                    <p:animEffect transition="out" filter="wipe(down)">
                                      <p:cBhvr>
                                        <p:cTn id="17" dur="500"/>
                                        <p:tgtEl>
                                          <p:spTgt spid="79"/>
                                        </p:tgtEl>
                                      </p:cBhvr>
                                    </p:animEffect>
                                    <p:set>
                                      <p:cBhvr>
                                        <p:cTn id="18" dur="1" fill="hold">
                                          <p:stCondLst>
                                            <p:cond delay="499"/>
                                          </p:stCondLst>
                                        </p:cTn>
                                        <p:tgtEl>
                                          <p:spTgt spid="79"/>
                                        </p:tgtEl>
                                        <p:attrNameLst>
                                          <p:attrName>style.visibility</p:attrName>
                                        </p:attrNameLst>
                                      </p:cBhvr>
                                      <p:to>
                                        <p:strVal val="hidden"/>
                                      </p:to>
                                    </p:set>
                                  </p:childTnLst>
                                </p:cTn>
                              </p:par>
                              <p:par>
                                <p:cTn id="19" presetID="35" presetClass="path" presetSubtype="0" accel="50000" decel="50000" fill="hold" nodeType="withEffect">
                                  <p:stCondLst>
                                    <p:cond delay="0"/>
                                  </p:stCondLst>
                                  <p:childTnLst>
                                    <p:animMotion origin="layout" path="M -4.16667E-7 -1.85185E-6 L -0.71992 -1.85185E-6 " pathEditMode="relative" rAng="0" ptsTypes="AA">
                                      <p:cBhvr>
                                        <p:cTn id="20" dur="2000" fill="hold"/>
                                        <p:tgtEl>
                                          <p:spTgt spid="106"/>
                                        </p:tgtEl>
                                        <p:attrNameLst>
                                          <p:attrName>ppt_x</p:attrName>
                                          <p:attrName>ppt_y</p:attrName>
                                        </p:attrNameLst>
                                      </p:cBhvr>
                                      <p:rCtr x="-36003" y="0"/>
                                    </p:animMotion>
                                  </p:childTnLst>
                                </p:cTn>
                              </p:par>
                            </p:childTnLst>
                          </p:cTn>
                        </p:par>
                      </p:childTnLst>
                    </p:cTn>
                  </p:par>
                  <p:par>
                    <p:cTn id="21" fill="hold">
                      <p:stCondLst>
                        <p:cond delay="indefinite"/>
                      </p:stCondLst>
                      <p:childTnLst>
                        <p:par>
                          <p:cTn id="22" fill="hold">
                            <p:stCondLst>
                              <p:cond delay="0"/>
                            </p:stCondLst>
                            <p:childTnLst>
                              <p:par>
                                <p:cTn id="23" presetID="22" presetClass="exit" presetSubtype="4" fill="hold" nodeType="clickEffect">
                                  <p:stCondLst>
                                    <p:cond delay="0"/>
                                  </p:stCondLst>
                                  <p:childTnLst>
                                    <p:animEffect transition="out" filter="wipe(down)">
                                      <p:cBhvr>
                                        <p:cTn id="24" dur="500"/>
                                        <p:tgtEl>
                                          <p:spTgt spid="106"/>
                                        </p:tgtEl>
                                      </p:cBhvr>
                                    </p:animEffect>
                                    <p:set>
                                      <p:cBhvr>
                                        <p:cTn id="25" dur="1" fill="hold">
                                          <p:stCondLst>
                                            <p:cond delay="499"/>
                                          </p:stCondLst>
                                        </p:cTn>
                                        <p:tgtEl>
                                          <p:spTgt spid="10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a:xfrm>
            <a:off x="518319" y="299633"/>
            <a:ext cx="9740106" cy="369332"/>
          </a:xfrm>
        </p:spPr>
        <p:txBody>
          <a:bodyPr/>
          <a:lstStyle/>
          <a:p>
            <a:r>
              <a:rPr lang="de-DE" err="1">
                <a:cs typeface="Arial"/>
              </a:rPr>
              <a:t>Decision</a:t>
            </a:r>
            <a:r>
              <a:rPr lang="de-DE">
                <a:cs typeface="Arial"/>
              </a:rPr>
              <a:t> Analysis</a:t>
            </a:r>
            <a:endParaRPr lang="de-DE" b="0">
              <a:cs typeface="Arial"/>
            </a:endParaRPr>
          </a:p>
        </p:txBody>
      </p:sp>
      <p:sp>
        <p:nvSpPr>
          <p:cNvPr id="43" name="Textplatzhalter 42">
            <a:extLst>
              <a:ext uri="{FF2B5EF4-FFF2-40B4-BE49-F238E27FC236}">
                <a16:creationId xmlns:a16="http://schemas.microsoft.com/office/drawing/2014/main" id="{3896FE4D-A7AE-099B-363F-0C85F0A9502A}"/>
              </a:ext>
            </a:extLst>
          </p:cNvPr>
          <p:cNvSpPr>
            <a:spLocks noGrp="1"/>
          </p:cNvSpPr>
          <p:nvPr>
            <p:ph type="body" sz="quarter" idx="59"/>
          </p:nvPr>
        </p:nvSpPr>
        <p:spPr/>
        <p:txBody>
          <a:bodyPr/>
          <a:lstStyle/>
          <a:p>
            <a:r>
              <a:rPr lang="de-DE">
                <a:cs typeface="Arial"/>
              </a:rPr>
              <a:t>Multi-</a:t>
            </a:r>
            <a:r>
              <a:rPr lang="de-DE" err="1">
                <a:cs typeface="Arial"/>
              </a:rPr>
              <a:t>Criteria</a:t>
            </a:r>
            <a:r>
              <a:rPr lang="de-DE">
                <a:cs typeface="Arial"/>
              </a:rPr>
              <a:t> </a:t>
            </a:r>
            <a:r>
              <a:rPr lang="de-DE" err="1">
                <a:cs typeface="Arial"/>
              </a:rPr>
              <a:t>Decision</a:t>
            </a:r>
            <a:r>
              <a:rPr lang="de-DE">
                <a:cs typeface="Arial"/>
              </a:rPr>
              <a:t> Analysis</a:t>
            </a:r>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8</a:t>
            </a:fld>
            <a:endParaRPr lang="de-DE"/>
          </a:p>
        </p:txBody>
      </p:sp>
      <p:graphicFrame>
        <p:nvGraphicFramePr>
          <p:cNvPr id="2" name="Table 1">
            <a:extLst>
              <a:ext uri="{FF2B5EF4-FFF2-40B4-BE49-F238E27FC236}">
                <a16:creationId xmlns:a16="http://schemas.microsoft.com/office/drawing/2014/main" id="{3C4A8400-3FA5-C5FE-AEC1-E980B5F61320}"/>
              </a:ext>
            </a:extLst>
          </p:cNvPr>
          <p:cNvGraphicFramePr>
            <a:graphicFrameLocks noGrp="1"/>
          </p:cNvGraphicFramePr>
          <p:nvPr>
            <p:extLst>
              <p:ext uri="{D42A27DB-BD31-4B8C-83A1-F6EECF244321}">
                <p14:modId xmlns:p14="http://schemas.microsoft.com/office/powerpoint/2010/main" val="3384715818"/>
              </p:ext>
            </p:extLst>
          </p:nvPr>
        </p:nvGraphicFramePr>
        <p:xfrm>
          <a:off x="243194" y="1355409"/>
          <a:ext cx="11705611" cy="4293164"/>
        </p:xfrm>
        <a:graphic>
          <a:graphicData uri="http://schemas.openxmlformats.org/drawingml/2006/table">
            <a:tbl>
              <a:tblPr firstRow="1" firstCol="1" bandRow="1">
                <a:tableStyleId>{5C22544A-7EE6-4342-B048-85BDC9FD1C3A}</a:tableStyleId>
              </a:tblPr>
              <a:tblGrid>
                <a:gridCol w="2840023">
                  <a:extLst>
                    <a:ext uri="{9D8B030D-6E8A-4147-A177-3AD203B41FA5}">
                      <a16:colId xmlns:a16="http://schemas.microsoft.com/office/drawing/2014/main" val="497888022"/>
                    </a:ext>
                  </a:extLst>
                </a:gridCol>
                <a:gridCol w="2595169">
                  <a:extLst>
                    <a:ext uri="{9D8B030D-6E8A-4147-A177-3AD203B41FA5}">
                      <a16:colId xmlns:a16="http://schemas.microsoft.com/office/drawing/2014/main" val="2501842300"/>
                    </a:ext>
                  </a:extLst>
                </a:gridCol>
                <a:gridCol w="2146708">
                  <a:extLst>
                    <a:ext uri="{9D8B030D-6E8A-4147-A177-3AD203B41FA5}">
                      <a16:colId xmlns:a16="http://schemas.microsoft.com/office/drawing/2014/main" val="4231610209"/>
                    </a:ext>
                  </a:extLst>
                </a:gridCol>
                <a:gridCol w="2146708">
                  <a:extLst>
                    <a:ext uri="{9D8B030D-6E8A-4147-A177-3AD203B41FA5}">
                      <a16:colId xmlns:a16="http://schemas.microsoft.com/office/drawing/2014/main" val="4148848501"/>
                    </a:ext>
                  </a:extLst>
                </a:gridCol>
                <a:gridCol w="1977003">
                  <a:extLst>
                    <a:ext uri="{9D8B030D-6E8A-4147-A177-3AD203B41FA5}">
                      <a16:colId xmlns:a16="http://schemas.microsoft.com/office/drawing/2014/main" val="4005359006"/>
                    </a:ext>
                  </a:extLst>
                </a:gridCol>
              </a:tblGrid>
              <a:tr h="493991">
                <a:tc rowSpan="2">
                  <a:txBody>
                    <a:bodyPr/>
                    <a:lstStyle/>
                    <a:p>
                      <a:pPr marL="228600" indent="-228600" algn="ctr">
                        <a:lnSpc>
                          <a:spcPct val="107000"/>
                        </a:lnSpc>
                        <a:tabLst>
                          <a:tab pos="228600" algn="l"/>
                          <a:tab pos="457200" algn="l"/>
                        </a:tabLst>
                      </a:pPr>
                      <a:r>
                        <a:rPr lang="en-CA" sz="2000" kern="100">
                          <a:effectLst/>
                        </a:rPr>
                        <a:t>Criteria</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rowSpan="2">
                  <a:txBody>
                    <a:bodyPr/>
                    <a:lstStyle/>
                    <a:p>
                      <a:pPr marL="228600" indent="-228600" algn="ctr">
                        <a:lnSpc>
                          <a:spcPct val="107000"/>
                        </a:lnSpc>
                        <a:tabLst>
                          <a:tab pos="228600" algn="l"/>
                          <a:tab pos="457200" algn="l"/>
                        </a:tabLst>
                      </a:pPr>
                      <a:r>
                        <a:rPr lang="en-CA" sz="2000" kern="100">
                          <a:effectLst/>
                        </a:rPr>
                        <a:t>Weight</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gridSpan="3">
                  <a:txBody>
                    <a:bodyPr/>
                    <a:lstStyle/>
                    <a:p>
                      <a:pPr marL="228600" indent="-228600" algn="ctr">
                        <a:lnSpc>
                          <a:spcPct val="107000"/>
                        </a:lnSpc>
                        <a:spcAft>
                          <a:spcPts val="800"/>
                        </a:spcAft>
                        <a:tabLst>
                          <a:tab pos="228600" algn="l"/>
                          <a:tab pos="457200" algn="l"/>
                        </a:tabLst>
                      </a:pPr>
                      <a:r>
                        <a:rPr lang="en-CA" sz="2000" kern="100">
                          <a:effectLst/>
                        </a:rPr>
                        <a:t>Scores (0 - 5)</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688767968"/>
                  </a:ext>
                </a:extLst>
              </a:tr>
              <a:tr h="493991">
                <a:tc vMerge="1">
                  <a:txBody>
                    <a:bodyPr/>
                    <a:lstStyle/>
                    <a:p>
                      <a:endParaRPr lang="en-CA"/>
                    </a:p>
                  </a:txBody>
                  <a:tcPr/>
                </a:tc>
                <a:tc vMerge="1">
                  <a:txBody>
                    <a:bodyPr/>
                    <a:lstStyle/>
                    <a:p>
                      <a:endParaRPr lang="en-CA"/>
                    </a:p>
                  </a:txBody>
                  <a:tcPr/>
                </a:tc>
                <a:tc>
                  <a:txBody>
                    <a:bodyPr/>
                    <a:lstStyle/>
                    <a:p>
                      <a:pPr marL="228600" indent="-228600" algn="ctr">
                        <a:lnSpc>
                          <a:spcPct val="107000"/>
                        </a:lnSpc>
                        <a:tabLst>
                          <a:tab pos="228600" algn="l"/>
                          <a:tab pos="457200" algn="l"/>
                        </a:tabLst>
                      </a:pPr>
                      <a:r>
                        <a:rPr lang="en-CA" sz="2000" b="1" kern="100">
                          <a:effectLst/>
                        </a:rPr>
                        <a:t>Design 1</a:t>
                      </a:r>
                      <a:endParaRPr lang="en-CA" sz="2000" b="1"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b="1" kern="100">
                          <a:effectLst/>
                        </a:rPr>
                        <a:t>Design 2</a:t>
                      </a:r>
                      <a:endParaRPr lang="en-CA" sz="2000" b="1"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b="1" kern="100">
                          <a:effectLst/>
                        </a:rPr>
                        <a:t>Design 3</a:t>
                      </a:r>
                      <a:endParaRPr lang="en-CA" sz="2000" b="1"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686667838"/>
                  </a:ext>
                </a:extLst>
              </a:tr>
              <a:tr h="493991">
                <a:tc>
                  <a:txBody>
                    <a:bodyPr/>
                    <a:lstStyle/>
                    <a:p>
                      <a:pPr marL="228600" indent="-228600">
                        <a:lnSpc>
                          <a:spcPct val="107000"/>
                        </a:lnSpc>
                        <a:tabLst>
                          <a:tab pos="228600" algn="l"/>
                          <a:tab pos="457200" algn="l"/>
                        </a:tabLst>
                      </a:pPr>
                      <a:r>
                        <a:rPr lang="en-CA" sz="2000" kern="100">
                          <a:effectLst/>
                        </a:rPr>
                        <a:t>Ability to Bounce Ball</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2.8</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4</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0</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2</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2060448817"/>
                  </a:ext>
                </a:extLst>
              </a:tr>
              <a:tr h="493991">
                <a:tc>
                  <a:txBody>
                    <a:bodyPr/>
                    <a:lstStyle/>
                    <a:p>
                      <a:pPr marL="228600" indent="-228600">
                        <a:lnSpc>
                          <a:spcPct val="107000"/>
                        </a:lnSpc>
                        <a:tabLst>
                          <a:tab pos="228600" algn="l"/>
                          <a:tab pos="457200" algn="l"/>
                        </a:tabLst>
                      </a:pPr>
                      <a:r>
                        <a:rPr lang="en-CA" sz="2000" kern="100">
                          <a:effectLst/>
                        </a:rPr>
                        <a:t>Optimize Cost</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3.4</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4</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5</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1</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1248041958"/>
                  </a:ext>
                </a:extLst>
              </a:tr>
              <a:tr h="688884">
                <a:tc>
                  <a:txBody>
                    <a:bodyPr/>
                    <a:lstStyle/>
                    <a:p>
                      <a:pPr marL="228600" indent="-228600">
                        <a:lnSpc>
                          <a:spcPct val="107000"/>
                        </a:lnSpc>
                        <a:tabLst>
                          <a:tab pos="228600" algn="l"/>
                          <a:tab pos="457200" algn="l"/>
                        </a:tabLst>
                      </a:pPr>
                      <a:r>
                        <a:rPr lang="en-CA" sz="2000" kern="100">
                          <a:effectLst/>
                        </a:rPr>
                        <a:t>Ease of Assembly / Disassembly</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3.8</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4</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5</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1</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2155683252"/>
                  </a:ext>
                </a:extLst>
              </a:tr>
              <a:tr h="493991">
                <a:tc>
                  <a:txBody>
                    <a:bodyPr/>
                    <a:lstStyle/>
                    <a:p>
                      <a:pPr marL="228600" indent="-228600">
                        <a:lnSpc>
                          <a:spcPct val="107000"/>
                        </a:lnSpc>
                        <a:tabLst>
                          <a:tab pos="228600" algn="l"/>
                          <a:tab pos="457200" algn="l"/>
                        </a:tabLst>
                      </a:pPr>
                      <a:r>
                        <a:rPr lang="en-CA" sz="2000" kern="100">
                          <a:effectLst/>
                        </a:rPr>
                        <a:t>Reaction Speed &amp; Control</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3.6</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5</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3</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2</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3114592197"/>
                  </a:ext>
                </a:extLst>
              </a:tr>
              <a:tr h="493991">
                <a:tc>
                  <a:txBody>
                    <a:bodyPr/>
                    <a:lstStyle/>
                    <a:p>
                      <a:pPr marL="228600" indent="-228600">
                        <a:lnSpc>
                          <a:spcPct val="107000"/>
                        </a:lnSpc>
                        <a:tabLst>
                          <a:tab pos="228600" algn="l"/>
                          <a:tab pos="457200" algn="l"/>
                        </a:tabLst>
                      </a:pPr>
                      <a:r>
                        <a:rPr lang="en-CA" sz="2000" kern="100">
                          <a:effectLst/>
                        </a:rPr>
                        <a:t>Range of Motion</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2.8</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4</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3</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2</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2898980855"/>
                  </a:ext>
                </a:extLst>
              </a:tr>
              <a:tr h="493991">
                <a:tc>
                  <a:txBody>
                    <a:bodyPr/>
                    <a:lstStyle/>
                    <a:p>
                      <a:pPr marL="228600" indent="-228600">
                        <a:lnSpc>
                          <a:spcPct val="107000"/>
                        </a:lnSpc>
                        <a:tabLst>
                          <a:tab pos="228600" algn="l"/>
                          <a:tab pos="457200" algn="l"/>
                        </a:tabLst>
                      </a:pPr>
                      <a:r>
                        <a:rPr lang="en-CA" sz="2000" kern="100">
                          <a:effectLst/>
                        </a:rPr>
                        <a:t>Weighted Total:</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228600" indent="-228600" algn="ctr">
                        <a:lnSpc>
                          <a:spcPct val="107000"/>
                        </a:lnSpc>
                        <a:tabLst>
                          <a:tab pos="228600" algn="l"/>
                          <a:tab pos="457200" algn="l"/>
                        </a:tabLst>
                      </a:pPr>
                      <a:r>
                        <a:rPr lang="en-CA" sz="2000" kern="100">
                          <a:effectLst/>
                        </a:rPr>
                        <a:t>-</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b="1" kern="100">
                          <a:effectLst/>
                        </a:rPr>
                        <a:t>70.2</a:t>
                      </a:r>
                      <a:endParaRPr lang="en-CA" sz="2000" b="1"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tabLst>
                          <a:tab pos="228600" algn="l"/>
                          <a:tab pos="457200" algn="l"/>
                        </a:tabLst>
                      </a:pPr>
                      <a:r>
                        <a:rPr lang="en-CA" sz="2000" kern="100">
                          <a:effectLst/>
                        </a:rPr>
                        <a:t>55.2</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tc>
                  <a:txBody>
                    <a:bodyPr/>
                    <a:lstStyle/>
                    <a:p>
                      <a:pPr marL="228600" indent="-228600" algn="ctr">
                        <a:lnSpc>
                          <a:spcPct val="107000"/>
                        </a:lnSpc>
                        <a:spcAft>
                          <a:spcPts val="800"/>
                        </a:spcAft>
                        <a:tabLst>
                          <a:tab pos="228600" algn="l"/>
                          <a:tab pos="457200" algn="l"/>
                        </a:tabLst>
                      </a:pPr>
                      <a:r>
                        <a:rPr lang="en-CA" sz="2000" kern="100">
                          <a:effectLst/>
                        </a:rPr>
                        <a:t>25.6</a:t>
                      </a:r>
                      <a:endParaRPr lang="en-CA" sz="2000" kern="100">
                        <a:effectLst/>
                        <a:latin typeface="Aptos" panose="020B0004020202020204" pitchFamily="34" charset="0"/>
                        <a:ea typeface="Aptos" panose="020B000402020202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2151597237"/>
                  </a:ext>
                </a:extLst>
              </a:tr>
            </a:tbl>
          </a:graphicData>
        </a:graphic>
      </p:graphicFrame>
    </p:spTree>
    <p:extLst>
      <p:ext uri="{BB962C8B-B14F-4D97-AF65-F5344CB8AC3E}">
        <p14:creationId xmlns:p14="http://schemas.microsoft.com/office/powerpoint/2010/main" val="1274719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el 41">
            <a:extLst>
              <a:ext uri="{FF2B5EF4-FFF2-40B4-BE49-F238E27FC236}">
                <a16:creationId xmlns:a16="http://schemas.microsoft.com/office/drawing/2014/main" id="{C7E757C5-03D1-1F7C-8394-C9FB4BCDFB61}"/>
              </a:ext>
            </a:extLst>
          </p:cNvPr>
          <p:cNvSpPr>
            <a:spLocks noGrp="1"/>
          </p:cNvSpPr>
          <p:nvPr>
            <p:ph type="title"/>
          </p:nvPr>
        </p:nvSpPr>
        <p:spPr/>
        <p:txBody>
          <a:bodyPr/>
          <a:lstStyle/>
          <a:p>
            <a:r>
              <a:rPr lang="de-DE" err="1">
                <a:cs typeface="Arial"/>
              </a:rPr>
              <a:t>Preliminary</a:t>
            </a:r>
            <a:r>
              <a:rPr lang="de-DE">
                <a:cs typeface="Arial"/>
              </a:rPr>
              <a:t> </a:t>
            </a:r>
            <a:r>
              <a:rPr lang="de-DE" err="1">
                <a:cs typeface="Arial"/>
              </a:rPr>
              <a:t>Conceptional</a:t>
            </a:r>
            <a:r>
              <a:rPr lang="de-DE">
                <a:cs typeface="Arial"/>
              </a:rPr>
              <a:t> Design</a:t>
            </a:r>
            <a:endParaRPr lang="de-DE"/>
          </a:p>
        </p:txBody>
      </p:sp>
      <p:sp>
        <p:nvSpPr>
          <p:cNvPr id="43" name="Textplatzhalter 42">
            <a:extLst>
              <a:ext uri="{FF2B5EF4-FFF2-40B4-BE49-F238E27FC236}">
                <a16:creationId xmlns:a16="http://schemas.microsoft.com/office/drawing/2014/main" id="{3896FE4D-A7AE-099B-363F-0C85F0A9502A}"/>
              </a:ext>
            </a:extLst>
          </p:cNvPr>
          <p:cNvSpPr>
            <a:spLocks noGrp="1"/>
          </p:cNvSpPr>
          <p:nvPr>
            <p:ph type="body" sz="quarter" idx="59"/>
          </p:nvPr>
        </p:nvSpPr>
        <p:spPr/>
        <p:txBody>
          <a:bodyPr/>
          <a:lstStyle/>
          <a:p>
            <a:r>
              <a:rPr lang="de-DE">
                <a:cs typeface="Arial"/>
              </a:rPr>
              <a:t>System </a:t>
            </a:r>
            <a:r>
              <a:rPr lang="de-DE" err="1">
                <a:cs typeface="Arial"/>
              </a:rPr>
              <a:t>sketch</a:t>
            </a:r>
            <a:r>
              <a:rPr lang="de-DE">
                <a:cs typeface="Arial"/>
              </a:rPr>
              <a:t> – Design 1 </a:t>
            </a:r>
            <a:endParaRPr lang="de-DE"/>
          </a:p>
        </p:txBody>
      </p:sp>
      <p:sp>
        <p:nvSpPr>
          <p:cNvPr id="27" name="Foliennummernplatzhalter 26">
            <a:extLst>
              <a:ext uri="{FF2B5EF4-FFF2-40B4-BE49-F238E27FC236}">
                <a16:creationId xmlns:a16="http://schemas.microsoft.com/office/drawing/2014/main" id="{6ACF39F5-C145-B30E-6FE5-364D7828441D}"/>
              </a:ext>
            </a:extLst>
          </p:cNvPr>
          <p:cNvSpPr>
            <a:spLocks noGrp="1"/>
          </p:cNvSpPr>
          <p:nvPr>
            <p:ph type="sldNum" sz="quarter" idx="66"/>
          </p:nvPr>
        </p:nvSpPr>
        <p:spPr/>
        <p:txBody>
          <a:bodyPr/>
          <a:lstStyle/>
          <a:p>
            <a:fld id="{C6A4AD45-2621-4550-9DC5-4911F1B5FA4D}" type="slidenum">
              <a:rPr lang="de-DE" smtClean="0"/>
              <a:pPr/>
              <a:t>9</a:t>
            </a:fld>
            <a:endParaRPr lang="de-DE"/>
          </a:p>
        </p:txBody>
      </p:sp>
      <p:pic>
        <p:nvPicPr>
          <p:cNvPr id="3" name="Grafik 2">
            <a:extLst>
              <a:ext uri="{FF2B5EF4-FFF2-40B4-BE49-F238E27FC236}">
                <a16:creationId xmlns:a16="http://schemas.microsoft.com/office/drawing/2014/main" id="{494A2FD9-1611-92C7-D14D-04C8CF3B311B}"/>
              </a:ext>
            </a:extLst>
          </p:cNvPr>
          <p:cNvPicPr>
            <a:picLocks noChangeAspect="1"/>
          </p:cNvPicPr>
          <p:nvPr/>
        </p:nvPicPr>
        <p:blipFill>
          <a:blip r:embed="rId2"/>
          <a:srcRect l="9374" t="8630" r="4818" b="2669"/>
          <a:stretch/>
        </p:blipFill>
        <p:spPr>
          <a:xfrm>
            <a:off x="3558412" y="1788160"/>
            <a:ext cx="4917440" cy="4447788"/>
          </a:xfrm>
          <a:prstGeom prst="rect">
            <a:avLst/>
          </a:prstGeom>
        </p:spPr>
      </p:pic>
    </p:spTree>
    <p:extLst>
      <p:ext uri="{BB962C8B-B14F-4D97-AF65-F5344CB8AC3E}">
        <p14:creationId xmlns:p14="http://schemas.microsoft.com/office/powerpoint/2010/main" val="3874982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b468f759-76e0-4d03-bd06-9d48572d903c"/>
  <p:tag name="EE4P_AGENDAWIZARD" val="&lt;ee4p&gt;&lt;layouts&gt;&lt;layout name=&quot;Section Divider Agenda&quot; id=&quot;491_1&quot;&gt;&lt;standard&gt;&lt;textframe horizontalAnchor=&quot;1&quot; marginBottom=&quot;0&quot; marginLeft=&quot;0&quot; marginRight=&quot;0&quot; marginTop=&quot;0&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1&quot; fontSize=&quot;14&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5.71654&quot; /&gt;&lt;column field=&quot;topic&quot; label=&quot;Topic&quot; leftSpacing=&quot;11.36126&quot; rightDistribute=&quot;1&quot; dock=&quot;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position left=&quot;40.81252&quot; top=&quot;133.7706&quot; width=&quot;878.7402&quot; height=&quot;351.4961&quot; /&gt;&lt;settings allowedSizingModeIds=&quot;1|2&quot; allowedFontSizes=&quot;8|9|10|10.5|11|12|14|16|18&quot; allowedTimeFormatIds=&quot;1|2|3&quot; slideLayout=&quot;11&quot; customLayoutNameSingle=&quot;&quot; customLayoutName=&quot;Section Divider#Kapiteltrenner#Section Divider&quot; customLayoutSeparators=&quot;#&quot; customLayoutIndex=&quot;&quot; showBreak=&quot;1&quot; singleAgendaSlideSelected=&quot;0&quot; backupSlideTitle=&quot;Backup: %agendaName%&quot; topMargin=&quot;0&quot; leftMargin=&quot;0&quot; allowedLevels=&quot;2&quot; itemNoFormats=&quot;{1:2}¦{1}.{2}&quot; /&gt;&lt;cases&gt;&lt;case level=&quot;1&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itemno&quot; type=&quot;autoshape&quot; autoShapeType=&quot;1&quot;&gt;&lt;textframe verticalAnchor=&quot;3&quot; marginRight=&quot;0&quot; /&gt;&lt;paragraphformat alignment=&quot;1&quot; /&gt;&lt;font color=&quot;#0f2db3&quot; bold=&quot;1&quot; relativeSize=&quot;2&quot; /&gt;&lt;/element&gt;&lt;element field=&quot;topic&quot; type=&quot;autoshape&quot; autoShapeType=&quot;1&quot;&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gt;&lt;textframe verticalAnchor=&quot;3&quot; marginRight=&quot;0&quot; /&gt;&lt;paragraphformat alignment=&quot;1&quot; /&gt;&lt;font color=&quot;14&quot; bold=&quot;1&quot; relativeSize=&quot;2&quot; /&gt;&lt;/element&gt;&lt;element field=&quot;topic&quot; type=&quot;autoshape&quot; autoShapeType=&quot;1&quot;&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2&quot; selected=&quot;0&quot; break=&quot;0&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35.71654*scale*fontScale&quot; top=&quot;-5.25*scale*fontScale&quot; width=&quot;agendaWidth-35.71654*scale*fontScale&quot; height=&quot;0&quot; /&gt;&lt;line style=&quot;1&quot; dashStyle=&quot;1&quot; foreColor=&quot;#dce3e9&quot; transparency=&quot;0&quot; visible=&quot;1&quot; weight=&quot;0.75&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element&gt;&lt;element field=&quot;topic&quot; type=&quot;autoshape&quot; autoShapeType=&quot;1&quot; indent=&quot;(level-1)*(itemSingleHeight)&quot; indentType=&quot;2&quot;&gt;&lt;paragraphformat alignment=&quot;1&quot; /&gt;&lt;textframe marginLeft=&quot;0&quot; verticalAnchor=&quot;3&quot; /&gt;&lt;/element&gt;&lt;element field=&quot;responsible&quot; type=&quot;autoshape&quot; autoShapeType=&quot;1&quot; indent=&quot;(level-1)*(itemSingleHeight)&quot; indent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2&quot; selected=&quot;1&quot; break=&quot;0&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itemno&quot; type=&quot;autoshape&quot; autoShapeType=&quot;1&quot; indent=&quot;(level-1)*(itemSingleHeight+topicLeftSpacing+1.788425)&quot; indentType=&quot;1&quot;&gt;&lt;position height=&quot;33.92811*scale*fontScale&quot; /&gt;&lt;textframe verticalAnchor=&quot;3&quot; marginRight=&quot;0&quot; /&gt;&lt;paragraphformat alignment=&quot;1&quot; /&gt;&lt;font color=&quot;14&quot; /&gt;&lt;/element&gt;&lt;element field=&quot;topic&quot; type=&quot;autoshape&quot; autoShapeType=&quot;1&quot; indent=&quot;(level-1)*(itemSingleHeight)&quot; indentType=&quot;2&quot;&gt;&lt;paragraphformat alignment=&quot;1&quot; /&gt;&lt;textframe marginLeft=&quot;0&quot; verticalAnchor=&quot;3&quot; /&gt;&lt;font color=&quot;14&quot; /&gt;&lt;/element&gt;&lt;element field=&quot;responsible&quot; type=&quot;autoshape&quot; autoShapeType=&quot;1&quot; indent=&quot;(level-1)*(itemSingleHeight)&quot; indent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 level=&quot;1&quot; selected=&quot;0&quot; break=&quot;1&quot; topMinSpacing=&quot;10.5&quot; topMaxSpacing=&quot;10.5&quot; bottomMinSpacing=&quot;0&quot; bottomMaxSpacing=&quot;0&quot;&gt;&lt;element type=&quot;line&quot; value=&quot;&quot; filter=&quot;2&quot;&gt;&lt;position left=&quot;0&quot; top=&quot;itemHeight+5.25scale*fontScale&quot; width=&quot;agendaWidth&quot; height=&quot;0&quot; /&gt;&lt;line style=&quot;1&quot; dashStyle=&quot;1&quot; foreColor=&quot;#dce3e9&quot; transparency=&quot;0&quot; visible=&quot;1&quot; weight=&quot;0.75&quot; /&gt;&lt;/element&gt;&lt;element type=&quot;line&quot; value=&quot;&quot;&gt;&lt;position left=&quot;0&quot; top=&quot;-5.25*scale*fontScale&quot; width=&quot;agendaWidth&quot; height=&quot;0&quot; /&gt;&lt;line style=&quot;1&quot; dashStyle=&quot;1&quot; foreColor=&quot;#dce3e9&quot; transparency=&quot;0&quot; visible=&quot;1&quot; weight=&quot;0.75&quot; /&gt;&lt;/element&gt;&lt;element field=&quot;topic&quot; type=&quot;autoshape&quot; autoShapeType=&quot;1&quot;&gt;&lt;position height=&quot;33.92811*scale*fontScale&quot; /&gt;&lt;paragraphformat alignment=&quot;1&quot; /&gt;&lt;textframe marginLeft=&quot;0&quot; verticalAnchor=&quot;3&quot; /&gt;&lt;/element&gt;&lt;element field=&quot;responsible&quot; type=&quot;autoshape&quot; autoShapeType=&quot;1&quot;&gt;&lt;paragraphformat alignment=&quot;1&quot; /&gt;&lt;textframe marginLeft=&quot;0&quot; verticalAnchor=&quot;3&quot; /&gt;&lt;/element&gt;&lt;element field=&quot;timeslot&quot; type=&quot;autoshape&quot; autoShapeType=&quot;1&quot;&gt;&lt;paragraphformat alignment=&quot;1&quot; /&gt;&lt;textframe marginLeft=&quot;0&quot; verticalAnchor=&quot;3&quot; /&gt;&lt;/element&gt;&lt;element field=&quot;pageno&quot; type=&quot;autoshape&quot; autoShapeType=&quot;1&quot;&gt;&lt;paragraphformat alignment=&quot;3&quot; /&gt;&lt;textframe marginLeft=&quot;0&quot; verticalAnchor=&quot;3&quot; /&gt;&lt;/element&gt;&lt;/case&gt;&lt;case level=&quot;1&quot; selected=&quot;1&quot; break=&quot;1&quot; topMinSpacing=&quot;10.5&quot; topMaxSpacing=&quot;10.5&quot; bottomMinSpacing=&quot;0&quot; bottomMaxSpacing=&quot;0&quot;&gt;&lt;element type=&quot;autoshape&quot; autoShapeType=&quot;1&quot; value=&quot;&quot;&gt;&lt;position left=&quot;-40.81252&quot; top=&quot;-5.25*scale*fontScale&quot; width=&quot;960&quot; height=&quot;1.25+itemHeight+10.5*scale*fontScale&quot; /&gt;&lt;fill foreColor=&quot;#0f2db3&quot; visible=&quot;1&quot; /&gt;&lt;/element&gt;&lt;element field=&quot;topic&quot; type=&quot;autoshape&quot; autoShapeType=&quot;1&quot;&gt;&lt;position height=&quot;33.92811*scale*fontScale&quot; /&gt;&lt;paragraphformat alignment=&quot;1&quot; /&gt;&lt;textframe marginLeft=&quot;0&quot; verticalAnchor=&quot;3&quot; /&gt;&lt;font color=&quot;14&quot; /&gt;&lt;/element&gt;&lt;element field=&quot;responsible&quot; type=&quot;autoshape&quot; autoShapeType=&quot;1&quot;&gt;&lt;paragraphformat alignment=&quot;1&quot; /&gt;&lt;textframe marginLeft=&quot;0&quot; verticalAnchor=&quot;3&quot; /&gt;&lt;font color=&quot;14&quot; /&gt;&lt;/element&gt;&lt;element field=&quot;timeslot&quot; type=&quot;autoshape&quot; autoShapeType=&quot;1&quot;&gt;&lt;paragraphformat alignment=&quot;1&quot; /&gt;&lt;textframe marginLeft=&quot;0&quot; verticalAnchor=&quot;3&quot; /&gt;&lt;font color=&quot;14&quot; /&gt;&lt;/element&gt;&lt;element field=&quot;pageno&quot; type=&quot;autoshape&quot; autoShapeType=&quot;1&quot;&gt;&lt;paragraphformat alignment=&quot;3&quot; /&gt;&lt;textframe marginLeft=&quot;0&quot; verticalAnchor=&quot;3&quot; /&gt;&lt;font color=&quot;14&quot; /&gt;&lt;/element&gt;&lt;/case&gt;&lt;/cases&gt;&lt;elements /&gt;&lt;/layout&gt;&lt;/layouts&gt;&lt;contents&gt;&lt;agenda name=&quot;New Agenda&quot; title=&quot;Agenda&quot; subtitle=&quot;&quot; sizingModeId=&quot;1&quot; fontSize=&quot;18&quot; fontSizeAuto=&quot;0&quot; startTime=&quot;540&quot; timeFormatId=&quot;1&quot; startItemNo=&quot;1&quot; createSingleAgendaSlide=&quot;1&quot; createSeparatingSlides=&quot;1&quot; createBackupSlide=&quot;1&quot; layoutId=&quot;491_1&quot; hideSeparatingSlides=&quot;0&quot; createSections=&quot;0&quot; singleSlideId=&quot;b8054def-c79d-47c0-9f7a-8efeb3159b17&quot; backupSlideId=&quot;3d8867f4-a236-4b80-9d82-d052c2a55f6c&quot;&gt;&lt;columns leftSpacing=&quot;0&quot; rightSpacing=&quot;0&quot;&gt;&lt;column field=&quot;itemno&quot; label=&quot;No.&quot; checked=&quot;1&quot; leftSpacing=&quot;0&quot; rightSpacing=&quot;0&quot; dock=&quot;1&quot; fixedWidth=&quot;35.71654&quot; /&gt;&lt;column field=&quot;topic&quot; label=&quot;Topic&quot; leftSpacing=&quot;14.60734&quot; rightDistribute=&quot;1&quot; dock=&quot;1&quot; rightSpacing=&quot;652.61&quot; /&gt;&lt;column field=&quot;responsible&quot; label=&quot;Responsible&quot; visible=&quot;1&quot; checked=&quot;0&quot; leftSpacing=&quot;10&quot; dock=&quot;1&quot; /&gt;&lt;column field=&quot;freecolumn&quot; label=&quot;&quot; visible=&quot;0&quot; checked=&quot;0&quot; leftSpacing=&quot;10&quot; rightDistribute=&quot;1&quot; dock=&quot;1&quot; /&gt;&lt;column field=&quot;timeslot&quot; label=&quot;Time Slot&quot; visible=&quot;1&quot; checked=&quot;0&quot; leftSpacing=&quot;20&quot; rightSpacing=&quot;0&quot; dock=&quot;2&quot; /&gt;&lt;column field=&quot;pageno&quot; label=&quot;Page No.&quot; visible=&quot;0&quot; checked=&quot;0&quot; leftSpacing=&quot;20&quot; rightSpacing=&quot;0&quot; dock=&quot;2&quot; /&gt;&lt;/columns&gt;&lt;items&gt;&lt;item duration=&quot;30&quot; id=&quot;9155fe4a-7d34-4c30-8c69-ab9cb796c05f&quot; parentId=&quot;&quot; level=&quot;1&quot; generateAgendaSlide=&quot;1&quot; showAgendaItem=&quot;1&quot; isBreak=&quot;0&quot; topic=&quot;Problemstellung&quot; agendaSlideId=&quot;d7a49385-cff5-4c77-86ef-8fe9481951d0&quot; /&gt;&lt;item duration=&quot;30&quot; id=&quot;6736e858-7510-4966-b373-9b827becad04&quot; parentId=&quot;&quot; level=&quot;1&quot; generateAgendaSlide=&quot;1&quot; showAgendaItem=&quot;1&quot; isBreak=&quot;0&quot; topic=&quot;Anforderungen&quot; agendaSlideId=&quot;a7db6ba7-72b2-4936-a196-b291c0da5956&quot; /&gt;&lt;item duration=&quot;30&quot; id=&quot;8de54c87-77ac-41e2-9312-88888172b95d&quot; parentId=&quot;&quot; level=&quot;1&quot; generateAgendaSlide=&quot;1&quot; showAgendaItem=&quot;1&quot; isBreak=&quot;0&quot; topic=&quot;Mess- und Prüfprinzip&quot; agendaSlideId=&quot;6af0553f-d003-4993-96ed-a532cb811b37&quot; /&gt;&lt;item duration=&quot;30&quot; id=&quot;6131e443-38e7-4276-87f7-f41c0712277e&quot; parentId=&quot;&quot; level=&quot;1&quot; generateAgendaSlide=&quot;1&quot; showAgendaItem=&quot;1&quot; isBreak=&quot;0&quot; topic=&quot;Umsetzung&quot; agendaSlideId=&quot;0f8e3dea-11d9-4115-8b96-471584218ff7&quot; /&gt;&lt;item duration=&quot;30&quot; id=&quot;1a20ed3a-4db7-4382-9a7c-f85e299ba3a9&quot; parentId=&quot;&quot; level=&quot;1&quot; generateAgendaSlide=&quot;1&quot; showAgendaItem=&quot;1&quot; isBreak=&quot;0&quot; topic=&quot;Ausblick&quot; agendaSlideId=&quot;f3a54ac1-a758-4c31-90fd-78c8b2e0f479&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Element"/>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Topic"/>
  <p:tag name="EE4P_AGENDAWIZARD_CONTENT" val="/Mess- und Prüfprinzip"/>
  <p:tag name="EE4P_AGENDAWIZARD_PROPERTIES" val="101.3411/248.0144/165.6016/43.62189"/>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6af0553f-d003-4993-96ed-a532cb811b37_ItemNo"/>
  <p:tag name="EE4P_AGENDAWIZARD_CONTENT" val="/03"/>
  <p:tag name="EE4P_AGENDAWIZARD_PROPERTIES" val="40.81252/248.0144/45.92126/43.62189"/>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Element"/>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Topic"/>
  <p:tag name="EE4P_AGENDAWIZARD_CONTENT" val="/Anforderungen"/>
  <p:tag name="EE4P_AGENDAWIZARD_PROPERTIES" val="101.3411/190.8925/165.6016/43.62189"/>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a7db6ba7-72b2-4936-a196-b291c0da5956_ItemNo"/>
  <p:tag name="EE4P_AGENDAWIZARD_CONTENT" val="/02"/>
  <p:tag name="EE4P_AGENDAWIZARD_PROPERTIES" val="40.81252/190.8925/45.92126/43.62189"/>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Element"/>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Topic"/>
  <p:tag name="EE4P_AGENDAWIZARD_CONTENT" val="/Problemstellung"/>
  <p:tag name="EE4P_AGENDAWIZARD_PROPERTIES" val="101.3411/133.7706/165.6016/43.62189"/>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d7a49385-cff5-4c77-86ef-8fe9481951d0_ItemNo"/>
  <p:tag name="EE4P_AGENDAWIZARD_CONTENT" val="/01"/>
  <p:tag name="EE4P_AGENDAWIZARD_PROPERTIES" val="40.81252/133.7706/45.92126/43.62189"/>
</p:tagLst>
</file>

<file path=ppt/tags/tag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xml><?xml version="1.0" encoding="utf-8"?>
<p:tagLst xmlns:a="http://schemas.openxmlformats.org/drawingml/2006/main" xmlns:r="http://schemas.openxmlformats.org/officeDocument/2006/relationships" xmlns:p="http://schemas.openxmlformats.org/presentationml/2006/main">
  <p:tag name="EE4P_SLIDEID" val="d7a49385-cff5-4c77-86ef-8fe9481951d0"/>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Topic"/>
  <p:tag name="EE4P_AGENDAWIZARD_CONTENT" val="/Ausblick"/>
  <p:tag name="EE4P_AGENDAWIZARD_PROPERTIES" val="101.3411/362.2581/165.6016/43.62189"/>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f3a54ac1-a758-4c31-90fd-78c8b2e0f479_ItemNo"/>
  <p:tag name="EE4P_AGENDAWIZARD_CONTENT" val="/05"/>
  <p:tag name="EE4P_AGENDAWIZARD_PROPERTIES" val="40.81252/362.2581/45.92126/43.62189"/>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Topic"/>
  <p:tag name="EE4P_AGENDAWIZARD_CONTENT" val="/Umsetzung"/>
  <p:tag name="EE4P_AGENDAWIZARD_PROPERTIES" val="101.3411/305.1363/165.6016/43.62181"/>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0f8e3dea-11d9-4115-8b96-471584218ff7_ItemNo"/>
  <p:tag name="EE4P_AGENDAWIZARD_CONTENT" val="/04"/>
  <p:tag name="EE4P_AGENDAWIZARD_PROPERTIES" val="40.81252/305.1363/45.92126/43.62181"/>
</p:tagLst>
</file>

<file path=ppt/theme/theme1.xml><?xml version="1.0" encoding="utf-8"?>
<a:theme xmlns:a="http://schemas.openxmlformats.org/drawingml/2006/main" name="DHBW x Zeiss Master">
  <a:themeElements>
    <a:clrScheme name="ZEISS">
      <a:dk1>
        <a:srgbClr val="000000"/>
      </a:dk1>
      <a:lt1>
        <a:srgbClr val="FFFFFF"/>
      </a:lt1>
      <a:dk2>
        <a:srgbClr val="000000"/>
      </a:dk2>
      <a:lt2>
        <a:srgbClr val="FFFFFF"/>
      </a:lt2>
      <a:accent1>
        <a:srgbClr val="055ED2"/>
      </a:accent1>
      <a:accent2>
        <a:srgbClr val="4895DD"/>
      </a:accent2>
      <a:accent3>
        <a:srgbClr val="6AB0E2"/>
      </a:accent3>
      <a:accent4>
        <a:srgbClr val="A7CCED"/>
      </a:accent4>
      <a:accent5>
        <a:srgbClr val="C6DAF2"/>
      </a:accent5>
      <a:accent6>
        <a:srgbClr val="E3F1FC"/>
      </a:accent6>
      <a:hlink>
        <a:srgbClr val="008BD0"/>
      </a:hlink>
      <a:folHlink>
        <a:srgbClr val="000000"/>
      </a:folHlink>
    </a:clrScheme>
    <a:fontScheme name="ZEISS">
      <a:majorFont>
        <a:latin typeface="ZEISS Frutiger Next W1G Heavy"/>
        <a:ea typeface=""/>
        <a:cs typeface=""/>
      </a:majorFont>
      <a:minorFont>
        <a:latin typeface="ZEISS Frutiger Next W1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6F6F6"/>
        </a:solidFill>
        <a:ln>
          <a:noFill/>
        </a:ln>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marR="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kumimoji="0" sz="1600" b="0" i="0" u="none" strike="noStrike" kern="1200" cap="none" spc="0" normalizeH="0" baseline="0" noProof="0" dirty="0" smtClean="0">
            <a:ln>
              <a:noFill/>
            </a:ln>
            <a:solidFill>
              <a:srgbClr val="000000"/>
            </a:solidFill>
            <a:effectLst/>
            <a:uLnTx/>
            <a:uFillTx/>
            <a:latin typeface="ZEISS Frutiger Next W1G"/>
            <a:ea typeface="+mn-ea"/>
            <a:cs typeface="+mn-cs"/>
          </a:defRPr>
        </a:defPPr>
      </a:lstStyle>
    </a:txDef>
  </a:objectDefaults>
  <a:extraClrSchemeLst/>
  <a:custClrLst>
    <a:custClr name="ZEISS White">
      <a:srgbClr val="FFFFFF"/>
    </a:custClr>
    <a:custClr name="ZEISS Indigo">
      <a:srgbClr val="141E8C"/>
    </a:custClr>
    <a:custClr name="ZEISS Black">
      <a:srgbClr val="000000"/>
    </a:custClr>
    <a:custClr name="ZEISS Cyan">
      <a:srgbClr val="008BD0"/>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 name="ZEISS Black">
      <a:srgbClr val="000000"/>
    </a:custClr>
    <a:custClr name="ZEISS Gray 0 Ultradark">
      <a:srgbClr val="333333"/>
    </a:custClr>
    <a:custClr name="ZEISS Gray 1 Dark">
      <a:srgbClr val="4D4D4D"/>
    </a:custClr>
    <a:custClr name="ZEISS Gray 2 Semidark">
      <a:srgbClr val="666666"/>
    </a:custClr>
    <a:custClr name="ZEISS Gray 3 Medium">
      <a:srgbClr val="7F7F7F"/>
    </a:custClr>
    <a:custClr name="ZEISS Gray 4 Semilight">
      <a:srgbClr val="9B9B9B"/>
    </a:custClr>
    <a:custClr name="ZEISS Gray 5 Light">
      <a:srgbClr val="BCBCBC"/>
    </a:custClr>
    <a:custClr name="ZEISS Gray 6 Ultralight">
      <a:srgbClr val="DFDFDF"/>
    </a:custClr>
    <a:custClr name="ZEISS Gray 7 Semiwhite">
      <a:srgbClr val="F6F6F6"/>
    </a:custClr>
    <a:custClr name="ZEISS White">
      <a:srgbClr val="FFFFFF"/>
    </a:custClr>
    <a:custClr name="ZEISS Purple Red">
      <a:srgbClr val="A70240"/>
    </a:custClr>
    <a:custClr name="ZEISS Bright Orange Neon">
      <a:srgbClr val="FF1A00"/>
    </a:custClr>
    <a:custClr name="ZEISS Orange">
      <a:srgbClr val="EC6500"/>
    </a:custClr>
    <a:custClr name="ZEISS Bright Lemon">
      <a:srgbClr val="FECB00"/>
    </a:custClr>
    <a:custClr name="ZEISS Light Green">
      <a:srgbClr val="DEDE4C"/>
    </a:custClr>
    <a:custClr name="ZEISS Green">
      <a:srgbClr val="3C8A2E"/>
    </a:custClr>
    <a:custClr name="leer">
      <a:srgbClr val="FFFFFF"/>
    </a:custClr>
    <a:custClr name="leer">
      <a:srgbClr val="FFFFFF"/>
    </a:custClr>
    <a:custClr name="leer">
      <a:srgbClr val="FFFFFF"/>
    </a:custClr>
    <a:custClr name="leer">
      <a:srgbClr val="FFFFFF"/>
    </a:custClr>
  </a:custClrLst>
  <a:extLst>
    <a:ext uri="{05A4C25C-085E-4340-85A3-A5531E510DB2}">
      <thm15:themeFamily xmlns:thm15="http://schemas.microsoft.com/office/thememl/2012/main" name="NEU ZEISS-Praesentationsmaster-DE" id="{575E5CB2-DA27-4C96-8E76-310F266B42A9}" vid="{45A3F833-8E27-487E-A0AD-57D5A5C944E3}"/>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DBA7C9CEF7F57429917BEEC53471633" ma:contentTypeVersion="2" ma:contentTypeDescription="Create a new document." ma:contentTypeScope="" ma:versionID="97b120001eb5c0e0802405b566270281">
  <xsd:schema xmlns:xsd="http://www.w3.org/2001/XMLSchema" xmlns:xs="http://www.w3.org/2001/XMLSchema" xmlns:p="http://schemas.microsoft.com/office/2006/metadata/properties" xmlns:ns2="b7680c80-ca03-400e-aa7f-e46cf9ec65ea" targetNamespace="http://schemas.microsoft.com/office/2006/metadata/properties" ma:root="true" ma:fieldsID="1e3beadebc922b68fc8dc2d05203a0dd" ns2:_="">
    <xsd:import namespace="b7680c80-ca03-400e-aa7f-e46cf9ec65e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680c80-ca03-400e-aa7f-e46cf9ec65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A3349B-2FBF-4342-B6C8-BE663E5E66D8}">
  <ds:schemaRefs>
    <ds:schemaRef ds:uri="http://schemas.microsoft.com/sharepoint/v3/contenttype/forms"/>
  </ds:schemaRefs>
</ds:datastoreItem>
</file>

<file path=customXml/itemProps2.xml><?xml version="1.0" encoding="utf-8"?>
<ds:datastoreItem xmlns:ds="http://schemas.openxmlformats.org/officeDocument/2006/customXml" ds:itemID="{347888D9-541E-4A34-8B3A-51E0F06696AE}">
  <ds:schemaRefs>
    <ds:schemaRef ds:uri="b7680c80-ca03-400e-aa7f-e46cf9ec65ea"/>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B29623-CE4D-4D72-84CB-7E7DC0E119A2}">
  <ds:schemaRefs>
    <ds:schemaRef ds:uri="http://schemas.microsoft.com/office/2006/metadata/properties"/>
    <ds:schemaRef ds:uri="http://www.w3.org/2000/xmlns/"/>
    <ds:schemaRef ds:uri="http://schemas.microsoft.com/office/infopath/2007/PartnerControls"/>
  </ds:schemaRefs>
</ds:datastoreItem>
</file>

<file path=docMetadata/LabelInfo.xml><?xml version="1.0" encoding="utf-8"?>
<clbl:labelList xmlns:clbl="http://schemas.microsoft.com/office/2020/mipLabelMetadata">
  <clbl:label id="{28042244-bb51-4cd6-8034-7776fa3703e8}" enabled="0" method="" siteId="{28042244-bb51-4cd6-8034-7776fa3703e8}" removed="1"/>
</clbl:labelList>
</file>

<file path=docProps/app.xml><?xml version="1.0" encoding="utf-8"?>
<Properties xmlns="http://schemas.openxmlformats.org/officeDocument/2006/extended-properties" xmlns:vt="http://schemas.openxmlformats.org/officeDocument/2006/docPropsVTypes">
  <Template/>
  <TotalTime>0</TotalTime>
  <Words>881</Words>
  <Application>Microsoft Office PowerPoint</Application>
  <PresentationFormat>Breitbild</PresentationFormat>
  <Paragraphs>209</Paragraphs>
  <Slides>13</Slides>
  <Notes>4</Notes>
  <HiddenSlides>0</HiddenSlides>
  <MMClips>0</MMClips>
  <ScaleCrop>false</ScaleCrop>
  <HeadingPairs>
    <vt:vector size="6" baseType="variant">
      <vt:variant>
        <vt:lpstr>Verwendete Schriftarten</vt:lpstr>
      </vt:variant>
      <vt:variant>
        <vt:i4>9</vt:i4>
      </vt:variant>
      <vt:variant>
        <vt:lpstr>Design</vt:lpstr>
      </vt:variant>
      <vt:variant>
        <vt:i4>2</vt:i4>
      </vt:variant>
      <vt:variant>
        <vt:lpstr>Folientitel</vt:lpstr>
      </vt:variant>
      <vt:variant>
        <vt:i4>13</vt:i4>
      </vt:variant>
    </vt:vector>
  </HeadingPairs>
  <TitlesOfParts>
    <vt:vector size="24" baseType="lpstr">
      <vt:lpstr>Aptos</vt:lpstr>
      <vt:lpstr>Arial</vt:lpstr>
      <vt:lpstr>Calibri</vt:lpstr>
      <vt:lpstr>Calibri Light</vt:lpstr>
      <vt:lpstr>Cambria Math</vt:lpstr>
      <vt:lpstr>Symbol</vt:lpstr>
      <vt:lpstr>Wingdings</vt:lpstr>
      <vt:lpstr>ZEISS Frutiger Next W1G</vt:lpstr>
      <vt:lpstr>ZEISS Frutiger Next W1G Lt</vt:lpstr>
      <vt:lpstr>DHBW x Zeiss Master</vt:lpstr>
      <vt:lpstr>Benutzerdefiniertes Design</vt:lpstr>
      <vt:lpstr>GMALL: Stewart Platform</vt:lpstr>
      <vt:lpstr>Agenda</vt:lpstr>
      <vt:lpstr>Design Goals</vt:lpstr>
      <vt:lpstr>Constraints</vt:lpstr>
      <vt:lpstr>PowerPoint-Präsentation</vt:lpstr>
      <vt:lpstr>PowerPoint-Präsentation</vt:lpstr>
      <vt:lpstr>Decision Analysis</vt:lpstr>
      <vt:lpstr>Decision Analysis</vt:lpstr>
      <vt:lpstr>Preliminary Conceptional Design</vt:lpstr>
      <vt:lpstr>Preliminary Conceptional Design</vt:lpstr>
      <vt:lpstr>Preliminary Conceptional Design</vt:lpstr>
      <vt:lpstr>Project Timelin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ISS Präsentationen Präsentationsmaster</dc:title>
  <dc:creator>Marvin Bullinger</dc:creator>
  <cp:lastModifiedBy>Bullinger, Marvin</cp:lastModifiedBy>
  <cp:revision>1</cp:revision>
  <dcterms:created xsi:type="dcterms:W3CDTF">2023-03-09T17:49:08Z</dcterms:created>
  <dcterms:modified xsi:type="dcterms:W3CDTF">2025-02-17T12:4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BA7C9CEF7F57429917BEEC53471633</vt:lpwstr>
  </property>
  <property fmtid="{D5CDD505-2E9C-101B-9397-08002B2CF9AE}" pid="3" name="Order">
    <vt:r8>16982000</vt:r8>
  </property>
  <property fmtid="{D5CDD505-2E9C-101B-9397-08002B2CF9AE}" pid="4" name="xd_Signature">
    <vt:bool>false</vt:bool>
  </property>
  <property fmtid="{D5CDD505-2E9C-101B-9397-08002B2CF9AE}" pid="5" name="SharedWithUsers">
    <vt:lpwstr>660;#Roder, Thomas;#659;#Kressirer, Peter;#661;#Leoff, Louisa</vt:lpwstr>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